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08" r:id="rId2"/>
  </p:sldMasterIdLst>
  <p:notesMasterIdLst>
    <p:notesMasterId r:id="rId18"/>
  </p:notesMasterIdLst>
  <p:sldIdLst>
    <p:sldId id="270" r:id="rId3"/>
    <p:sldId id="271" r:id="rId4"/>
    <p:sldId id="264" r:id="rId5"/>
    <p:sldId id="269" r:id="rId6"/>
    <p:sldId id="265" r:id="rId7"/>
    <p:sldId id="268" r:id="rId8"/>
    <p:sldId id="258" r:id="rId9"/>
    <p:sldId id="273" r:id="rId10"/>
    <p:sldId id="274" r:id="rId11"/>
    <p:sldId id="275" r:id="rId12"/>
    <p:sldId id="276" r:id="rId13"/>
    <p:sldId id="277" r:id="rId14"/>
    <p:sldId id="260" r:id="rId15"/>
    <p:sldId id="272" r:id="rId16"/>
    <p:sldId id="261" r:id="rId17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660B408-B3CF-4A94-85FC-2B1E0A45F4A2}" styleName="Style foncé 2 - Accentuation 1/Accentuation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0E3FDE45-AF77-4B5C-9715-49D594BDF05E}" styleName="Style léger 1 - Accentuation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268" autoAdjust="0"/>
    <p:restoredTop sz="94737" autoAdjust="0"/>
  </p:normalViewPr>
  <p:slideViewPr>
    <p:cSldViewPr snapToGrid="0">
      <p:cViewPr varScale="1">
        <p:scale>
          <a:sx n="75" d="100"/>
          <a:sy n="75" d="100"/>
        </p:scale>
        <p:origin x="444" y="7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Classeur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Classeur1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 sz="1400"/>
              <a:t>Operating</a:t>
            </a:r>
            <a:r>
              <a:rPr lang="fr-FR" sz="1400" baseline="0"/>
              <a:t> temperature ranges</a:t>
            </a:r>
            <a:endParaRPr lang="fr-FR" sz="140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  <a:effectLst/>
          </c:spPr>
          <c:invertIfNegative val="0"/>
          <c:cat>
            <c:strRef>
              <c:f>Feuil1!$A$2:$A$7</c:f>
              <c:strCache>
                <c:ptCount val="6"/>
                <c:pt idx="0">
                  <c:v>PEMFC</c:v>
                </c:pt>
                <c:pt idx="1">
                  <c:v>AFC</c:v>
                </c:pt>
                <c:pt idx="2">
                  <c:v>DMFC</c:v>
                </c:pt>
                <c:pt idx="3">
                  <c:v>PAFC</c:v>
                </c:pt>
                <c:pt idx="4">
                  <c:v>MCFC</c:v>
                </c:pt>
                <c:pt idx="5">
                  <c:v>SOFC</c:v>
                </c:pt>
              </c:strCache>
            </c:strRef>
          </c:cat>
          <c:val>
            <c:numRef>
              <c:f>Feuil1!$B$2:$B$7</c:f>
              <c:numCache>
                <c:formatCode>General</c:formatCode>
                <c:ptCount val="6"/>
                <c:pt idx="0">
                  <c:v>40</c:v>
                </c:pt>
                <c:pt idx="1">
                  <c:v>40</c:v>
                </c:pt>
                <c:pt idx="2">
                  <c:v>60</c:v>
                </c:pt>
                <c:pt idx="3">
                  <c:v>200</c:v>
                </c:pt>
                <c:pt idx="4">
                  <c:v>650</c:v>
                </c:pt>
                <c:pt idx="5">
                  <c:v>600</c:v>
                </c:pt>
              </c:numCache>
            </c:numRef>
          </c:val>
        </c:ser>
        <c:ser>
          <c:idx val="1"/>
          <c:order val="1"/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Feuil1!$A$2:$A$7</c:f>
              <c:strCache>
                <c:ptCount val="6"/>
                <c:pt idx="0">
                  <c:v>PEMFC</c:v>
                </c:pt>
                <c:pt idx="1">
                  <c:v>AFC</c:v>
                </c:pt>
                <c:pt idx="2">
                  <c:v>DMFC</c:v>
                </c:pt>
                <c:pt idx="3">
                  <c:v>PAFC</c:v>
                </c:pt>
                <c:pt idx="4">
                  <c:v>MCFC</c:v>
                </c:pt>
                <c:pt idx="5">
                  <c:v>SOFC</c:v>
                </c:pt>
              </c:strCache>
            </c:strRef>
          </c:cat>
          <c:val>
            <c:numRef>
              <c:f>Feuil1!$C$2:$C$7</c:f>
              <c:numCache>
                <c:formatCode>General</c:formatCode>
                <c:ptCount val="6"/>
                <c:pt idx="0">
                  <c:v>50</c:v>
                </c:pt>
                <c:pt idx="1">
                  <c:v>160</c:v>
                </c:pt>
                <c:pt idx="2">
                  <c:v>70</c:v>
                </c:pt>
                <c:pt idx="3">
                  <c:v>10</c:v>
                </c:pt>
                <c:pt idx="4">
                  <c:v>10</c:v>
                </c:pt>
                <c:pt idx="5">
                  <c:v>35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210798976"/>
        <c:axId val="1210807680"/>
      </c:barChart>
      <c:catAx>
        <c:axId val="12107989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10807680"/>
        <c:crosses val="autoZero"/>
        <c:auto val="1"/>
        <c:lblAlgn val="ctr"/>
        <c:lblOffset val="100"/>
        <c:noMultiLvlLbl val="0"/>
      </c:catAx>
      <c:valAx>
        <c:axId val="12108076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°C</a:t>
                </a:r>
              </a:p>
            </c:rich>
          </c:tx>
          <c:layout>
            <c:manualLayout>
              <c:xMode val="edge"/>
              <c:yMode val="edge"/>
              <c:x val="5.126262626262626E-2"/>
              <c:y val="3.6249805790850728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>
                <a:lumMod val="50000"/>
                <a:lumOff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107989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/>
              <a:t>Typical</a:t>
            </a:r>
            <a:r>
              <a:rPr lang="fr-FR" baseline="0"/>
              <a:t> Output Power</a:t>
            </a:r>
            <a:r>
              <a:rPr lang="fr-FR"/>
              <a:t> 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  <a:effectLst/>
          </c:spPr>
          <c:invertIfNegative val="0"/>
          <c:cat>
            <c:strRef>
              <c:f>Feuil1!$A$11:$A$18</c:f>
              <c:strCache>
                <c:ptCount val="8"/>
                <c:pt idx="0">
                  <c:v>PEM WC</c:v>
                </c:pt>
                <c:pt idx="1">
                  <c:v>PEM AC</c:v>
                </c:pt>
                <c:pt idx="2">
                  <c:v>HT PEM</c:v>
                </c:pt>
                <c:pt idx="3">
                  <c:v>AFC</c:v>
                </c:pt>
                <c:pt idx="4">
                  <c:v>DMFC</c:v>
                </c:pt>
                <c:pt idx="5">
                  <c:v>PAFC</c:v>
                </c:pt>
                <c:pt idx="6">
                  <c:v>MCFC</c:v>
                </c:pt>
                <c:pt idx="7">
                  <c:v>SOFC</c:v>
                </c:pt>
              </c:strCache>
            </c:strRef>
          </c:cat>
          <c:val>
            <c:numRef>
              <c:f>Feuil1!$B$11:$B$18</c:f>
              <c:numCache>
                <c:formatCode>General</c:formatCode>
                <c:ptCount val="8"/>
                <c:pt idx="0">
                  <c:v>1</c:v>
                </c:pt>
                <c:pt idx="1">
                  <c:v>1E-3</c:v>
                </c:pt>
                <c:pt idx="2">
                  <c:v>0.1</c:v>
                </c:pt>
                <c:pt idx="3">
                  <c:v>1</c:v>
                </c:pt>
                <c:pt idx="4">
                  <c:v>1E-3</c:v>
                </c:pt>
                <c:pt idx="5">
                  <c:v>25</c:v>
                </c:pt>
                <c:pt idx="6">
                  <c:v>50</c:v>
                </c:pt>
                <c:pt idx="7">
                  <c:v>1E-3</c:v>
                </c:pt>
              </c:numCache>
            </c:numRef>
          </c:val>
        </c:ser>
        <c:ser>
          <c:idx val="1"/>
          <c:order val="1"/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Feuil1!$A$11:$A$18</c:f>
              <c:strCache>
                <c:ptCount val="8"/>
                <c:pt idx="0">
                  <c:v>PEM WC</c:v>
                </c:pt>
                <c:pt idx="1">
                  <c:v>PEM AC</c:v>
                </c:pt>
                <c:pt idx="2">
                  <c:v>HT PEM</c:v>
                </c:pt>
                <c:pt idx="3">
                  <c:v>AFC</c:v>
                </c:pt>
                <c:pt idx="4">
                  <c:v>DMFC</c:v>
                </c:pt>
                <c:pt idx="5">
                  <c:v>PAFC</c:v>
                </c:pt>
                <c:pt idx="6">
                  <c:v>MCFC</c:v>
                </c:pt>
                <c:pt idx="7">
                  <c:v>SOFC</c:v>
                </c:pt>
              </c:strCache>
            </c:strRef>
          </c:cat>
          <c:val>
            <c:numRef>
              <c:f>Feuil1!$C$11:$C$18</c:f>
              <c:numCache>
                <c:formatCode>General</c:formatCode>
                <c:ptCount val="8"/>
                <c:pt idx="0">
                  <c:v>99</c:v>
                </c:pt>
                <c:pt idx="1">
                  <c:v>0.999</c:v>
                </c:pt>
                <c:pt idx="2">
                  <c:v>9.9</c:v>
                </c:pt>
                <c:pt idx="3">
                  <c:v>4</c:v>
                </c:pt>
                <c:pt idx="4">
                  <c:v>0.999</c:v>
                </c:pt>
                <c:pt idx="5">
                  <c:v>100</c:v>
                </c:pt>
                <c:pt idx="6">
                  <c:v>75</c:v>
                </c:pt>
                <c:pt idx="7">
                  <c:v>124.9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210801696"/>
        <c:axId val="1210802784"/>
      </c:barChart>
      <c:catAx>
        <c:axId val="12108016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10802784"/>
        <c:crosses val="autoZero"/>
        <c:auto val="1"/>
        <c:lblAlgn val="ctr"/>
        <c:lblOffset val="100"/>
        <c:noMultiLvlLbl val="0"/>
      </c:catAx>
      <c:valAx>
        <c:axId val="12108027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kW</a:t>
                </a:r>
              </a:p>
            </c:rich>
          </c:tx>
          <c:layout>
            <c:manualLayout>
              <c:xMode val="edge"/>
              <c:yMode val="edge"/>
              <c:x val="6.7676767676767668E-2"/>
              <c:y val="4.2563933651939917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>
                <a:lumMod val="50000"/>
                <a:lumOff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108016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0E30588-1614-4F1A-B863-E835765ED56C}" type="doc">
      <dgm:prSet loTypeId="urn:microsoft.com/office/officeart/2005/8/layout/hList6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4BC937DE-DF2D-4FFA-B88A-E5338D433781}">
      <dgm:prSet phldrT="[Texte]" custT="1"/>
      <dgm:spPr/>
      <dgm:t>
        <a:bodyPr/>
        <a:lstStyle/>
        <a:p>
          <a:r>
            <a:rPr lang="fr-FR" sz="2000" b="0" i="0" u="none" dirty="0" err="1" smtClean="0"/>
            <a:t>Resources</a:t>
          </a:r>
          <a:endParaRPr lang="fr-FR" sz="1700" i="0" dirty="0"/>
        </a:p>
      </dgm:t>
    </dgm:pt>
    <dgm:pt modelId="{1835388E-52BA-4E72-8792-3A12EDB4C03B}" type="parTrans" cxnId="{B5C73BD3-7E4C-40C2-A95E-ADF73D8B2256}">
      <dgm:prSet/>
      <dgm:spPr/>
      <dgm:t>
        <a:bodyPr/>
        <a:lstStyle/>
        <a:p>
          <a:endParaRPr lang="fr-FR"/>
        </a:p>
      </dgm:t>
    </dgm:pt>
    <dgm:pt modelId="{F59B1304-AA1E-4810-9E72-0861E45F8AE6}" type="sibTrans" cxnId="{B5C73BD3-7E4C-40C2-A95E-ADF73D8B2256}">
      <dgm:prSet/>
      <dgm:spPr/>
      <dgm:t>
        <a:bodyPr/>
        <a:lstStyle/>
        <a:p>
          <a:endParaRPr lang="fr-FR"/>
        </a:p>
      </dgm:t>
    </dgm:pt>
    <dgm:pt modelId="{5D5A5A7A-2479-432D-B9E6-B45F78D27CE5}">
      <dgm:prSet phldrT="[Texte]" custT="1"/>
      <dgm:spPr/>
      <dgm:t>
        <a:bodyPr/>
        <a:lstStyle/>
        <a:p>
          <a:r>
            <a:rPr lang="fr-FR" sz="1300" b="0" i="0" u="none" strike="sngStrike" dirty="0" smtClean="0"/>
            <a:t>4 Team </a:t>
          </a:r>
          <a:r>
            <a:rPr lang="fr-FR" sz="1300" b="0" i="0" u="none" strike="sngStrike" dirty="0" err="1" smtClean="0"/>
            <a:t>members</a:t>
          </a:r>
          <a:endParaRPr lang="fr-FR" sz="1300" b="0" i="0" u="none" strike="sngStrike" dirty="0"/>
        </a:p>
      </dgm:t>
    </dgm:pt>
    <dgm:pt modelId="{AF8022CA-2430-4D45-AF80-C8A2250D1DDE}" type="parTrans" cxnId="{6FD66FB2-4BBD-41E5-8B29-C08F0C2F1235}">
      <dgm:prSet/>
      <dgm:spPr/>
      <dgm:t>
        <a:bodyPr/>
        <a:lstStyle/>
        <a:p>
          <a:endParaRPr lang="fr-FR"/>
        </a:p>
      </dgm:t>
    </dgm:pt>
    <dgm:pt modelId="{453A98B2-D262-4DFF-9306-9A4A4C5EA18E}" type="sibTrans" cxnId="{6FD66FB2-4BBD-41E5-8B29-C08F0C2F1235}">
      <dgm:prSet/>
      <dgm:spPr/>
      <dgm:t>
        <a:bodyPr/>
        <a:lstStyle/>
        <a:p>
          <a:endParaRPr lang="fr-FR"/>
        </a:p>
      </dgm:t>
    </dgm:pt>
    <dgm:pt modelId="{A6A559D5-1DBD-4A1B-9C84-11DD56731C42}">
      <dgm:prSet phldrT="[Texte]" custT="1"/>
      <dgm:spPr/>
      <dgm:t>
        <a:bodyPr/>
        <a:lstStyle/>
        <a:p>
          <a:r>
            <a:rPr lang="fr-FR" sz="2000" b="0" i="0" u="none" dirty="0" err="1" smtClean="0"/>
            <a:t>Activities</a:t>
          </a:r>
          <a:endParaRPr lang="fr-FR" sz="1700" dirty="0"/>
        </a:p>
      </dgm:t>
    </dgm:pt>
    <dgm:pt modelId="{E9CD7B0A-A9C5-40E3-8CD5-A97713D4689B}" type="parTrans" cxnId="{0C3CBF50-B7AD-4EDC-BE45-297706ED79D1}">
      <dgm:prSet/>
      <dgm:spPr/>
      <dgm:t>
        <a:bodyPr/>
        <a:lstStyle/>
        <a:p>
          <a:endParaRPr lang="fr-FR"/>
        </a:p>
      </dgm:t>
    </dgm:pt>
    <dgm:pt modelId="{F60A93E9-AA93-4486-A62B-5CD6148AEC90}" type="sibTrans" cxnId="{0C3CBF50-B7AD-4EDC-BE45-297706ED79D1}">
      <dgm:prSet/>
      <dgm:spPr/>
      <dgm:t>
        <a:bodyPr/>
        <a:lstStyle/>
        <a:p>
          <a:endParaRPr lang="fr-FR"/>
        </a:p>
      </dgm:t>
    </dgm:pt>
    <dgm:pt modelId="{D5D44B7F-AA41-424D-A05E-93AA86CAC2AD}">
      <dgm:prSet phldrT="[Texte]" custT="1"/>
      <dgm:spPr/>
      <dgm:t>
        <a:bodyPr/>
        <a:lstStyle/>
        <a:p>
          <a:r>
            <a:rPr lang="fr-FR" sz="1300" b="0" i="0" u="none" strike="sngStrike" smtClean="0"/>
            <a:t>Read IAR, extract structure</a:t>
          </a:r>
          <a:endParaRPr lang="fr-FR" sz="1300" b="0" i="0" u="none" strike="sngStrike" dirty="0"/>
        </a:p>
      </dgm:t>
    </dgm:pt>
    <dgm:pt modelId="{7D6CC85D-1A55-48FC-8B24-98362ACCB633}" type="parTrans" cxnId="{95477E30-4688-40A7-B74E-F4BEC8BFC79F}">
      <dgm:prSet/>
      <dgm:spPr/>
      <dgm:t>
        <a:bodyPr/>
        <a:lstStyle/>
        <a:p>
          <a:endParaRPr lang="fr-FR"/>
        </a:p>
      </dgm:t>
    </dgm:pt>
    <dgm:pt modelId="{B6529680-4D05-4FBF-A607-3BB1FC919F3C}" type="sibTrans" cxnId="{95477E30-4688-40A7-B74E-F4BEC8BFC79F}">
      <dgm:prSet/>
      <dgm:spPr/>
      <dgm:t>
        <a:bodyPr/>
        <a:lstStyle/>
        <a:p>
          <a:endParaRPr lang="fr-FR"/>
        </a:p>
      </dgm:t>
    </dgm:pt>
    <dgm:pt modelId="{173A95D6-627F-4EE4-B440-3E9FBF53A473}">
      <dgm:prSet phldrT="[Texte]" custT="1"/>
      <dgm:spPr/>
      <dgm:t>
        <a:bodyPr/>
        <a:lstStyle/>
        <a:p>
          <a:r>
            <a:rPr lang="fr-FR" sz="2000" dirty="0" err="1" smtClean="0"/>
            <a:t>Outcomes</a:t>
          </a:r>
          <a:endParaRPr lang="fr-FR" sz="1700" dirty="0"/>
        </a:p>
      </dgm:t>
    </dgm:pt>
    <dgm:pt modelId="{EF491163-C474-4FE6-9611-CBC8688EE962}" type="parTrans" cxnId="{5547B623-2397-4102-849D-E1933C084766}">
      <dgm:prSet/>
      <dgm:spPr/>
      <dgm:t>
        <a:bodyPr/>
        <a:lstStyle/>
        <a:p>
          <a:endParaRPr lang="fr-FR"/>
        </a:p>
      </dgm:t>
    </dgm:pt>
    <dgm:pt modelId="{A86BF36B-FF95-4A8D-A3B3-8897AC9FD386}" type="sibTrans" cxnId="{5547B623-2397-4102-849D-E1933C084766}">
      <dgm:prSet/>
      <dgm:spPr/>
      <dgm:t>
        <a:bodyPr/>
        <a:lstStyle/>
        <a:p>
          <a:endParaRPr lang="fr-FR"/>
        </a:p>
      </dgm:t>
    </dgm:pt>
    <dgm:pt modelId="{D06940CB-7C21-4684-9A28-0F376CFC6BB8}">
      <dgm:prSet phldrT="[Texte]"/>
      <dgm:spPr/>
      <dgm:t>
        <a:bodyPr/>
        <a:lstStyle/>
        <a:p>
          <a:r>
            <a:rPr lang="fr-FR" sz="1300" b="0" i="0" u="none" dirty="0" smtClean="0"/>
            <a:t>IAR</a:t>
          </a:r>
          <a:endParaRPr lang="fr-FR" sz="1300" dirty="0"/>
        </a:p>
      </dgm:t>
    </dgm:pt>
    <dgm:pt modelId="{B6547EBC-6C49-4161-BCE7-441B352A2CAF}" type="parTrans" cxnId="{E27A3E35-0074-4994-8618-9A87552FAD80}">
      <dgm:prSet/>
      <dgm:spPr/>
      <dgm:t>
        <a:bodyPr/>
        <a:lstStyle/>
        <a:p>
          <a:endParaRPr lang="fr-FR"/>
        </a:p>
      </dgm:t>
    </dgm:pt>
    <dgm:pt modelId="{725F1AA7-33C5-4E46-B6D5-297EACADC6A4}" type="sibTrans" cxnId="{E27A3E35-0074-4994-8618-9A87552FAD80}">
      <dgm:prSet/>
      <dgm:spPr/>
      <dgm:t>
        <a:bodyPr/>
        <a:lstStyle/>
        <a:p>
          <a:endParaRPr lang="fr-FR"/>
        </a:p>
      </dgm:t>
    </dgm:pt>
    <dgm:pt modelId="{22B59ABE-7B41-47B6-A407-81A19262CE66}">
      <dgm:prSet custT="1"/>
      <dgm:spPr/>
      <dgm:t>
        <a:bodyPr/>
        <a:lstStyle/>
        <a:p>
          <a:r>
            <a:rPr lang="fr-FR" sz="1300" b="0" i="0" u="none" strike="sngStrike" dirty="0" err="1" smtClean="0"/>
            <a:t>Lab</a:t>
          </a:r>
          <a:r>
            <a:rPr lang="fr-FR" sz="1300" b="0" i="0" u="none" strike="sngStrike" dirty="0" smtClean="0"/>
            <a:t> &amp; </a:t>
          </a:r>
          <a:r>
            <a:rPr lang="fr-FR" sz="1300" b="0" i="0" u="none" strike="sngStrike" dirty="0" err="1" smtClean="0"/>
            <a:t>Supervisor</a:t>
          </a:r>
          <a:endParaRPr lang="fr-FR" sz="1300" b="0" i="0" u="none" strike="sngStrike" dirty="0"/>
        </a:p>
      </dgm:t>
    </dgm:pt>
    <dgm:pt modelId="{FFC8A0A0-DA05-4C51-A6DF-654FC9074ED9}" type="parTrans" cxnId="{72583967-306D-4D3C-ADE0-5F735D1217A6}">
      <dgm:prSet/>
      <dgm:spPr/>
      <dgm:t>
        <a:bodyPr/>
        <a:lstStyle/>
        <a:p>
          <a:endParaRPr lang="fr-FR"/>
        </a:p>
      </dgm:t>
    </dgm:pt>
    <dgm:pt modelId="{01077D91-D154-4F19-86EA-A3B70045744D}" type="sibTrans" cxnId="{72583967-306D-4D3C-ADE0-5F735D1217A6}">
      <dgm:prSet/>
      <dgm:spPr/>
      <dgm:t>
        <a:bodyPr/>
        <a:lstStyle/>
        <a:p>
          <a:endParaRPr lang="fr-FR"/>
        </a:p>
      </dgm:t>
    </dgm:pt>
    <dgm:pt modelId="{E66BEFBB-91E6-4BA8-BDAD-7EE83CE7BD62}">
      <dgm:prSet custT="1"/>
      <dgm:spPr/>
      <dgm:t>
        <a:bodyPr/>
        <a:lstStyle/>
        <a:p>
          <a:r>
            <a:rPr lang="fr-FR" sz="1300" b="0" i="0" u="none" strike="sngStrike" dirty="0" smtClean="0"/>
            <a:t>Documentation about IAR</a:t>
          </a:r>
          <a:endParaRPr lang="fr-FR" sz="1300" b="0" i="0" u="none" strike="sngStrike" dirty="0"/>
        </a:p>
      </dgm:t>
    </dgm:pt>
    <dgm:pt modelId="{87C757B1-63BC-4E3D-9FCC-639033204A74}" type="parTrans" cxnId="{89584823-BCEA-4DBA-9C3D-6238F441635E}">
      <dgm:prSet/>
      <dgm:spPr/>
      <dgm:t>
        <a:bodyPr/>
        <a:lstStyle/>
        <a:p>
          <a:endParaRPr lang="fr-FR"/>
        </a:p>
      </dgm:t>
    </dgm:pt>
    <dgm:pt modelId="{8C8A6D43-4DAE-480F-A5CB-A86932B02202}" type="sibTrans" cxnId="{89584823-BCEA-4DBA-9C3D-6238F441635E}">
      <dgm:prSet/>
      <dgm:spPr/>
      <dgm:t>
        <a:bodyPr/>
        <a:lstStyle/>
        <a:p>
          <a:endParaRPr lang="fr-FR"/>
        </a:p>
      </dgm:t>
    </dgm:pt>
    <dgm:pt modelId="{DF67D3F8-523E-4C91-BB8A-E88FF3BFFE71}">
      <dgm:prSet custT="1"/>
      <dgm:spPr/>
      <dgm:t>
        <a:bodyPr/>
        <a:lstStyle/>
        <a:p>
          <a:r>
            <a:rPr lang="fr-FR" sz="1300" b="0" i="0" u="none" dirty="0" smtClean="0"/>
            <a:t>Documentation about fuel </a:t>
          </a:r>
          <a:r>
            <a:rPr lang="fr-FR" sz="1300" b="0" i="0" u="none" dirty="0" err="1" smtClean="0"/>
            <a:t>cells</a:t>
          </a:r>
          <a:endParaRPr lang="fr-FR" sz="1300" b="0" i="0" u="none" dirty="0"/>
        </a:p>
      </dgm:t>
    </dgm:pt>
    <dgm:pt modelId="{776E9636-B39C-4C43-9485-EA8BE7D27246}" type="parTrans" cxnId="{A03E7F38-CE1C-495F-BAEA-335F84444089}">
      <dgm:prSet/>
      <dgm:spPr/>
      <dgm:t>
        <a:bodyPr/>
        <a:lstStyle/>
        <a:p>
          <a:endParaRPr lang="fr-FR"/>
        </a:p>
      </dgm:t>
    </dgm:pt>
    <dgm:pt modelId="{3A784D4E-F6F9-4F82-8C2D-28CB5494BDA9}" type="sibTrans" cxnId="{A03E7F38-CE1C-495F-BAEA-335F84444089}">
      <dgm:prSet/>
      <dgm:spPr/>
      <dgm:t>
        <a:bodyPr/>
        <a:lstStyle/>
        <a:p>
          <a:endParaRPr lang="fr-FR"/>
        </a:p>
      </dgm:t>
    </dgm:pt>
    <dgm:pt modelId="{2C240D2F-E71A-43C1-9CF6-01F5C8127177}">
      <dgm:prSet custT="1"/>
      <dgm:spPr/>
      <dgm:t>
        <a:bodyPr/>
        <a:lstStyle/>
        <a:p>
          <a:r>
            <a:rPr lang="fr-FR" sz="1300" b="0" i="0" u="none" strike="sngStrike" dirty="0" smtClean="0"/>
            <a:t>Office supplies</a:t>
          </a:r>
          <a:endParaRPr lang="fr-FR" sz="1300" b="0" i="0" u="none" strike="sngStrike" dirty="0"/>
        </a:p>
      </dgm:t>
    </dgm:pt>
    <dgm:pt modelId="{C0188AC4-A908-47B5-8DE7-AF4DD94CF073}" type="parTrans" cxnId="{27099ECE-98EC-4745-8572-5BDA4D0605BF}">
      <dgm:prSet/>
      <dgm:spPr/>
      <dgm:t>
        <a:bodyPr/>
        <a:lstStyle/>
        <a:p>
          <a:endParaRPr lang="fr-FR"/>
        </a:p>
      </dgm:t>
    </dgm:pt>
    <dgm:pt modelId="{891E9F7B-9985-40C1-8405-B72318407D6E}" type="sibTrans" cxnId="{27099ECE-98EC-4745-8572-5BDA4D0605BF}">
      <dgm:prSet/>
      <dgm:spPr/>
      <dgm:t>
        <a:bodyPr/>
        <a:lstStyle/>
        <a:p>
          <a:endParaRPr lang="fr-FR"/>
        </a:p>
      </dgm:t>
    </dgm:pt>
    <dgm:pt modelId="{08CB5A2F-393F-464E-A882-D9ED7D44C396}">
      <dgm:prSet phldrT="[Texte]" custT="1"/>
      <dgm:spPr/>
      <dgm:t>
        <a:bodyPr/>
        <a:lstStyle/>
        <a:p>
          <a:endParaRPr lang="fr-FR" sz="1300" b="0" i="0" u="none" dirty="0"/>
        </a:p>
      </dgm:t>
    </dgm:pt>
    <dgm:pt modelId="{5887957B-0BDB-40DD-B8EC-5B47EB70F435}" type="parTrans" cxnId="{FC72A840-6E04-4E04-A82C-A8427ACEBB0B}">
      <dgm:prSet/>
      <dgm:spPr/>
      <dgm:t>
        <a:bodyPr/>
        <a:lstStyle/>
        <a:p>
          <a:endParaRPr lang="fr-FR"/>
        </a:p>
      </dgm:t>
    </dgm:pt>
    <dgm:pt modelId="{11C585BF-CB51-49FC-9361-F99BABB0ECCA}" type="sibTrans" cxnId="{FC72A840-6E04-4E04-A82C-A8427ACEBB0B}">
      <dgm:prSet/>
      <dgm:spPr/>
      <dgm:t>
        <a:bodyPr/>
        <a:lstStyle/>
        <a:p>
          <a:endParaRPr lang="fr-FR"/>
        </a:p>
      </dgm:t>
    </dgm:pt>
    <dgm:pt modelId="{C9B12C90-8B57-400E-AFDB-85B1CC8B63C9}">
      <dgm:prSet phldrT="[Texte]" custT="1"/>
      <dgm:spPr/>
      <dgm:t>
        <a:bodyPr/>
        <a:lstStyle/>
        <a:p>
          <a:r>
            <a:rPr lang="fr-FR" sz="2000" dirty="0" smtClean="0"/>
            <a:t>Outputs</a:t>
          </a:r>
          <a:endParaRPr lang="fr-FR" sz="1700" dirty="0"/>
        </a:p>
      </dgm:t>
    </dgm:pt>
    <dgm:pt modelId="{56DB51E0-DF7A-4B42-ACCE-4C7D43E700A1}" type="parTrans" cxnId="{9DB96096-1C57-4336-B9DC-0ACE8F45FEB6}">
      <dgm:prSet/>
      <dgm:spPr/>
      <dgm:t>
        <a:bodyPr/>
        <a:lstStyle/>
        <a:p>
          <a:endParaRPr lang="fr-FR"/>
        </a:p>
      </dgm:t>
    </dgm:pt>
    <dgm:pt modelId="{B42BB320-369F-4AE7-A909-6BE85982F83C}" type="sibTrans" cxnId="{9DB96096-1C57-4336-B9DC-0ACE8F45FEB6}">
      <dgm:prSet/>
      <dgm:spPr/>
      <dgm:t>
        <a:bodyPr/>
        <a:lstStyle/>
        <a:p>
          <a:endParaRPr lang="fr-FR"/>
        </a:p>
      </dgm:t>
    </dgm:pt>
    <dgm:pt modelId="{26C7AD60-0846-4829-95EF-6583E73D0D36}">
      <dgm:prSet phldrT="[Texte]"/>
      <dgm:spPr/>
      <dgm:t>
        <a:bodyPr/>
        <a:lstStyle/>
        <a:p>
          <a:r>
            <a:rPr lang="en-US" sz="1300" b="0" i="0" u="none" dirty="0" smtClean="0"/>
            <a:t>Have knowledge about global fuel cell industry (e.g. technology, application, manufacturers, risks, opportunities</a:t>
          </a:r>
          <a:endParaRPr lang="fr-FR" sz="1300" dirty="0"/>
        </a:p>
      </dgm:t>
    </dgm:pt>
    <dgm:pt modelId="{EAAAA668-267A-43EB-B99E-EE7ECDB0FF43}" type="parTrans" cxnId="{81214B5E-1E77-4401-A8B2-667E0A6FC00E}">
      <dgm:prSet/>
      <dgm:spPr/>
      <dgm:t>
        <a:bodyPr/>
        <a:lstStyle/>
        <a:p>
          <a:endParaRPr lang="fr-FR"/>
        </a:p>
      </dgm:t>
    </dgm:pt>
    <dgm:pt modelId="{1B670C0F-69C8-493E-97A2-A21B8EEA14C6}" type="sibTrans" cxnId="{81214B5E-1E77-4401-A8B2-667E0A6FC00E}">
      <dgm:prSet/>
      <dgm:spPr/>
      <dgm:t>
        <a:bodyPr/>
        <a:lstStyle/>
        <a:p>
          <a:endParaRPr lang="fr-FR"/>
        </a:p>
      </dgm:t>
    </dgm:pt>
    <dgm:pt modelId="{CE19F13A-CB44-4A8D-A9DE-3451DBC6BCD6}">
      <dgm:prSet phldrT="[Texte]"/>
      <dgm:spPr/>
      <dgm:t>
        <a:bodyPr/>
        <a:lstStyle/>
        <a:p>
          <a:endParaRPr lang="fr-FR" sz="1300"/>
        </a:p>
      </dgm:t>
    </dgm:pt>
    <dgm:pt modelId="{DE6CC97B-3969-4183-9935-0C842BC9FAEF}" type="parTrans" cxnId="{41C06A62-37A2-41B4-A3F8-4E2FC012162B}">
      <dgm:prSet/>
      <dgm:spPr/>
      <dgm:t>
        <a:bodyPr/>
        <a:lstStyle/>
        <a:p>
          <a:endParaRPr lang="fr-FR"/>
        </a:p>
      </dgm:t>
    </dgm:pt>
    <dgm:pt modelId="{2B0DBB9F-FCD7-4D62-A977-AC24BBB702DE}" type="sibTrans" cxnId="{41C06A62-37A2-41B4-A3F8-4E2FC012162B}">
      <dgm:prSet/>
      <dgm:spPr/>
      <dgm:t>
        <a:bodyPr/>
        <a:lstStyle/>
        <a:p>
          <a:endParaRPr lang="fr-FR"/>
        </a:p>
      </dgm:t>
    </dgm:pt>
    <dgm:pt modelId="{924F9493-B6F4-4681-98A9-DF6C585A595D}">
      <dgm:prSet custT="1"/>
      <dgm:spPr/>
      <dgm:t>
        <a:bodyPr/>
        <a:lstStyle/>
        <a:p>
          <a:r>
            <a:rPr lang="en-US" sz="1300" b="0" i="0" u="none" strike="sngStrike" smtClean="0"/>
            <a:t>Build a structure for our IAR</a:t>
          </a:r>
          <a:endParaRPr lang="en-US" sz="1300" b="0" i="0" u="none" strike="sngStrike" dirty="0"/>
        </a:p>
      </dgm:t>
    </dgm:pt>
    <dgm:pt modelId="{A520016C-8EAA-4AE5-82EF-925B6EBECA66}" type="parTrans" cxnId="{9DEDE0B0-F2D5-44CC-BCD4-4B0A8CD8E28A}">
      <dgm:prSet/>
      <dgm:spPr/>
      <dgm:t>
        <a:bodyPr/>
        <a:lstStyle/>
        <a:p>
          <a:endParaRPr lang="fr-FR"/>
        </a:p>
      </dgm:t>
    </dgm:pt>
    <dgm:pt modelId="{DC434730-29E2-4201-BB96-5CE99D4247F9}" type="sibTrans" cxnId="{9DEDE0B0-F2D5-44CC-BCD4-4B0A8CD8E28A}">
      <dgm:prSet/>
      <dgm:spPr/>
      <dgm:t>
        <a:bodyPr/>
        <a:lstStyle/>
        <a:p>
          <a:endParaRPr lang="fr-FR"/>
        </a:p>
      </dgm:t>
    </dgm:pt>
    <dgm:pt modelId="{127057A1-3005-47EE-9DA0-5BB7EF177F1C}">
      <dgm:prSet custT="1"/>
      <dgm:spPr/>
      <dgm:t>
        <a:bodyPr/>
        <a:lstStyle/>
        <a:p>
          <a:r>
            <a:rPr lang="en-US" sz="1600" b="1" i="0" u="none" dirty="0" smtClean="0"/>
            <a:t>Read about fuel cell and surrounding industry</a:t>
          </a:r>
          <a:endParaRPr lang="en-US" sz="1600" b="1" i="0" u="none" dirty="0"/>
        </a:p>
      </dgm:t>
    </dgm:pt>
    <dgm:pt modelId="{9D16DEC4-F8E8-4856-8AEA-113C6AD38A38}" type="parTrans" cxnId="{DA694487-5C68-4FCE-8B32-F1A86F93E8B1}">
      <dgm:prSet/>
      <dgm:spPr/>
      <dgm:t>
        <a:bodyPr/>
        <a:lstStyle/>
        <a:p>
          <a:endParaRPr lang="fr-FR"/>
        </a:p>
      </dgm:t>
    </dgm:pt>
    <dgm:pt modelId="{6C12C3BE-D1E7-4B42-A1DE-7B098BAFB04F}" type="sibTrans" cxnId="{DA694487-5C68-4FCE-8B32-F1A86F93E8B1}">
      <dgm:prSet/>
      <dgm:spPr/>
      <dgm:t>
        <a:bodyPr/>
        <a:lstStyle/>
        <a:p>
          <a:endParaRPr lang="fr-FR"/>
        </a:p>
      </dgm:t>
    </dgm:pt>
    <dgm:pt modelId="{79BB08CC-B1E6-4B7E-AAC7-C38E3794C471}">
      <dgm:prSet custT="1"/>
      <dgm:spPr/>
      <dgm:t>
        <a:bodyPr/>
        <a:lstStyle/>
        <a:p>
          <a:r>
            <a:rPr lang="fr-FR" sz="1600" b="1" i="0" u="none" dirty="0" err="1" smtClean="0"/>
            <a:t>Collect</a:t>
          </a:r>
          <a:r>
            <a:rPr lang="fr-FR" sz="1600" b="1" i="0" u="none" dirty="0" smtClean="0"/>
            <a:t> data</a:t>
          </a:r>
          <a:endParaRPr lang="fr-FR" sz="1600" b="1" i="0" u="none" dirty="0"/>
        </a:p>
      </dgm:t>
    </dgm:pt>
    <dgm:pt modelId="{79FCF712-FC52-4ADC-8363-FF580A03414F}" type="parTrans" cxnId="{EA964E5A-0F21-4B5C-A64D-CA89E6288569}">
      <dgm:prSet/>
      <dgm:spPr/>
      <dgm:t>
        <a:bodyPr/>
        <a:lstStyle/>
        <a:p>
          <a:endParaRPr lang="fr-FR"/>
        </a:p>
      </dgm:t>
    </dgm:pt>
    <dgm:pt modelId="{F81AD888-DC39-470D-9E86-5AFCF642058A}" type="sibTrans" cxnId="{EA964E5A-0F21-4B5C-A64D-CA89E6288569}">
      <dgm:prSet/>
      <dgm:spPr/>
      <dgm:t>
        <a:bodyPr/>
        <a:lstStyle/>
        <a:p>
          <a:endParaRPr lang="fr-FR"/>
        </a:p>
      </dgm:t>
    </dgm:pt>
    <dgm:pt modelId="{7EDB0E82-0C3F-4570-AE44-2ADE5BD8875A}">
      <dgm:prSet/>
      <dgm:spPr/>
      <dgm:t>
        <a:bodyPr/>
        <a:lstStyle/>
        <a:p>
          <a:r>
            <a:rPr lang="fr-FR" sz="1300" b="0" i="0" u="none" dirty="0" smtClean="0"/>
            <a:t>Collaboration </a:t>
          </a:r>
          <a:r>
            <a:rPr lang="fr-FR" sz="1300" b="0" i="0" u="none" dirty="0" err="1" smtClean="0"/>
            <a:t>with</a:t>
          </a:r>
          <a:r>
            <a:rPr lang="fr-FR" sz="1300" b="0" i="0" u="none" dirty="0" smtClean="0"/>
            <a:t> </a:t>
          </a:r>
          <a:r>
            <a:rPr lang="fr-FR" sz="1300" b="0" i="0" u="none" dirty="0" err="1" smtClean="0"/>
            <a:t>chemistry</a:t>
          </a:r>
          <a:r>
            <a:rPr lang="fr-FR" sz="1300" b="0" i="0" u="none" dirty="0" smtClean="0"/>
            <a:t> </a:t>
          </a:r>
          <a:r>
            <a:rPr lang="fr-FR" sz="1300" b="0" i="0" u="none" dirty="0" err="1" smtClean="0"/>
            <a:t>lab</a:t>
          </a:r>
          <a:endParaRPr lang="fr-FR" sz="1300" dirty="0"/>
        </a:p>
      </dgm:t>
    </dgm:pt>
    <dgm:pt modelId="{8DACBAF6-298B-4E56-85CF-A70C60893CF4}" type="parTrans" cxnId="{860E6A07-10A9-4F32-9CC8-BF5127198212}">
      <dgm:prSet/>
      <dgm:spPr/>
      <dgm:t>
        <a:bodyPr/>
        <a:lstStyle/>
        <a:p>
          <a:endParaRPr lang="fr-FR"/>
        </a:p>
      </dgm:t>
    </dgm:pt>
    <dgm:pt modelId="{C34F397A-67E9-48FF-B84B-B87BFF785F57}" type="sibTrans" cxnId="{860E6A07-10A9-4F32-9CC8-BF5127198212}">
      <dgm:prSet/>
      <dgm:spPr/>
      <dgm:t>
        <a:bodyPr/>
        <a:lstStyle/>
        <a:p>
          <a:endParaRPr lang="fr-FR"/>
        </a:p>
      </dgm:t>
    </dgm:pt>
    <dgm:pt modelId="{A446800D-2712-4870-A860-B80692232F7F}">
      <dgm:prSet/>
      <dgm:spPr/>
      <dgm:t>
        <a:bodyPr/>
        <a:lstStyle/>
        <a:p>
          <a:r>
            <a:rPr lang="en-US" sz="1300" b="0" i="0" u="none" smtClean="0"/>
            <a:t>Being able to identify needs of the market</a:t>
          </a:r>
          <a:endParaRPr lang="en-US" sz="1300"/>
        </a:p>
      </dgm:t>
    </dgm:pt>
    <dgm:pt modelId="{D5CB3F02-2D52-4C7C-B42D-1F2F79D73300}" type="parTrans" cxnId="{AA84AAB7-CA17-40C5-A465-15DA0C289E43}">
      <dgm:prSet/>
      <dgm:spPr/>
      <dgm:t>
        <a:bodyPr/>
        <a:lstStyle/>
        <a:p>
          <a:endParaRPr lang="fr-FR"/>
        </a:p>
      </dgm:t>
    </dgm:pt>
    <dgm:pt modelId="{21E781E9-0AC7-4C2B-9DB1-F96922E5188D}" type="sibTrans" cxnId="{AA84AAB7-CA17-40C5-A465-15DA0C289E43}">
      <dgm:prSet/>
      <dgm:spPr/>
      <dgm:t>
        <a:bodyPr/>
        <a:lstStyle/>
        <a:p>
          <a:endParaRPr lang="fr-FR"/>
        </a:p>
      </dgm:t>
    </dgm:pt>
    <dgm:pt modelId="{340ABA22-01E9-4FF1-993F-9F90A8EDD93C}">
      <dgm:prSet/>
      <dgm:spPr/>
      <dgm:t>
        <a:bodyPr/>
        <a:lstStyle/>
        <a:p>
          <a:r>
            <a:rPr lang="en-US" sz="1300" b="0" i="0" u="none" smtClean="0"/>
            <a:t>Ability to write an IAR</a:t>
          </a:r>
          <a:endParaRPr lang="en-US" sz="1300"/>
        </a:p>
      </dgm:t>
    </dgm:pt>
    <dgm:pt modelId="{5A45E56C-469B-437B-87B6-2731BE76489F}" type="parTrans" cxnId="{E360E79E-4455-477E-AFF0-18B1A6AA90E3}">
      <dgm:prSet/>
      <dgm:spPr/>
      <dgm:t>
        <a:bodyPr/>
        <a:lstStyle/>
        <a:p>
          <a:endParaRPr lang="fr-FR"/>
        </a:p>
      </dgm:t>
    </dgm:pt>
    <dgm:pt modelId="{705F9002-865E-4D4A-9DD4-9FF937E35BC7}" type="sibTrans" cxnId="{E360E79E-4455-477E-AFF0-18B1A6AA90E3}">
      <dgm:prSet/>
      <dgm:spPr/>
      <dgm:t>
        <a:bodyPr/>
        <a:lstStyle/>
        <a:p>
          <a:endParaRPr lang="fr-FR"/>
        </a:p>
      </dgm:t>
    </dgm:pt>
    <dgm:pt modelId="{6F30B221-5C40-4FBA-9427-2F0B5413EADD}">
      <dgm:prSet/>
      <dgm:spPr/>
      <dgm:t>
        <a:bodyPr/>
        <a:lstStyle/>
        <a:p>
          <a:r>
            <a:rPr lang="en-US" sz="1300" b="0" i="0" u="none" dirty="0" smtClean="0"/>
            <a:t>IAR available for other people</a:t>
          </a:r>
          <a:endParaRPr lang="en-US" sz="1300" dirty="0"/>
        </a:p>
      </dgm:t>
    </dgm:pt>
    <dgm:pt modelId="{6A9AA358-48AC-4FC2-9543-0955AE191018}" type="parTrans" cxnId="{8922FE34-5936-40CF-A124-57538CA090E7}">
      <dgm:prSet/>
      <dgm:spPr/>
      <dgm:t>
        <a:bodyPr/>
        <a:lstStyle/>
        <a:p>
          <a:endParaRPr lang="fr-FR"/>
        </a:p>
      </dgm:t>
    </dgm:pt>
    <dgm:pt modelId="{5268864B-A751-4738-994C-C7296370875B}" type="sibTrans" cxnId="{8922FE34-5936-40CF-A124-57538CA090E7}">
      <dgm:prSet/>
      <dgm:spPr/>
      <dgm:t>
        <a:bodyPr/>
        <a:lstStyle/>
        <a:p>
          <a:endParaRPr lang="fr-FR"/>
        </a:p>
      </dgm:t>
    </dgm:pt>
    <dgm:pt modelId="{5F008396-1FAF-4AD2-93C9-694E6D2BF1F8}">
      <dgm:prSet custT="1"/>
      <dgm:spPr/>
      <dgm:t>
        <a:bodyPr/>
        <a:lstStyle/>
        <a:p>
          <a:r>
            <a:rPr lang="fr-FR" sz="1600" b="1" i="0" u="none" dirty="0" err="1" smtClean="0"/>
            <a:t>Interact</a:t>
          </a:r>
          <a:r>
            <a:rPr lang="fr-FR" sz="1600" b="1" i="0" u="none" dirty="0" smtClean="0"/>
            <a:t> </a:t>
          </a:r>
          <a:r>
            <a:rPr lang="fr-FR" sz="1600" b="1" i="0" u="none" dirty="0" err="1" smtClean="0"/>
            <a:t>with</a:t>
          </a:r>
          <a:r>
            <a:rPr lang="fr-FR" sz="1600" b="1" i="0" u="none" dirty="0" smtClean="0"/>
            <a:t> the </a:t>
          </a:r>
          <a:r>
            <a:rPr lang="fr-FR" sz="1600" b="1" i="0" u="none" dirty="0" err="1" smtClean="0"/>
            <a:t>chemistry</a:t>
          </a:r>
          <a:r>
            <a:rPr lang="fr-FR" sz="1600" b="1" i="0" u="none" dirty="0" smtClean="0"/>
            <a:t> </a:t>
          </a:r>
          <a:r>
            <a:rPr lang="fr-FR" sz="1600" b="1" i="0" u="none" dirty="0" err="1" smtClean="0"/>
            <a:t>lab</a:t>
          </a:r>
          <a:endParaRPr lang="fr-FR" sz="1600" b="1" i="0" u="none" dirty="0"/>
        </a:p>
      </dgm:t>
    </dgm:pt>
    <dgm:pt modelId="{A9C9237E-A9D6-4A17-BD9B-68978D3D5C6D}" type="parTrans" cxnId="{754FCB48-B71B-48F4-8D2E-BEEEB5B5ADDC}">
      <dgm:prSet/>
      <dgm:spPr/>
      <dgm:t>
        <a:bodyPr/>
        <a:lstStyle/>
        <a:p>
          <a:endParaRPr lang="fr-FR"/>
        </a:p>
      </dgm:t>
    </dgm:pt>
    <dgm:pt modelId="{9D00E550-C864-46CD-AE9D-B1AF962526B1}" type="sibTrans" cxnId="{754FCB48-B71B-48F4-8D2E-BEEEB5B5ADDC}">
      <dgm:prSet/>
      <dgm:spPr/>
      <dgm:t>
        <a:bodyPr/>
        <a:lstStyle/>
        <a:p>
          <a:endParaRPr lang="fr-FR"/>
        </a:p>
      </dgm:t>
    </dgm:pt>
    <dgm:pt modelId="{3E78A654-C050-4A6D-AE20-E7E88B2A53F2}" type="pres">
      <dgm:prSet presAssocID="{B0E30588-1614-4F1A-B863-E835765ED56C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E2944459-30FB-4A39-B98C-CA50DEBD0FE0}" type="pres">
      <dgm:prSet presAssocID="{4BC937DE-DF2D-4FFA-B88A-E5338D433781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50494F57-9413-46C6-806C-1F0BC7375A67}" type="pres">
      <dgm:prSet presAssocID="{F59B1304-AA1E-4810-9E72-0861E45F8AE6}" presName="sibTrans" presStyleCnt="0"/>
      <dgm:spPr/>
    </dgm:pt>
    <dgm:pt modelId="{07112225-DBE3-4767-B863-B33AE5135511}" type="pres">
      <dgm:prSet presAssocID="{A6A559D5-1DBD-4A1B-9C84-11DD56731C42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BA26F60-B496-4610-8B97-2B9BA126275A}" type="pres">
      <dgm:prSet presAssocID="{F60A93E9-AA93-4486-A62B-5CD6148AEC90}" presName="sibTrans" presStyleCnt="0"/>
      <dgm:spPr/>
    </dgm:pt>
    <dgm:pt modelId="{B790B033-8861-44F9-A411-A64891A1F78D}" type="pres">
      <dgm:prSet presAssocID="{173A95D6-627F-4EE4-B440-3E9FBF53A473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01442F7-FACE-4788-8554-F4C5B5488297}" type="pres">
      <dgm:prSet presAssocID="{A86BF36B-FF95-4A8D-A3B3-8897AC9FD386}" presName="sibTrans" presStyleCnt="0"/>
      <dgm:spPr/>
    </dgm:pt>
    <dgm:pt modelId="{5F91C283-CBEC-401B-9811-6B9815385BF4}" type="pres">
      <dgm:prSet presAssocID="{C9B12C90-8B57-400E-AFDB-85B1CC8B63C9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EA964E5A-0F21-4B5C-A64D-CA89E6288569}" srcId="{A6A559D5-1DBD-4A1B-9C84-11DD56731C42}" destId="{79BB08CC-B1E6-4B7E-AAC7-C38E3794C471}" srcOrd="3" destOrd="0" parTransId="{79FCF712-FC52-4ADC-8363-FF580A03414F}" sibTransId="{F81AD888-DC39-470D-9E86-5AFCF642058A}"/>
    <dgm:cxn modelId="{A03E7F38-CE1C-495F-BAEA-335F84444089}" srcId="{4BC937DE-DF2D-4FFA-B88A-E5338D433781}" destId="{DF67D3F8-523E-4C91-BB8A-E88FF3BFFE71}" srcOrd="3" destOrd="0" parTransId="{776E9636-B39C-4C43-9485-EA8BE7D27246}" sibTransId="{3A784D4E-F6F9-4F82-8C2D-28CB5494BDA9}"/>
    <dgm:cxn modelId="{F050917F-D2E7-48FA-8D61-82FB9A70F224}" type="presOf" srcId="{B0E30588-1614-4F1A-B863-E835765ED56C}" destId="{3E78A654-C050-4A6D-AE20-E7E88B2A53F2}" srcOrd="0" destOrd="0" presId="urn:microsoft.com/office/officeart/2005/8/layout/hList6"/>
    <dgm:cxn modelId="{61DA9AEE-1CB0-42A8-AC4B-166484BECF66}" type="presOf" srcId="{CE19F13A-CB44-4A8D-A9DE-3451DBC6BCD6}" destId="{5F91C283-CBEC-401B-9811-6B9815385BF4}" srcOrd="0" destOrd="5" presId="urn:microsoft.com/office/officeart/2005/8/layout/hList6"/>
    <dgm:cxn modelId="{E27A3E35-0074-4994-8618-9A87552FAD80}" srcId="{173A95D6-627F-4EE4-B440-3E9FBF53A473}" destId="{D06940CB-7C21-4684-9A28-0F376CFC6BB8}" srcOrd="0" destOrd="0" parTransId="{B6547EBC-6C49-4161-BCE7-441B352A2CAF}" sibTransId="{725F1AA7-33C5-4E46-B6D5-297EACADC6A4}"/>
    <dgm:cxn modelId="{9B22B0F5-4115-4688-B33F-8E82FC2FBCD2}" type="presOf" srcId="{26C7AD60-0846-4829-95EF-6583E73D0D36}" destId="{5F91C283-CBEC-401B-9811-6B9815385BF4}" srcOrd="0" destOrd="1" presId="urn:microsoft.com/office/officeart/2005/8/layout/hList6"/>
    <dgm:cxn modelId="{0C3CBF50-B7AD-4EDC-BE45-297706ED79D1}" srcId="{B0E30588-1614-4F1A-B863-E835765ED56C}" destId="{A6A559D5-1DBD-4A1B-9C84-11DD56731C42}" srcOrd="1" destOrd="0" parTransId="{E9CD7B0A-A9C5-40E3-8CD5-A97713D4689B}" sibTransId="{F60A93E9-AA93-4486-A62B-5CD6148AEC90}"/>
    <dgm:cxn modelId="{DC7DDA08-F571-47D7-8A6B-C2E56FC35BBA}" type="presOf" srcId="{A6A559D5-1DBD-4A1B-9C84-11DD56731C42}" destId="{07112225-DBE3-4767-B863-B33AE5135511}" srcOrd="0" destOrd="0" presId="urn:microsoft.com/office/officeart/2005/8/layout/hList6"/>
    <dgm:cxn modelId="{184F8CAB-05C6-4D91-8F21-795A44F98C4D}" type="presOf" srcId="{79BB08CC-B1E6-4B7E-AAC7-C38E3794C471}" destId="{07112225-DBE3-4767-B863-B33AE5135511}" srcOrd="0" destOrd="4" presId="urn:microsoft.com/office/officeart/2005/8/layout/hList6"/>
    <dgm:cxn modelId="{5547B623-2397-4102-849D-E1933C084766}" srcId="{B0E30588-1614-4F1A-B863-E835765ED56C}" destId="{173A95D6-627F-4EE4-B440-3E9FBF53A473}" srcOrd="2" destOrd="0" parTransId="{EF491163-C474-4FE6-9611-CBC8688EE962}" sibTransId="{A86BF36B-FF95-4A8D-A3B3-8897AC9FD386}"/>
    <dgm:cxn modelId="{4C204BEB-7C82-49B9-B439-BE50EF3FF009}" type="presOf" srcId="{924F9493-B6F4-4681-98A9-DF6C585A595D}" destId="{07112225-DBE3-4767-B863-B33AE5135511}" srcOrd="0" destOrd="2" presId="urn:microsoft.com/office/officeart/2005/8/layout/hList6"/>
    <dgm:cxn modelId="{99D4D824-F7FC-4B0B-9292-345DD6D42BFB}" type="presOf" srcId="{08CB5A2F-393F-464E-A882-D9ED7D44C396}" destId="{B790B033-8861-44F9-A411-A64891A1F78D}" srcOrd="0" destOrd="3" presId="urn:microsoft.com/office/officeart/2005/8/layout/hList6"/>
    <dgm:cxn modelId="{9DB96096-1C57-4336-B9DC-0ACE8F45FEB6}" srcId="{B0E30588-1614-4F1A-B863-E835765ED56C}" destId="{C9B12C90-8B57-400E-AFDB-85B1CC8B63C9}" srcOrd="3" destOrd="0" parTransId="{56DB51E0-DF7A-4B42-ACCE-4C7D43E700A1}" sibTransId="{B42BB320-369F-4AE7-A909-6BE85982F83C}"/>
    <dgm:cxn modelId="{FB589FA1-17A5-42E3-BD30-14F774F551A8}" type="presOf" srcId="{5F008396-1FAF-4AD2-93C9-694E6D2BF1F8}" destId="{07112225-DBE3-4767-B863-B33AE5135511}" srcOrd="0" destOrd="5" presId="urn:microsoft.com/office/officeart/2005/8/layout/hList6"/>
    <dgm:cxn modelId="{FC72A840-6E04-4E04-A82C-A8427ACEBB0B}" srcId="{173A95D6-627F-4EE4-B440-3E9FBF53A473}" destId="{08CB5A2F-393F-464E-A882-D9ED7D44C396}" srcOrd="2" destOrd="0" parTransId="{5887957B-0BDB-40DD-B8EC-5B47EB70F435}" sibTransId="{11C585BF-CB51-49FC-9361-F99BABB0ECCA}"/>
    <dgm:cxn modelId="{860E6A07-10A9-4F32-9CC8-BF5127198212}" srcId="{173A95D6-627F-4EE4-B440-3E9FBF53A473}" destId="{7EDB0E82-0C3F-4570-AE44-2ADE5BD8875A}" srcOrd="1" destOrd="0" parTransId="{8DACBAF6-298B-4E56-85CF-A70C60893CF4}" sibTransId="{C34F397A-67E9-48FF-B84B-B87BFF785F57}"/>
    <dgm:cxn modelId="{E8D0E561-F515-47BF-A061-95095C2CCD62}" type="presOf" srcId="{6F30B221-5C40-4FBA-9427-2F0B5413EADD}" destId="{5F91C283-CBEC-401B-9811-6B9815385BF4}" srcOrd="0" destOrd="4" presId="urn:microsoft.com/office/officeart/2005/8/layout/hList6"/>
    <dgm:cxn modelId="{92FC21F7-0B3C-47F5-84F5-C834D753B808}" type="presOf" srcId="{A446800D-2712-4870-A860-B80692232F7F}" destId="{5F91C283-CBEC-401B-9811-6B9815385BF4}" srcOrd="0" destOrd="2" presId="urn:microsoft.com/office/officeart/2005/8/layout/hList6"/>
    <dgm:cxn modelId="{9DEDE0B0-F2D5-44CC-BCD4-4B0A8CD8E28A}" srcId="{A6A559D5-1DBD-4A1B-9C84-11DD56731C42}" destId="{924F9493-B6F4-4681-98A9-DF6C585A595D}" srcOrd="1" destOrd="0" parTransId="{A520016C-8EAA-4AE5-82EF-925B6EBECA66}" sibTransId="{DC434730-29E2-4201-BB96-5CE99D4247F9}"/>
    <dgm:cxn modelId="{95944B8F-0B58-4BA7-BB55-7B4993E59751}" type="presOf" srcId="{5D5A5A7A-2479-432D-B9E6-B45F78D27CE5}" destId="{E2944459-30FB-4A39-B98C-CA50DEBD0FE0}" srcOrd="0" destOrd="1" presId="urn:microsoft.com/office/officeart/2005/8/layout/hList6"/>
    <dgm:cxn modelId="{6FD66FB2-4BBD-41E5-8B29-C08F0C2F1235}" srcId="{4BC937DE-DF2D-4FFA-B88A-E5338D433781}" destId="{5D5A5A7A-2479-432D-B9E6-B45F78D27CE5}" srcOrd="0" destOrd="0" parTransId="{AF8022CA-2430-4D45-AF80-C8A2250D1DDE}" sibTransId="{453A98B2-D262-4DFF-9306-9A4A4C5EA18E}"/>
    <dgm:cxn modelId="{327AC2D3-6232-4819-9A96-43387153053B}" type="presOf" srcId="{2C240D2F-E71A-43C1-9CF6-01F5C8127177}" destId="{E2944459-30FB-4A39-B98C-CA50DEBD0FE0}" srcOrd="0" destOrd="5" presId="urn:microsoft.com/office/officeart/2005/8/layout/hList6"/>
    <dgm:cxn modelId="{81214B5E-1E77-4401-A8B2-667E0A6FC00E}" srcId="{C9B12C90-8B57-400E-AFDB-85B1CC8B63C9}" destId="{26C7AD60-0846-4829-95EF-6583E73D0D36}" srcOrd="0" destOrd="0" parTransId="{EAAAA668-267A-43EB-B99E-EE7ECDB0FF43}" sibTransId="{1B670C0F-69C8-493E-97A2-A21B8EEA14C6}"/>
    <dgm:cxn modelId="{E8AFD954-4EE8-48D0-8618-3C0024AEDB72}" type="presOf" srcId="{7EDB0E82-0C3F-4570-AE44-2ADE5BD8875A}" destId="{B790B033-8861-44F9-A411-A64891A1F78D}" srcOrd="0" destOrd="2" presId="urn:microsoft.com/office/officeart/2005/8/layout/hList6"/>
    <dgm:cxn modelId="{DA694487-5C68-4FCE-8B32-F1A86F93E8B1}" srcId="{A6A559D5-1DBD-4A1B-9C84-11DD56731C42}" destId="{127057A1-3005-47EE-9DA0-5BB7EF177F1C}" srcOrd="2" destOrd="0" parTransId="{9D16DEC4-F8E8-4856-8AEA-113C6AD38A38}" sibTransId="{6C12C3BE-D1E7-4B42-A1DE-7B098BAFB04F}"/>
    <dgm:cxn modelId="{BC5B958A-70C6-4C59-A9A3-5687F8CCC5C2}" type="presOf" srcId="{C9B12C90-8B57-400E-AFDB-85B1CC8B63C9}" destId="{5F91C283-CBEC-401B-9811-6B9815385BF4}" srcOrd="0" destOrd="0" presId="urn:microsoft.com/office/officeart/2005/8/layout/hList6"/>
    <dgm:cxn modelId="{E360E79E-4455-477E-AFF0-18B1A6AA90E3}" srcId="{C9B12C90-8B57-400E-AFDB-85B1CC8B63C9}" destId="{340ABA22-01E9-4FF1-993F-9F90A8EDD93C}" srcOrd="2" destOrd="0" parTransId="{5A45E56C-469B-437B-87B6-2731BE76489F}" sibTransId="{705F9002-865E-4D4A-9DD4-9FF937E35BC7}"/>
    <dgm:cxn modelId="{F284ED83-3A6B-41AE-96D6-F2E5F5652038}" type="presOf" srcId="{D5D44B7F-AA41-424D-A05E-93AA86CAC2AD}" destId="{07112225-DBE3-4767-B863-B33AE5135511}" srcOrd="0" destOrd="1" presId="urn:microsoft.com/office/officeart/2005/8/layout/hList6"/>
    <dgm:cxn modelId="{95477E30-4688-40A7-B74E-F4BEC8BFC79F}" srcId="{A6A559D5-1DBD-4A1B-9C84-11DD56731C42}" destId="{D5D44B7F-AA41-424D-A05E-93AA86CAC2AD}" srcOrd="0" destOrd="0" parTransId="{7D6CC85D-1A55-48FC-8B24-98362ACCB633}" sibTransId="{B6529680-4D05-4FBF-A607-3BB1FC919F3C}"/>
    <dgm:cxn modelId="{DF89ECC9-939F-402D-BBA9-50CEE72A7182}" type="presOf" srcId="{DF67D3F8-523E-4C91-BB8A-E88FF3BFFE71}" destId="{E2944459-30FB-4A39-B98C-CA50DEBD0FE0}" srcOrd="0" destOrd="4" presId="urn:microsoft.com/office/officeart/2005/8/layout/hList6"/>
    <dgm:cxn modelId="{89584823-BCEA-4DBA-9C3D-6238F441635E}" srcId="{4BC937DE-DF2D-4FFA-B88A-E5338D433781}" destId="{E66BEFBB-91E6-4BA8-BDAD-7EE83CE7BD62}" srcOrd="2" destOrd="0" parTransId="{87C757B1-63BC-4E3D-9FCC-639033204A74}" sibTransId="{8C8A6D43-4DAE-480F-A5CB-A86932B02202}"/>
    <dgm:cxn modelId="{41C06A62-37A2-41B4-A3F8-4E2FC012162B}" srcId="{C9B12C90-8B57-400E-AFDB-85B1CC8B63C9}" destId="{CE19F13A-CB44-4A8D-A9DE-3451DBC6BCD6}" srcOrd="4" destOrd="0" parTransId="{DE6CC97B-3969-4183-9935-0C842BC9FAEF}" sibTransId="{2B0DBB9F-FCD7-4D62-A977-AC24BBB702DE}"/>
    <dgm:cxn modelId="{72583967-306D-4D3C-ADE0-5F735D1217A6}" srcId="{4BC937DE-DF2D-4FFA-B88A-E5338D433781}" destId="{22B59ABE-7B41-47B6-A407-81A19262CE66}" srcOrd="1" destOrd="0" parTransId="{FFC8A0A0-DA05-4C51-A6DF-654FC9074ED9}" sibTransId="{01077D91-D154-4F19-86EA-A3B70045744D}"/>
    <dgm:cxn modelId="{27099ECE-98EC-4745-8572-5BDA4D0605BF}" srcId="{4BC937DE-DF2D-4FFA-B88A-E5338D433781}" destId="{2C240D2F-E71A-43C1-9CF6-01F5C8127177}" srcOrd="4" destOrd="0" parTransId="{C0188AC4-A908-47B5-8DE7-AF4DD94CF073}" sibTransId="{891E9F7B-9985-40C1-8405-B72318407D6E}"/>
    <dgm:cxn modelId="{FC03A96D-B518-4F52-A0A3-BF13B5F1F1EA}" type="presOf" srcId="{340ABA22-01E9-4FF1-993F-9F90A8EDD93C}" destId="{5F91C283-CBEC-401B-9811-6B9815385BF4}" srcOrd="0" destOrd="3" presId="urn:microsoft.com/office/officeart/2005/8/layout/hList6"/>
    <dgm:cxn modelId="{754FCB48-B71B-48F4-8D2E-BEEEB5B5ADDC}" srcId="{A6A559D5-1DBD-4A1B-9C84-11DD56731C42}" destId="{5F008396-1FAF-4AD2-93C9-694E6D2BF1F8}" srcOrd="4" destOrd="0" parTransId="{A9C9237E-A9D6-4A17-BD9B-68978D3D5C6D}" sibTransId="{9D00E550-C864-46CD-AE9D-B1AF962526B1}"/>
    <dgm:cxn modelId="{FE86D344-0688-4B61-B749-A4CAA969983A}" type="presOf" srcId="{E66BEFBB-91E6-4BA8-BDAD-7EE83CE7BD62}" destId="{E2944459-30FB-4A39-B98C-CA50DEBD0FE0}" srcOrd="0" destOrd="3" presId="urn:microsoft.com/office/officeart/2005/8/layout/hList6"/>
    <dgm:cxn modelId="{8922FE34-5936-40CF-A124-57538CA090E7}" srcId="{C9B12C90-8B57-400E-AFDB-85B1CC8B63C9}" destId="{6F30B221-5C40-4FBA-9427-2F0B5413EADD}" srcOrd="3" destOrd="0" parTransId="{6A9AA358-48AC-4FC2-9543-0955AE191018}" sibTransId="{5268864B-A751-4738-994C-C7296370875B}"/>
    <dgm:cxn modelId="{D53CB57D-4399-4910-B880-55C5D881DF75}" type="presOf" srcId="{22B59ABE-7B41-47B6-A407-81A19262CE66}" destId="{E2944459-30FB-4A39-B98C-CA50DEBD0FE0}" srcOrd="0" destOrd="2" presId="urn:microsoft.com/office/officeart/2005/8/layout/hList6"/>
    <dgm:cxn modelId="{F234136F-0AEE-4ED3-9C9D-92DFB964DF96}" type="presOf" srcId="{D06940CB-7C21-4684-9A28-0F376CFC6BB8}" destId="{B790B033-8861-44F9-A411-A64891A1F78D}" srcOrd="0" destOrd="1" presId="urn:microsoft.com/office/officeart/2005/8/layout/hList6"/>
    <dgm:cxn modelId="{B5C73BD3-7E4C-40C2-A95E-ADF73D8B2256}" srcId="{B0E30588-1614-4F1A-B863-E835765ED56C}" destId="{4BC937DE-DF2D-4FFA-B88A-E5338D433781}" srcOrd="0" destOrd="0" parTransId="{1835388E-52BA-4E72-8792-3A12EDB4C03B}" sibTransId="{F59B1304-AA1E-4810-9E72-0861E45F8AE6}"/>
    <dgm:cxn modelId="{8A517DDD-C1DF-4CAA-AAE5-CCDE04277E9B}" type="presOf" srcId="{173A95D6-627F-4EE4-B440-3E9FBF53A473}" destId="{B790B033-8861-44F9-A411-A64891A1F78D}" srcOrd="0" destOrd="0" presId="urn:microsoft.com/office/officeart/2005/8/layout/hList6"/>
    <dgm:cxn modelId="{AA84AAB7-CA17-40C5-A465-15DA0C289E43}" srcId="{C9B12C90-8B57-400E-AFDB-85B1CC8B63C9}" destId="{A446800D-2712-4870-A860-B80692232F7F}" srcOrd="1" destOrd="0" parTransId="{D5CB3F02-2D52-4C7C-B42D-1F2F79D73300}" sibTransId="{21E781E9-0AC7-4C2B-9DB1-F96922E5188D}"/>
    <dgm:cxn modelId="{C1EB94C4-3409-4152-8092-E35309B80ED3}" type="presOf" srcId="{4BC937DE-DF2D-4FFA-B88A-E5338D433781}" destId="{E2944459-30FB-4A39-B98C-CA50DEBD0FE0}" srcOrd="0" destOrd="0" presId="urn:microsoft.com/office/officeart/2005/8/layout/hList6"/>
    <dgm:cxn modelId="{88D56E5A-A386-4511-98DB-B41DB3305915}" type="presOf" srcId="{127057A1-3005-47EE-9DA0-5BB7EF177F1C}" destId="{07112225-DBE3-4767-B863-B33AE5135511}" srcOrd="0" destOrd="3" presId="urn:microsoft.com/office/officeart/2005/8/layout/hList6"/>
    <dgm:cxn modelId="{56A39AAE-6DA0-429E-9B61-C1B68FD07691}" type="presParOf" srcId="{3E78A654-C050-4A6D-AE20-E7E88B2A53F2}" destId="{E2944459-30FB-4A39-B98C-CA50DEBD0FE0}" srcOrd="0" destOrd="0" presId="urn:microsoft.com/office/officeart/2005/8/layout/hList6"/>
    <dgm:cxn modelId="{EBC8954A-EE2E-4089-B4B5-DB4EA99C6E58}" type="presParOf" srcId="{3E78A654-C050-4A6D-AE20-E7E88B2A53F2}" destId="{50494F57-9413-46C6-806C-1F0BC7375A67}" srcOrd="1" destOrd="0" presId="urn:microsoft.com/office/officeart/2005/8/layout/hList6"/>
    <dgm:cxn modelId="{7FA9A8C4-0A23-48D0-A95B-976E3B06590C}" type="presParOf" srcId="{3E78A654-C050-4A6D-AE20-E7E88B2A53F2}" destId="{07112225-DBE3-4767-B863-B33AE5135511}" srcOrd="2" destOrd="0" presId="urn:microsoft.com/office/officeart/2005/8/layout/hList6"/>
    <dgm:cxn modelId="{2F6FADB9-9714-4A91-9734-B71EF00FD150}" type="presParOf" srcId="{3E78A654-C050-4A6D-AE20-E7E88B2A53F2}" destId="{6BA26F60-B496-4610-8B97-2B9BA126275A}" srcOrd="3" destOrd="0" presId="urn:microsoft.com/office/officeart/2005/8/layout/hList6"/>
    <dgm:cxn modelId="{33AAAFDA-C69C-43DB-A43D-FC5F330A0D33}" type="presParOf" srcId="{3E78A654-C050-4A6D-AE20-E7E88B2A53F2}" destId="{B790B033-8861-44F9-A411-A64891A1F78D}" srcOrd="4" destOrd="0" presId="urn:microsoft.com/office/officeart/2005/8/layout/hList6"/>
    <dgm:cxn modelId="{85DE26EE-768F-46D5-ACF4-68162C8486A3}" type="presParOf" srcId="{3E78A654-C050-4A6D-AE20-E7E88B2A53F2}" destId="{101442F7-FACE-4788-8554-F4C5B5488297}" srcOrd="5" destOrd="0" presId="urn:microsoft.com/office/officeart/2005/8/layout/hList6"/>
    <dgm:cxn modelId="{97EE5F0E-7A0D-4A54-ADFC-8C91529CC099}" type="presParOf" srcId="{3E78A654-C050-4A6D-AE20-E7E88B2A53F2}" destId="{5F91C283-CBEC-401B-9811-6B9815385BF4}" srcOrd="6" destOrd="0" presId="urn:microsoft.com/office/officeart/2005/8/layout/hList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CCA47B-3C97-470F-9E92-6634E455912F}" type="datetimeFigureOut">
              <a:rPr lang="en-US" smtClean="0"/>
              <a:t>4/14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34E867-41F4-48E7-8B36-52D0CC1AAF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07911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3CCA1F5-26B7-4310-BF9E-B66D319907B8}" type="slidenum">
              <a:rPr lang="de-DE">
                <a:solidFill>
                  <a:srgbClr val="000000"/>
                </a:solidFill>
              </a:rPr>
              <a:pPr/>
              <a:t>12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40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94867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82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22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8000" spc="-5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455621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178" indent="0" algn="ctr">
              <a:buNone/>
              <a:defRPr sz="2400"/>
            </a:lvl2pPr>
            <a:lvl3pPr marL="914354" indent="0" algn="ctr">
              <a:buNone/>
              <a:defRPr sz="2400"/>
            </a:lvl3pPr>
            <a:lvl4pPr marL="1371532" indent="0" algn="ctr">
              <a:buNone/>
              <a:defRPr sz="2000"/>
            </a:lvl4pPr>
            <a:lvl5pPr marL="1828709" indent="0" algn="ctr">
              <a:buNone/>
              <a:defRPr sz="2000"/>
            </a:lvl5pPr>
            <a:lvl6pPr marL="2285886" indent="0" algn="ctr">
              <a:buNone/>
              <a:defRPr sz="2000"/>
            </a:lvl6pPr>
            <a:lvl7pPr marL="2743062" indent="0" algn="ctr">
              <a:buNone/>
              <a:defRPr sz="2000"/>
            </a:lvl7pPr>
            <a:lvl8pPr marL="3200240" indent="0" algn="ctr">
              <a:buNone/>
              <a:defRPr sz="2000"/>
            </a:lvl8pPr>
            <a:lvl9pPr marL="3657418" indent="0" algn="ctr">
              <a:buNone/>
              <a:defRPr sz="2000"/>
            </a:lvl9pPr>
          </a:lstStyle>
          <a:p>
            <a:r>
              <a:rPr lang="fr-FR" smtClean="0"/>
              <a:t>Modifiez le style des sous-titres du masqu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9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845082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557450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82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22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412302"/>
            <a:ext cx="2628900" cy="5759898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3" y="412302"/>
            <a:ext cx="7734300" cy="5759898"/>
          </a:xfrm>
        </p:spPr>
        <p:txBody>
          <a:bodyPr vert="eaVert" lIns="45720" tIns="0" rIns="45720" bIns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433823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E6B9F0F-7520-4DB1-8A6B-5B5B16375C50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37157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8E390E2-F8CB-4786-B185-B50B09A26D62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83144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3BE8C41-6E56-4280-AF2D-02DF33FC030A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82117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3377D2E-AA55-4A8A-A5AD-BB55A8849A01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68345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7" y="365126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0318" y="1681163"/>
            <a:ext cx="515831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0318" y="2505075"/>
            <a:ext cx="5158316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71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71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de-DE">
              <a:solidFill>
                <a:srgbClr val="000000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DE">
              <a:solidFill>
                <a:srgbClr val="000000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95D7B5D-81C6-4F3C-AD57-E8ED94698D93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11347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de-DE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0E91560-3294-4533-AACD-E4635F92C7A9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943409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de-DE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DE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6B77E41-C598-4518-B4C5-A40DB0CE55AC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48489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6FF8FAC-DFFF-4053-A8E9-88F6EDA6ACEB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12049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880534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FBB772F-2B98-49FE-9FA1-53DC2637ABE8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829212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715B322-7362-41B3-82FD-4FCF497DE4C5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706954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32F4993-863E-450E-B759-9F22007C49DD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8732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re de se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82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22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758952"/>
            <a:ext cx="10058400" cy="3566160"/>
          </a:xfrm>
        </p:spPr>
        <p:txBody>
          <a:bodyPr anchor="b" anchorCtr="0">
            <a:normAutofit/>
          </a:bodyPr>
          <a:lstStyle>
            <a:lvl1pPr>
              <a:lnSpc>
                <a:spcPct val="85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4453128"/>
            <a:ext cx="10058400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1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9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12723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97280" y="286607"/>
            <a:ext cx="10058400" cy="1450757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79" y="1845734"/>
            <a:ext cx="4937760" cy="402336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7920" y="1845735"/>
            <a:ext cx="4937760" cy="402336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412105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097280" y="286607"/>
            <a:ext cx="10058400" cy="1450757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97280" y="2582334"/>
            <a:ext cx="4937760" cy="337820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1792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17920" y="2582334"/>
            <a:ext cx="4937760" cy="337820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296437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82547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182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22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fr-F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089697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23" y="0"/>
            <a:ext cx="405079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4040071" y="0"/>
            <a:ext cx="6400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94359"/>
            <a:ext cx="3200400" cy="2286000"/>
          </a:xfrm>
        </p:spPr>
        <p:txBody>
          <a:bodyPr anchor="b">
            <a:norm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00600" y="731520"/>
            <a:ext cx="6492240" cy="525780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926080"/>
            <a:ext cx="3200400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178" indent="0">
              <a:buNone/>
              <a:defRPr sz="1200"/>
            </a:lvl2pPr>
            <a:lvl3pPr marL="914354" indent="0">
              <a:buNone/>
              <a:defRPr sz="1000"/>
            </a:lvl3pPr>
            <a:lvl4pPr marL="1371532" indent="0">
              <a:buNone/>
              <a:defRPr sz="900"/>
            </a:lvl4pPr>
            <a:lvl5pPr marL="1828709" indent="0">
              <a:buNone/>
              <a:defRPr sz="900"/>
            </a:lvl5pPr>
            <a:lvl6pPr marL="2285886" indent="0">
              <a:buNone/>
              <a:defRPr sz="900"/>
            </a:lvl6pPr>
            <a:lvl7pPr marL="2743062" indent="0">
              <a:buNone/>
              <a:defRPr sz="900"/>
            </a:lvl7pPr>
            <a:lvl8pPr marL="3200240" indent="0">
              <a:buNone/>
              <a:defRPr sz="900"/>
            </a:lvl8pPr>
            <a:lvl9pPr marL="3657418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65518" y="6459795"/>
            <a:ext cx="2618511" cy="365125"/>
          </a:xfrm>
        </p:spPr>
        <p:txBody>
          <a:bodyPr/>
          <a:lstStyle>
            <a:lvl1pPr algn="l">
              <a:defRPr/>
            </a:lvl1pPr>
          </a:lstStyle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800600" y="6459795"/>
            <a:ext cx="464820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758031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6" y="4953000"/>
            <a:ext cx="12188825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22" y="491507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5074920"/>
            <a:ext cx="10113645" cy="822960"/>
          </a:xfrm>
        </p:spPr>
        <p:txBody>
          <a:bodyPr lIns="91440" tIns="0" rIns="9144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2" y="0"/>
            <a:ext cx="12191985" cy="4915076"/>
          </a:xfrm>
          <a:solidFill>
            <a:schemeClr val="bg2">
              <a:lumMod val="90000"/>
            </a:schemeClr>
          </a:solidFill>
        </p:spPr>
        <p:txBody>
          <a:bodyPr lIns="457200" tIns="457200" anchor="t"/>
          <a:lstStyle>
            <a:lvl1pPr marL="0" indent="0">
              <a:buNone/>
              <a:defRPr sz="3200"/>
            </a:lvl1pPr>
            <a:lvl2pPr marL="457178" indent="0">
              <a:buNone/>
              <a:defRPr sz="2800"/>
            </a:lvl2pPr>
            <a:lvl3pPr marL="914354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2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r>
              <a:rPr lang="fr-FR" smtClean="0"/>
              <a:t>Cliquez sur l'icône pour ajouter une imag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97280" y="5907024"/>
            <a:ext cx="10113264" cy="59436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178" indent="0">
              <a:buNone/>
              <a:defRPr sz="1200"/>
            </a:lvl2pPr>
            <a:lvl3pPr marL="914354" indent="0">
              <a:buNone/>
              <a:defRPr sz="1000"/>
            </a:lvl3pPr>
            <a:lvl4pPr marL="1371532" indent="0">
              <a:buNone/>
              <a:defRPr sz="900"/>
            </a:lvl4pPr>
            <a:lvl5pPr marL="1828709" indent="0">
              <a:buNone/>
              <a:defRPr sz="900"/>
            </a:lvl5pPr>
            <a:lvl6pPr marL="2285886" indent="0">
              <a:buNone/>
              <a:defRPr sz="900"/>
            </a:lvl6pPr>
            <a:lvl7pPr marL="2743062" indent="0">
              <a:buNone/>
              <a:defRPr sz="900"/>
            </a:lvl7pPr>
            <a:lvl8pPr marL="3200240" indent="0">
              <a:buNone/>
              <a:defRPr sz="900"/>
            </a:lvl8pPr>
            <a:lvl9pPr marL="3657418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406938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22" y="6334316"/>
            <a:ext cx="12191985" cy="664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97280" y="286607"/>
            <a:ext cx="10058400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5734"/>
            <a:ext cx="10058400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97287" y="6459795"/>
            <a:ext cx="247227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FFFFFF"/>
                </a:solidFill>
              </a:defRPr>
            </a:lvl1pPr>
          </a:lstStyle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86187" y="6459795"/>
            <a:ext cx="48228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baseline="0">
                <a:solidFill>
                  <a:srgbClr val="FFFFFF"/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900465" y="6459795"/>
            <a:ext cx="13120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1">
                <a:solidFill>
                  <a:srgbClr val="FFFFFF"/>
                </a:solidFill>
              </a:defRPr>
            </a:lvl1pPr>
          </a:lstStyle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  <p:cxnSp>
        <p:nvCxnSpPr>
          <p:cNvPr id="10" name="Straight Connector 9"/>
          <p:cNvCxnSpPr/>
          <p:nvPr/>
        </p:nvCxnSpPr>
        <p:spPr>
          <a:xfrm>
            <a:off x="1193532" y="1737845"/>
            <a:ext cx="996696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>
            <a:spLocks noChangeAspect="1"/>
          </p:cNvSpPr>
          <p:nvPr userDrawn="1"/>
        </p:nvSpPr>
        <p:spPr>
          <a:xfrm>
            <a:off x="10400819" y="711917"/>
            <a:ext cx="757268" cy="1025695"/>
          </a:xfrm>
          <a:prstGeom prst="rect">
            <a:avLst/>
          </a:prstGeom>
          <a:blipFill dpi="0" rotWithShape="1">
            <a:blip r:embed="rId13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</p:spTree>
    <p:extLst>
      <p:ext uri="{BB962C8B-B14F-4D97-AF65-F5344CB8AC3E}">
        <p14:creationId xmlns:p14="http://schemas.microsoft.com/office/powerpoint/2010/main" val="8307376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txStyles>
    <p:titleStyle>
      <a:lvl1pPr algn="l" defTabSz="914354" rtl="0" eaLnBrk="1" latinLnBrk="0" hangingPunct="1">
        <a:lnSpc>
          <a:spcPct val="85000"/>
        </a:lnSpc>
        <a:spcBef>
          <a:spcPct val="0"/>
        </a:spcBef>
        <a:buNone/>
        <a:defRPr sz="4800" kern="1200" spc="-51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36" indent="-91436" algn="l" defTabSz="914354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29" indent="-182870" algn="l" defTabSz="91435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00" indent="-182870" algn="l" defTabSz="91435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771" indent="-182870" algn="l" defTabSz="91435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42" indent="-182870" algn="l" defTabSz="91435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099946" indent="-228589" algn="l" defTabSz="91435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299936" indent="-228589" algn="l" defTabSz="91435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499925" indent="-228589" algn="l" defTabSz="91435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699916" indent="-228589" algn="l" defTabSz="91435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00" y="6245225"/>
            <a:ext cx="28448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smtClean="0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5225"/>
            <a:ext cx="38608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smtClean="0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37600" y="6245225"/>
            <a:ext cx="28448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356ADDD-5340-4D60-8F8A-CF6228B78F92}" type="slidenum">
              <a:rPr lang="de-DE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de-DE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8270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txStyles>
    <p:titleStyle>
      <a:lvl1pPr algn="ctr" rtl="0" fontAlgn="base">
        <a:spcBef>
          <a:spcPct val="0"/>
        </a:spcBef>
        <a:spcAft>
          <a:spcPct val="0"/>
        </a:spcAft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21" Type="http://schemas.openxmlformats.org/officeDocument/2006/relationships/tags" Target="../tags/tag21.xml"/><Relationship Id="rId63" Type="http://schemas.openxmlformats.org/officeDocument/2006/relationships/tags" Target="../tags/tag63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66" Type="http://schemas.openxmlformats.org/officeDocument/2006/relationships/tags" Target="../tags/tag366.xml"/><Relationship Id="rId170" Type="http://schemas.openxmlformats.org/officeDocument/2006/relationships/tags" Target="../tags/tag170.xml"/><Relationship Id="rId226" Type="http://schemas.openxmlformats.org/officeDocument/2006/relationships/tags" Target="../tags/tag226.xml"/><Relationship Id="rId268" Type="http://schemas.openxmlformats.org/officeDocument/2006/relationships/tags" Target="../tags/tag268.xml"/><Relationship Id="rId32" Type="http://schemas.openxmlformats.org/officeDocument/2006/relationships/tags" Target="../tags/tag32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335" Type="http://schemas.openxmlformats.org/officeDocument/2006/relationships/tags" Target="../tags/tag335.xml"/><Relationship Id="rId377" Type="http://schemas.openxmlformats.org/officeDocument/2006/relationships/tags" Target="../tags/tag377.xml"/><Relationship Id="rId5" Type="http://schemas.openxmlformats.org/officeDocument/2006/relationships/tags" Target="../tags/tag5.xml"/><Relationship Id="rId181" Type="http://schemas.openxmlformats.org/officeDocument/2006/relationships/tags" Target="../tags/tag181.xml"/><Relationship Id="rId237" Type="http://schemas.openxmlformats.org/officeDocument/2006/relationships/tags" Target="../tags/tag237.xml"/><Relationship Id="rId279" Type="http://schemas.openxmlformats.org/officeDocument/2006/relationships/tags" Target="../tags/tag279.xml"/><Relationship Id="rId43" Type="http://schemas.openxmlformats.org/officeDocument/2006/relationships/tags" Target="../tags/tag43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46" Type="http://schemas.openxmlformats.org/officeDocument/2006/relationships/tags" Target="../tags/tag346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48" Type="http://schemas.openxmlformats.org/officeDocument/2006/relationships/tags" Target="../tags/tag248.xml"/><Relationship Id="rId12" Type="http://schemas.openxmlformats.org/officeDocument/2006/relationships/tags" Target="../tags/tag12.xml"/><Relationship Id="rId108" Type="http://schemas.openxmlformats.org/officeDocument/2006/relationships/tags" Target="../tags/tag108.xml"/><Relationship Id="rId315" Type="http://schemas.openxmlformats.org/officeDocument/2006/relationships/tags" Target="../tags/tag315.xml"/><Relationship Id="rId357" Type="http://schemas.openxmlformats.org/officeDocument/2006/relationships/tags" Target="../tags/tag357.xml"/><Relationship Id="rId54" Type="http://schemas.openxmlformats.org/officeDocument/2006/relationships/tags" Target="../tags/tag54.xml"/><Relationship Id="rId96" Type="http://schemas.openxmlformats.org/officeDocument/2006/relationships/tags" Target="../tags/tag96.xml"/><Relationship Id="rId161" Type="http://schemas.openxmlformats.org/officeDocument/2006/relationships/tags" Target="../tags/tag161.xml"/><Relationship Id="rId217" Type="http://schemas.openxmlformats.org/officeDocument/2006/relationships/tags" Target="../tags/tag217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326" Type="http://schemas.openxmlformats.org/officeDocument/2006/relationships/tags" Target="../tags/tag326.xml"/><Relationship Id="rId65" Type="http://schemas.openxmlformats.org/officeDocument/2006/relationships/tags" Target="../tags/tag65.xml"/><Relationship Id="rId130" Type="http://schemas.openxmlformats.org/officeDocument/2006/relationships/tags" Target="../tags/tag130.xml"/><Relationship Id="rId368" Type="http://schemas.openxmlformats.org/officeDocument/2006/relationships/tags" Target="../tags/tag368.xml"/><Relationship Id="rId172" Type="http://schemas.openxmlformats.org/officeDocument/2006/relationships/tags" Target="../tags/tag172.xml"/><Relationship Id="rId228" Type="http://schemas.openxmlformats.org/officeDocument/2006/relationships/tags" Target="../tags/tag228.xml"/><Relationship Id="rId281" Type="http://schemas.openxmlformats.org/officeDocument/2006/relationships/tags" Target="../tags/tag281.xml"/><Relationship Id="rId337" Type="http://schemas.openxmlformats.org/officeDocument/2006/relationships/tags" Target="../tags/tag337.xml"/><Relationship Id="rId34" Type="http://schemas.openxmlformats.org/officeDocument/2006/relationships/tags" Target="../tags/tag34.xml"/><Relationship Id="rId76" Type="http://schemas.openxmlformats.org/officeDocument/2006/relationships/tags" Target="../tags/tag76.xml"/><Relationship Id="rId141" Type="http://schemas.openxmlformats.org/officeDocument/2006/relationships/tags" Target="../tags/tag141.xml"/><Relationship Id="rId379" Type="http://schemas.openxmlformats.org/officeDocument/2006/relationships/tags" Target="../tags/tag379.xml"/><Relationship Id="rId7" Type="http://schemas.openxmlformats.org/officeDocument/2006/relationships/tags" Target="../tags/tag7.xml"/><Relationship Id="rId183" Type="http://schemas.openxmlformats.org/officeDocument/2006/relationships/tags" Target="../tags/tag183.xml"/><Relationship Id="rId239" Type="http://schemas.openxmlformats.org/officeDocument/2006/relationships/tags" Target="../tags/tag239.xml"/><Relationship Id="rId250" Type="http://schemas.openxmlformats.org/officeDocument/2006/relationships/tags" Target="../tags/tag250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45" Type="http://schemas.openxmlformats.org/officeDocument/2006/relationships/tags" Target="../tags/tag45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348" Type="http://schemas.openxmlformats.org/officeDocument/2006/relationships/tags" Target="../tags/tag348.xml"/><Relationship Id="rId152" Type="http://schemas.openxmlformats.org/officeDocument/2006/relationships/tags" Target="../tags/tag152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56" Type="http://schemas.openxmlformats.org/officeDocument/2006/relationships/tags" Target="../tags/tag56.xml"/><Relationship Id="rId317" Type="http://schemas.openxmlformats.org/officeDocument/2006/relationships/tags" Target="../tags/tag317.xml"/><Relationship Id="rId359" Type="http://schemas.openxmlformats.org/officeDocument/2006/relationships/tags" Target="../tags/tag359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63" Type="http://schemas.openxmlformats.org/officeDocument/2006/relationships/tags" Target="../tags/tag163.xml"/><Relationship Id="rId219" Type="http://schemas.openxmlformats.org/officeDocument/2006/relationships/tags" Target="../tags/tag219.xml"/><Relationship Id="rId370" Type="http://schemas.openxmlformats.org/officeDocument/2006/relationships/tags" Target="../tags/tag370.xml"/><Relationship Id="rId230" Type="http://schemas.openxmlformats.org/officeDocument/2006/relationships/tags" Target="../tags/tag230.xml"/><Relationship Id="rId25" Type="http://schemas.openxmlformats.org/officeDocument/2006/relationships/tags" Target="../tags/tag25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328" Type="http://schemas.openxmlformats.org/officeDocument/2006/relationships/tags" Target="../tags/tag328.xml"/><Relationship Id="rId132" Type="http://schemas.openxmlformats.org/officeDocument/2006/relationships/tags" Target="../tags/tag132.xml"/><Relationship Id="rId174" Type="http://schemas.openxmlformats.org/officeDocument/2006/relationships/tags" Target="../tags/tag174.xml"/><Relationship Id="rId381" Type="http://schemas.openxmlformats.org/officeDocument/2006/relationships/tags" Target="../tags/tag381.xml"/><Relationship Id="rId241" Type="http://schemas.openxmlformats.org/officeDocument/2006/relationships/tags" Target="../tags/tag241.xml"/><Relationship Id="rId36" Type="http://schemas.openxmlformats.org/officeDocument/2006/relationships/tags" Target="../tags/tag36.xml"/><Relationship Id="rId283" Type="http://schemas.openxmlformats.org/officeDocument/2006/relationships/tags" Target="../tags/tag283.xml"/><Relationship Id="rId339" Type="http://schemas.openxmlformats.org/officeDocument/2006/relationships/tags" Target="../tags/tag339.xml"/><Relationship Id="rId78" Type="http://schemas.openxmlformats.org/officeDocument/2006/relationships/tags" Target="../tags/tag78.xml"/><Relationship Id="rId101" Type="http://schemas.openxmlformats.org/officeDocument/2006/relationships/tags" Target="../tags/tag101.xml"/><Relationship Id="rId143" Type="http://schemas.openxmlformats.org/officeDocument/2006/relationships/tags" Target="../tags/tag143.xml"/><Relationship Id="rId185" Type="http://schemas.openxmlformats.org/officeDocument/2006/relationships/tags" Target="../tags/tag185.xml"/><Relationship Id="rId350" Type="http://schemas.openxmlformats.org/officeDocument/2006/relationships/tags" Target="../tags/tag350.xml"/><Relationship Id="rId9" Type="http://schemas.openxmlformats.org/officeDocument/2006/relationships/tags" Target="../tags/tag9.xml"/><Relationship Id="rId210" Type="http://schemas.openxmlformats.org/officeDocument/2006/relationships/tags" Target="../tags/tag210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273" Type="http://schemas.openxmlformats.org/officeDocument/2006/relationships/tags" Target="../tags/tag273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329" Type="http://schemas.openxmlformats.org/officeDocument/2006/relationships/tags" Target="../tags/tag329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340" Type="http://schemas.openxmlformats.org/officeDocument/2006/relationships/tags" Target="../tags/tag340.xml"/><Relationship Id="rId361" Type="http://schemas.openxmlformats.org/officeDocument/2006/relationships/tags" Target="../tags/tag361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382" Type="http://schemas.openxmlformats.org/officeDocument/2006/relationships/slideLayout" Target="../slideLayouts/slideLayout18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tags" Target="../tags/tag330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351" Type="http://schemas.openxmlformats.org/officeDocument/2006/relationships/tags" Target="../tags/tag351.xml"/><Relationship Id="rId372" Type="http://schemas.openxmlformats.org/officeDocument/2006/relationships/tags" Target="../tags/tag372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341" Type="http://schemas.openxmlformats.org/officeDocument/2006/relationships/tags" Target="../tags/tag341.xml"/><Relationship Id="rId362" Type="http://schemas.openxmlformats.org/officeDocument/2006/relationships/tags" Target="../tags/tag362.xml"/><Relationship Id="rId383" Type="http://schemas.openxmlformats.org/officeDocument/2006/relationships/notesSlide" Target="../notesSlides/notesSlide1.xml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tags" Target="../tags/tag331.xml"/><Relationship Id="rId352" Type="http://schemas.openxmlformats.org/officeDocument/2006/relationships/tags" Target="../tags/tag352.xml"/><Relationship Id="rId373" Type="http://schemas.openxmlformats.org/officeDocument/2006/relationships/tags" Target="../tags/tag373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42" Type="http://schemas.openxmlformats.org/officeDocument/2006/relationships/tags" Target="../tags/tag342.xml"/><Relationship Id="rId363" Type="http://schemas.openxmlformats.org/officeDocument/2006/relationships/tags" Target="../tags/tag363.xml"/><Relationship Id="rId384" Type="http://schemas.openxmlformats.org/officeDocument/2006/relationships/image" Target="../media/image8.png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32" Type="http://schemas.openxmlformats.org/officeDocument/2006/relationships/tags" Target="../tags/tag332.xml"/><Relationship Id="rId353" Type="http://schemas.openxmlformats.org/officeDocument/2006/relationships/tags" Target="../tags/tag353.xml"/><Relationship Id="rId374" Type="http://schemas.openxmlformats.org/officeDocument/2006/relationships/tags" Target="../tags/tag374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343" Type="http://schemas.openxmlformats.org/officeDocument/2006/relationships/tags" Target="../tags/tag343.xml"/><Relationship Id="rId364" Type="http://schemas.openxmlformats.org/officeDocument/2006/relationships/tags" Target="../tags/tag364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333" Type="http://schemas.openxmlformats.org/officeDocument/2006/relationships/tags" Target="../tags/tag333.xml"/><Relationship Id="rId354" Type="http://schemas.openxmlformats.org/officeDocument/2006/relationships/tags" Target="../tags/tag354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75" Type="http://schemas.openxmlformats.org/officeDocument/2006/relationships/tags" Target="../tags/tag375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323" Type="http://schemas.openxmlformats.org/officeDocument/2006/relationships/tags" Target="../tags/tag323.xml"/><Relationship Id="rId344" Type="http://schemas.openxmlformats.org/officeDocument/2006/relationships/tags" Target="../tags/tag344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365" Type="http://schemas.openxmlformats.org/officeDocument/2006/relationships/tags" Target="../tags/tag365.xml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tags" Target="../tags/tag31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334" Type="http://schemas.openxmlformats.org/officeDocument/2006/relationships/tags" Target="../tags/tag334.xml"/><Relationship Id="rId355" Type="http://schemas.openxmlformats.org/officeDocument/2006/relationships/tags" Target="../tags/tag355.xml"/><Relationship Id="rId376" Type="http://schemas.openxmlformats.org/officeDocument/2006/relationships/tags" Target="../tags/tag376.xml"/><Relationship Id="rId4" Type="http://schemas.openxmlformats.org/officeDocument/2006/relationships/tags" Target="../tags/tag4.xml"/><Relationship Id="rId180" Type="http://schemas.openxmlformats.org/officeDocument/2006/relationships/tags" Target="../tags/tag18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Relationship Id="rId303" Type="http://schemas.openxmlformats.org/officeDocument/2006/relationships/tags" Target="../tags/tag303.xml"/><Relationship Id="rId42" Type="http://schemas.openxmlformats.org/officeDocument/2006/relationships/tags" Target="../tags/tag42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345" Type="http://schemas.openxmlformats.org/officeDocument/2006/relationships/tags" Target="../tags/tag345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53" Type="http://schemas.openxmlformats.org/officeDocument/2006/relationships/tags" Target="../tags/tag53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56" Type="http://schemas.openxmlformats.org/officeDocument/2006/relationships/tags" Target="../tags/tag356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216" Type="http://schemas.openxmlformats.org/officeDocument/2006/relationships/tags" Target="../tags/tag216.xml"/><Relationship Id="rId258" Type="http://schemas.openxmlformats.org/officeDocument/2006/relationships/tags" Target="../tags/tag258.xml"/><Relationship Id="rId22" Type="http://schemas.openxmlformats.org/officeDocument/2006/relationships/tags" Target="../tags/tag22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325" Type="http://schemas.openxmlformats.org/officeDocument/2006/relationships/tags" Target="../tags/tag325.xml"/><Relationship Id="rId367" Type="http://schemas.openxmlformats.org/officeDocument/2006/relationships/tags" Target="../tags/tag367.xml"/><Relationship Id="rId171" Type="http://schemas.openxmlformats.org/officeDocument/2006/relationships/tags" Target="../tags/tag171.xml"/><Relationship Id="rId227" Type="http://schemas.openxmlformats.org/officeDocument/2006/relationships/tags" Target="../tags/tag227.xml"/><Relationship Id="rId269" Type="http://schemas.openxmlformats.org/officeDocument/2006/relationships/tags" Target="../tags/tag269.xml"/><Relationship Id="rId33" Type="http://schemas.openxmlformats.org/officeDocument/2006/relationships/tags" Target="../tags/tag33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36" Type="http://schemas.openxmlformats.org/officeDocument/2006/relationships/tags" Target="../tags/tag336.xml"/><Relationship Id="rId75" Type="http://schemas.openxmlformats.org/officeDocument/2006/relationships/tags" Target="../tags/tag75.xml"/><Relationship Id="rId140" Type="http://schemas.openxmlformats.org/officeDocument/2006/relationships/tags" Target="../tags/tag140.xml"/><Relationship Id="rId182" Type="http://schemas.openxmlformats.org/officeDocument/2006/relationships/tags" Target="../tags/tag182.xml"/><Relationship Id="rId378" Type="http://schemas.openxmlformats.org/officeDocument/2006/relationships/tags" Target="../tags/tag378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47" Type="http://schemas.openxmlformats.org/officeDocument/2006/relationships/tags" Target="../tags/tag347.xml"/><Relationship Id="rId44" Type="http://schemas.openxmlformats.org/officeDocument/2006/relationships/tags" Target="../tags/tag44.xml"/><Relationship Id="rId86" Type="http://schemas.openxmlformats.org/officeDocument/2006/relationships/tags" Target="../tags/tag86.xml"/><Relationship Id="rId151" Type="http://schemas.openxmlformats.org/officeDocument/2006/relationships/tags" Target="../tags/tag151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316" Type="http://schemas.openxmlformats.org/officeDocument/2006/relationships/tags" Target="../tags/tag316.xml"/><Relationship Id="rId55" Type="http://schemas.openxmlformats.org/officeDocument/2006/relationships/tags" Target="../tags/tag55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358" Type="http://schemas.openxmlformats.org/officeDocument/2006/relationships/tags" Target="../tags/tag358.xml"/><Relationship Id="rId162" Type="http://schemas.openxmlformats.org/officeDocument/2006/relationships/tags" Target="../tags/tag162.xml"/><Relationship Id="rId218" Type="http://schemas.openxmlformats.org/officeDocument/2006/relationships/tags" Target="../tags/tag218.xml"/><Relationship Id="rId271" Type="http://schemas.openxmlformats.org/officeDocument/2006/relationships/tags" Target="../tags/tag271.xml"/><Relationship Id="rId24" Type="http://schemas.openxmlformats.org/officeDocument/2006/relationships/tags" Target="../tags/tag24.xml"/><Relationship Id="rId66" Type="http://schemas.openxmlformats.org/officeDocument/2006/relationships/tags" Target="../tags/tag66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369" Type="http://schemas.openxmlformats.org/officeDocument/2006/relationships/tags" Target="../tags/tag369.xml"/><Relationship Id="rId173" Type="http://schemas.openxmlformats.org/officeDocument/2006/relationships/tags" Target="../tags/tag173.xml"/><Relationship Id="rId229" Type="http://schemas.openxmlformats.org/officeDocument/2006/relationships/tags" Target="../tags/tag229.xml"/><Relationship Id="rId380" Type="http://schemas.openxmlformats.org/officeDocument/2006/relationships/tags" Target="../tags/tag380.xml"/><Relationship Id="rId240" Type="http://schemas.openxmlformats.org/officeDocument/2006/relationships/tags" Target="../tags/tag240.xml"/><Relationship Id="rId35" Type="http://schemas.openxmlformats.org/officeDocument/2006/relationships/tags" Target="../tags/tag35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38" Type="http://schemas.openxmlformats.org/officeDocument/2006/relationships/tags" Target="../tags/tag338.xml"/><Relationship Id="rId8" Type="http://schemas.openxmlformats.org/officeDocument/2006/relationships/tags" Target="../tags/tag8.xml"/><Relationship Id="rId142" Type="http://schemas.openxmlformats.org/officeDocument/2006/relationships/tags" Target="../tags/tag142.xml"/><Relationship Id="rId184" Type="http://schemas.openxmlformats.org/officeDocument/2006/relationships/tags" Target="../tags/tag184.xml"/><Relationship Id="rId251" Type="http://schemas.openxmlformats.org/officeDocument/2006/relationships/tags" Target="../tags/tag251.xml"/><Relationship Id="rId46" Type="http://schemas.openxmlformats.org/officeDocument/2006/relationships/tags" Target="../tags/tag46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49" Type="http://schemas.openxmlformats.org/officeDocument/2006/relationships/tags" Target="../tags/tag349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53" Type="http://schemas.openxmlformats.org/officeDocument/2006/relationships/tags" Target="../tags/tag153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360" Type="http://schemas.openxmlformats.org/officeDocument/2006/relationships/tags" Target="../tags/tag360.xml"/><Relationship Id="rId220" Type="http://schemas.openxmlformats.org/officeDocument/2006/relationships/tags" Target="../tags/tag220.xml"/><Relationship Id="rId15" Type="http://schemas.openxmlformats.org/officeDocument/2006/relationships/tags" Target="../tags/tag15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318" Type="http://schemas.openxmlformats.org/officeDocument/2006/relationships/tags" Target="../tags/tag318.xml"/><Relationship Id="rId99" Type="http://schemas.openxmlformats.org/officeDocument/2006/relationships/tags" Target="../tags/tag99.xml"/><Relationship Id="rId122" Type="http://schemas.openxmlformats.org/officeDocument/2006/relationships/tags" Target="../tags/tag122.xml"/><Relationship Id="rId164" Type="http://schemas.openxmlformats.org/officeDocument/2006/relationships/tags" Target="../tags/tag164.xml"/><Relationship Id="rId371" Type="http://schemas.openxmlformats.org/officeDocument/2006/relationships/tags" Target="../tags/tag37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noProof="0" dirty="0" smtClean="0"/>
              <a:t>FUEL CELLS	</a:t>
            </a:r>
            <a:endParaRPr lang="en-US" noProof="0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8" name="Rectangle 7"/>
          <p:cNvSpPr>
            <a:spLocks noChangeAspect="1"/>
          </p:cNvSpPr>
          <p:nvPr/>
        </p:nvSpPr>
        <p:spPr>
          <a:xfrm>
            <a:off x="1407474" y="-288109"/>
            <a:ext cx="9601301" cy="4778518"/>
          </a:xfrm>
          <a:prstGeom prst="rect">
            <a:avLst/>
          </a:prstGeom>
          <a:blipFill dpi="0" rotWithShape="1">
            <a:blip r:embed="rId2">
              <a:alphaModFix amt="5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87590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GIONAL FOCUS - EUROPE</a:t>
            </a:r>
            <a:endParaRPr lang="en-US" dirty="0"/>
          </a:p>
        </p:txBody>
      </p:sp>
      <p:pic>
        <p:nvPicPr>
          <p:cNvPr id="5" name="Content Placeholder 4"/>
          <p:cNvPicPr>
            <a:picLocks noGrp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6918" y="1865313"/>
            <a:ext cx="8388762" cy="4022725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Espace réservé du contenu 22"/>
          <p:cNvSpPr txBox="1">
            <a:spLocks/>
          </p:cNvSpPr>
          <p:nvPr/>
        </p:nvSpPr>
        <p:spPr>
          <a:xfrm>
            <a:off x="1097280" y="1834516"/>
            <a:ext cx="3986537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>
            <a:lvl1pPr marL="91436" indent="-91436" algn="l" defTabSz="914354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29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00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771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42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09994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29993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99925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9991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297D53"/>
              </a:buClr>
            </a:pPr>
            <a:r>
              <a:rPr lang="en-US" sz="2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Europe :</a:t>
            </a:r>
          </a:p>
          <a:p>
            <a:pPr>
              <a:buClr>
                <a:srgbClr val="297D53"/>
              </a:buClr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Large and diverse fuel cell industry.</a:t>
            </a:r>
          </a:p>
          <a:p>
            <a:pPr>
              <a:buClr>
                <a:srgbClr val="297D53"/>
              </a:buClr>
            </a:pPr>
            <a:endParaRPr lang="en-US" dirty="0" smtClean="0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pPr>
              <a:buClr>
                <a:srgbClr val="297D53"/>
              </a:buClr>
            </a:pP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</a:rPr>
              <a:t>- Research Institutes are </a:t>
            </a: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researching fuel cells</a:t>
            </a:r>
            <a:endParaRPr lang="en-US" dirty="0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pPr>
              <a:buClr>
                <a:srgbClr val="297D53"/>
              </a:buClr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- Big markets for fuel cell buses and cars</a:t>
            </a:r>
          </a:p>
          <a:p>
            <a:pPr>
              <a:buClr>
                <a:srgbClr val="297D53"/>
              </a:buClr>
            </a:pP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</a:rPr>
              <a:t>- Germany is currently the biggest market for stationary fuel cells</a:t>
            </a:r>
          </a:p>
          <a:p>
            <a:pPr>
              <a:buClr>
                <a:srgbClr val="297D53"/>
              </a:buClr>
            </a:pPr>
            <a:endParaRPr lang="en-US" dirty="0" smtClean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3305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GIONAL FOCUS – N.AMERICA</a:t>
            </a:r>
            <a:endParaRPr lang="en-US" dirty="0"/>
          </a:p>
        </p:txBody>
      </p:sp>
      <p:pic>
        <p:nvPicPr>
          <p:cNvPr id="6" name="Content Placeholder 5"/>
          <p:cNvPicPr>
            <a:picLocks noGrp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833563"/>
            <a:ext cx="8619017" cy="4022725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Espace réservé du contenu 22"/>
          <p:cNvSpPr txBox="1">
            <a:spLocks/>
          </p:cNvSpPr>
          <p:nvPr/>
        </p:nvSpPr>
        <p:spPr>
          <a:xfrm>
            <a:off x="6983732" y="1929127"/>
            <a:ext cx="3986537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>
            <a:lvl1pPr marL="91436" indent="-91436" algn="l" defTabSz="914354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29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00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771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42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09994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29993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99925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9991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297D53"/>
              </a:buClr>
            </a:pPr>
            <a:r>
              <a:rPr lang="en-US" sz="2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North America :</a:t>
            </a:r>
          </a:p>
          <a:p>
            <a:pPr>
              <a:buClr>
                <a:srgbClr val="297D53"/>
              </a:buClr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Fuel cell bus delivery demo program taking place in British Columbia.</a:t>
            </a:r>
          </a:p>
          <a:p>
            <a:pPr>
              <a:buClr>
                <a:srgbClr val="297D53"/>
              </a:buClr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Fuel cell electric vehicles are running on the streets of southern California, the government also installed a few FC stations.</a:t>
            </a:r>
          </a:p>
          <a:p>
            <a:pPr>
              <a:buClr>
                <a:srgbClr val="297D53"/>
              </a:buClr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FC used as backup power source for the telecom segment.</a:t>
            </a:r>
          </a:p>
        </p:txBody>
      </p:sp>
    </p:spTree>
    <p:extLst>
      <p:ext uri="{BB962C8B-B14F-4D97-AF65-F5344CB8AC3E}">
        <p14:creationId xmlns:p14="http://schemas.microsoft.com/office/powerpoint/2010/main" val="19553542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2" name="Freeform 4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4043364" y="5394325"/>
            <a:ext cx="33337" cy="57150"/>
          </a:xfrm>
          <a:custGeom>
            <a:avLst/>
            <a:gdLst>
              <a:gd name="T0" fmla="*/ 0 w 73"/>
              <a:gd name="T1" fmla="*/ 0 h 20"/>
              <a:gd name="T2" fmla="*/ 1 w 73"/>
              <a:gd name="T3" fmla="*/ 5 h 20"/>
              <a:gd name="T4" fmla="*/ 4 w 73"/>
              <a:gd name="T5" fmla="*/ 10 h 20"/>
              <a:gd name="T6" fmla="*/ 8 w 73"/>
              <a:gd name="T7" fmla="*/ 14 h 20"/>
              <a:gd name="T8" fmla="*/ 13 w 73"/>
              <a:gd name="T9" fmla="*/ 20 h 20"/>
              <a:gd name="T10" fmla="*/ 16 w 73"/>
              <a:gd name="T11" fmla="*/ 17 h 20"/>
              <a:gd name="T12" fmla="*/ 19 w 73"/>
              <a:gd name="T13" fmla="*/ 13 h 20"/>
              <a:gd name="T14" fmla="*/ 23 w 73"/>
              <a:gd name="T15" fmla="*/ 11 h 20"/>
              <a:gd name="T16" fmla="*/ 27 w 73"/>
              <a:gd name="T17" fmla="*/ 10 h 20"/>
              <a:gd name="T18" fmla="*/ 36 w 73"/>
              <a:gd name="T19" fmla="*/ 8 h 20"/>
              <a:gd name="T20" fmla="*/ 46 w 73"/>
              <a:gd name="T21" fmla="*/ 7 h 20"/>
              <a:gd name="T22" fmla="*/ 54 w 73"/>
              <a:gd name="T23" fmla="*/ 7 h 20"/>
              <a:gd name="T24" fmla="*/ 63 w 73"/>
              <a:gd name="T25" fmla="*/ 6 h 20"/>
              <a:gd name="T26" fmla="*/ 66 w 73"/>
              <a:gd name="T27" fmla="*/ 5 h 20"/>
              <a:gd name="T28" fmla="*/ 69 w 73"/>
              <a:gd name="T29" fmla="*/ 4 h 20"/>
              <a:gd name="T30" fmla="*/ 71 w 73"/>
              <a:gd name="T31" fmla="*/ 2 h 20"/>
              <a:gd name="T32" fmla="*/ 73 w 73"/>
              <a:gd name="T33" fmla="*/ 0 h 20"/>
              <a:gd name="T34" fmla="*/ 0 w 73"/>
              <a:gd name="T35" fmla="*/ 0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3" h="20">
                <a:moveTo>
                  <a:pt x="0" y="0"/>
                </a:moveTo>
                <a:lnTo>
                  <a:pt x="1" y="5"/>
                </a:lnTo>
                <a:lnTo>
                  <a:pt x="4" y="10"/>
                </a:lnTo>
                <a:lnTo>
                  <a:pt x="8" y="14"/>
                </a:lnTo>
                <a:lnTo>
                  <a:pt x="13" y="20"/>
                </a:lnTo>
                <a:lnTo>
                  <a:pt x="16" y="17"/>
                </a:lnTo>
                <a:lnTo>
                  <a:pt x="19" y="13"/>
                </a:lnTo>
                <a:lnTo>
                  <a:pt x="23" y="11"/>
                </a:lnTo>
                <a:lnTo>
                  <a:pt x="27" y="10"/>
                </a:lnTo>
                <a:lnTo>
                  <a:pt x="36" y="8"/>
                </a:lnTo>
                <a:lnTo>
                  <a:pt x="46" y="7"/>
                </a:lnTo>
                <a:lnTo>
                  <a:pt x="54" y="7"/>
                </a:lnTo>
                <a:lnTo>
                  <a:pt x="63" y="6"/>
                </a:lnTo>
                <a:lnTo>
                  <a:pt x="66" y="5"/>
                </a:lnTo>
                <a:lnTo>
                  <a:pt x="69" y="4"/>
                </a:lnTo>
                <a:lnTo>
                  <a:pt x="71" y="2"/>
                </a:lnTo>
                <a:lnTo>
                  <a:pt x="73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053" name="Freeform 5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2201864" y="1495425"/>
            <a:ext cx="784225" cy="446088"/>
          </a:xfrm>
          <a:custGeom>
            <a:avLst/>
            <a:gdLst>
              <a:gd name="T0" fmla="*/ 1395 w 1808"/>
              <a:gd name="T1" fmla="*/ 807 h 850"/>
              <a:gd name="T2" fmla="*/ 1394 w 1808"/>
              <a:gd name="T3" fmla="*/ 753 h 850"/>
              <a:gd name="T4" fmla="*/ 1373 w 1808"/>
              <a:gd name="T5" fmla="*/ 648 h 850"/>
              <a:gd name="T6" fmla="*/ 1323 w 1808"/>
              <a:gd name="T7" fmla="*/ 641 h 850"/>
              <a:gd name="T8" fmla="*/ 1264 w 1808"/>
              <a:gd name="T9" fmla="*/ 639 h 850"/>
              <a:gd name="T10" fmla="*/ 1134 w 1808"/>
              <a:gd name="T11" fmla="*/ 582 h 850"/>
              <a:gd name="T12" fmla="*/ 973 w 1808"/>
              <a:gd name="T13" fmla="*/ 537 h 850"/>
              <a:gd name="T14" fmla="*/ 943 w 1808"/>
              <a:gd name="T15" fmla="*/ 504 h 850"/>
              <a:gd name="T16" fmla="*/ 901 w 1808"/>
              <a:gd name="T17" fmla="*/ 516 h 850"/>
              <a:gd name="T18" fmla="*/ 849 w 1808"/>
              <a:gd name="T19" fmla="*/ 570 h 850"/>
              <a:gd name="T20" fmla="*/ 675 w 1808"/>
              <a:gd name="T21" fmla="*/ 619 h 850"/>
              <a:gd name="T22" fmla="*/ 678 w 1808"/>
              <a:gd name="T23" fmla="*/ 578 h 850"/>
              <a:gd name="T24" fmla="*/ 721 w 1808"/>
              <a:gd name="T25" fmla="*/ 548 h 850"/>
              <a:gd name="T26" fmla="*/ 786 w 1808"/>
              <a:gd name="T27" fmla="*/ 545 h 850"/>
              <a:gd name="T28" fmla="*/ 724 w 1808"/>
              <a:gd name="T29" fmla="*/ 528 h 850"/>
              <a:gd name="T30" fmla="*/ 578 w 1808"/>
              <a:gd name="T31" fmla="*/ 589 h 850"/>
              <a:gd name="T32" fmla="*/ 547 w 1808"/>
              <a:gd name="T33" fmla="*/ 625 h 850"/>
              <a:gd name="T34" fmla="*/ 526 w 1808"/>
              <a:gd name="T35" fmla="*/ 650 h 850"/>
              <a:gd name="T36" fmla="*/ 452 w 1808"/>
              <a:gd name="T37" fmla="*/ 654 h 850"/>
              <a:gd name="T38" fmla="*/ 383 w 1808"/>
              <a:gd name="T39" fmla="*/ 702 h 850"/>
              <a:gd name="T40" fmla="*/ 252 w 1808"/>
              <a:gd name="T41" fmla="*/ 750 h 850"/>
              <a:gd name="T42" fmla="*/ 105 w 1808"/>
              <a:gd name="T43" fmla="*/ 807 h 850"/>
              <a:gd name="T44" fmla="*/ 4 w 1808"/>
              <a:gd name="T45" fmla="*/ 813 h 850"/>
              <a:gd name="T46" fmla="*/ 14 w 1808"/>
              <a:gd name="T47" fmla="*/ 789 h 850"/>
              <a:gd name="T48" fmla="*/ 127 w 1808"/>
              <a:gd name="T49" fmla="*/ 761 h 850"/>
              <a:gd name="T50" fmla="*/ 265 w 1808"/>
              <a:gd name="T51" fmla="*/ 696 h 850"/>
              <a:gd name="T52" fmla="*/ 300 w 1808"/>
              <a:gd name="T53" fmla="*/ 626 h 850"/>
              <a:gd name="T54" fmla="*/ 253 w 1808"/>
              <a:gd name="T55" fmla="*/ 657 h 850"/>
              <a:gd name="T56" fmla="*/ 150 w 1808"/>
              <a:gd name="T57" fmla="*/ 643 h 850"/>
              <a:gd name="T58" fmla="*/ 172 w 1808"/>
              <a:gd name="T59" fmla="*/ 610 h 850"/>
              <a:gd name="T60" fmla="*/ 240 w 1808"/>
              <a:gd name="T61" fmla="*/ 547 h 850"/>
              <a:gd name="T62" fmla="*/ 152 w 1808"/>
              <a:gd name="T63" fmla="*/ 575 h 850"/>
              <a:gd name="T64" fmla="*/ 143 w 1808"/>
              <a:gd name="T65" fmla="*/ 536 h 850"/>
              <a:gd name="T66" fmla="*/ 346 w 1808"/>
              <a:gd name="T67" fmla="*/ 380 h 850"/>
              <a:gd name="T68" fmla="*/ 444 w 1808"/>
              <a:gd name="T69" fmla="*/ 382 h 850"/>
              <a:gd name="T70" fmla="*/ 569 w 1808"/>
              <a:gd name="T71" fmla="*/ 349 h 850"/>
              <a:gd name="T72" fmla="*/ 592 w 1808"/>
              <a:gd name="T73" fmla="*/ 306 h 850"/>
              <a:gd name="T74" fmla="*/ 506 w 1808"/>
              <a:gd name="T75" fmla="*/ 331 h 850"/>
              <a:gd name="T76" fmla="*/ 438 w 1808"/>
              <a:gd name="T77" fmla="*/ 318 h 850"/>
              <a:gd name="T78" fmla="*/ 472 w 1808"/>
              <a:gd name="T79" fmla="*/ 287 h 850"/>
              <a:gd name="T80" fmla="*/ 711 w 1808"/>
              <a:gd name="T81" fmla="*/ 238 h 850"/>
              <a:gd name="T82" fmla="*/ 749 w 1808"/>
              <a:gd name="T83" fmla="*/ 210 h 850"/>
              <a:gd name="T84" fmla="*/ 684 w 1808"/>
              <a:gd name="T85" fmla="*/ 176 h 850"/>
              <a:gd name="T86" fmla="*/ 739 w 1808"/>
              <a:gd name="T87" fmla="*/ 109 h 850"/>
              <a:gd name="T88" fmla="*/ 988 w 1808"/>
              <a:gd name="T89" fmla="*/ 27 h 850"/>
              <a:gd name="T90" fmla="*/ 1157 w 1808"/>
              <a:gd name="T91" fmla="*/ 9 h 850"/>
              <a:gd name="T92" fmla="*/ 1277 w 1808"/>
              <a:gd name="T93" fmla="*/ 2 h 850"/>
              <a:gd name="T94" fmla="*/ 1354 w 1808"/>
              <a:gd name="T95" fmla="*/ 10 h 850"/>
              <a:gd name="T96" fmla="*/ 1516 w 1808"/>
              <a:gd name="T97" fmla="*/ 34 h 850"/>
              <a:gd name="T98" fmla="*/ 1761 w 1808"/>
              <a:gd name="T99" fmla="*/ 41 h 850"/>
              <a:gd name="T100" fmla="*/ 1287 w 1808"/>
              <a:gd name="T101" fmla="*/ 540 h 850"/>
              <a:gd name="T102" fmla="*/ 1321 w 1808"/>
              <a:gd name="T103" fmla="*/ 571 h 850"/>
              <a:gd name="T104" fmla="*/ 1327 w 1808"/>
              <a:gd name="T105" fmla="*/ 601 h 850"/>
              <a:gd name="T106" fmla="*/ 1382 w 1808"/>
              <a:gd name="T107" fmla="*/ 599 h 850"/>
              <a:gd name="T108" fmla="*/ 1429 w 1808"/>
              <a:gd name="T109" fmla="*/ 577 h 850"/>
              <a:gd name="T110" fmla="*/ 1475 w 1808"/>
              <a:gd name="T111" fmla="*/ 667 h 850"/>
              <a:gd name="T112" fmla="*/ 1462 w 1808"/>
              <a:gd name="T113" fmla="*/ 706 h 850"/>
              <a:gd name="T114" fmla="*/ 1449 w 1808"/>
              <a:gd name="T115" fmla="*/ 742 h 850"/>
              <a:gd name="T116" fmla="*/ 1477 w 1808"/>
              <a:gd name="T117" fmla="*/ 783 h 850"/>
              <a:gd name="T118" fmla="*/ 1477 w 1808"/>
              <a:gd name="T119" fmla="*/ 811 h 850"/>
              <a:gd name="T120" fmla="*/ 1426 w 1808"/>
              <a:gd name="T121" fmla="*/ 848 h 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808" h="850">
                <a:moveTo>
                  <a:pt x="1410" y="842"/>
                </a:moveTo>
                <a:lnTo>
                  <a:pt x="1405" y="841"/>
                </a:lnTo>
                <a:lnTo>
                  <a:pt x="1403" y="838"/>
                </a:lnTo>
                <a:lnTo>
                  <a:pt x="1401" y="834"/>
                </a:lnTo>
                <a:lnTo>
                  <a:pt x="1399" y="830"/>
                </a:lnTo>
                <a:lnTo>
                  <a:pt x="1396" y="819"/>
                </a:lnTo>
                <a:lnTo>
                  <a:pt x="1395" y="807"/>
                </a:lnTo>
                <a:lnTo>
                  <a:pt x="1396" y="795"/>
                </a:lnTo>
                <a:lnTo>
                  <a:pt x="1398" y="784"/>
                </a:lnTo>
                <a:lnTo>
                  <a:pt x="1400" y="775"/>
                </a:lnTo>
                <a:lnTo>
                  <a:pt x="1402" y="769"/>
                </a:lnTo>
                <a:lnTo>
                  <a:pt x="1399" y="764"/>
                </a:lnTo>
                <a:lnTo>
                  <a:pt x="1396" y="760"/>
                </a:lnTo>
                <a:lnTo>
                  <a:pt x="1394" y="753"/>
                </a:lnTo>
                <a:lnTo>
                  <a:pt x="1392" y="746"/>
                </a:lnTo>
                <a:lnTo>
                  <a:pt x="1390" y="729"/>
                </a:lnTo>
                <a:lnTo>
                  <a:pt x="1389" y="708"/>
                </a:lnTo>
                <a:lnTo>
                  <a:pt x="1389" y="670"/>
                </a:lnTo>
                <a:lnTo>
                  <a:pt x="1389" y="645"/>
                </a:lnTo>
                <a:lnTo>
                  <a:pt x="1382" y="647"/>
                </a:lnTo>
                <a:lnTo>
                  <a:pt x="1373" y="648"/>
                </a:lnTo>
                <a:lnTo>
                  <a:pt x="1362" y="648"/>
                </a:lnTo>
                <a:lnTo>
                  <a:pt x="1351" y="648"/>
                </a:lnTo>
                <a:lnTo>
                  <a:pt x="1340" y="647"/>
                </a:lnTo>
                <a:lnTo>
                  <a:pt x="1332" y="645"/>
                </a:lnTo>
                <a:lnTo>
                  <a:pt x="1327" y="644"/>
                </a:lnTo>
                <a:lnTo>
                  <a:pt x="1325" y="642"/>
                </a:lnTo>
                <a:lnTo>
                  <a:pt x="1323" y="641"/>
                </a:lnTo>
                <a:lnTo>
                  <a:pt x="1323" y="638"/>
                </a:lnTo>
                <a:lnTo>
                  <a:pt x="1290" y="682"/>
                </a:lnTo>
                <a:lnTo>
                  <a:pt x="1284" y="668"/>
                </a:lnTo>
                <a:lnTo>
                  <a:pt x="1279" y="659"/>
                </a:lnTo>
                <a:lnTo>
                  <a:pt x="1273" y="650"/>
                </a:lnTo>
                <a:lnTo>
                  <a:pt x="1268" y="645"/>
                </a:lnTo>
                <a:lnTo>
                  <a:pt x="1264" y="639"/>
                </a:lnTo>
                <a:lnTo>
                  <a:pt x="1259" y="631"/>
                </a:lnTo>
                <a:lnTo>
                  <a:pt x="1257" y="622"/>
                </a:lnTo>
                <a:lnTo>
                  <a:pt x="1256" y="608"/>
                </a:lnTo>
                <a:lnTo>
                  <a:pt x="1226" y="602"/>
                </a:lnTo>
                <a:lnTo>
                  <a:pt x="1195" y="595"/>
                </a:lnTo>
                <a:lnTo>
                  <a:pt x="1165" y="588"/>
                </a:lnTo>
                <a:lnTo>
                  <a:pt x="1134" y="582"/>
                </a:lnTo>
                <a:lnTo>
                  <a:pt x="1104" y="576"/>
                </a:lnTo>
                <a:lnTo>
                  <a:pt x="1074" y="569"/>
                </a:lnTo>
                <a:lnTo>
                  <a:pt x="1045" y="561"/>
                </a:lnTo>
                <a:lnTo>
                  <a:pt x="1018" y="553"/>
                </a:lnTo>
                <a:lnTo>
                  <a:pt x="984" y="553"/>
                </a:lnTo>
                <a:lnTo>
                  <a:pt x="977" y="546"/>
                </a:lnTo>
                <a:lnTo>
                  <a:pt x="973" y="537"/>
                </a:lnTo>
                <a:lnTo>
                  <a:pt x="969" y="528"/>
                </a:lnTo>
                <a:lnTo>
                  <a:pt x="966" y="521"/>
                </a:lnTo>
                <a:lnTo>
                  <a:pt x="962" y="514"/>
                </a:lnTo>
                <a:lnTo>
                  <a:pt x="956" y="508"/>
                </a:lnTo>
                <a:lnTo>
                  <a:pt x="952" y="506"/>
                </a:lnTo>
                <a:lnTo>
                  <a:pt x="948" y="505"/>
                </a:lnTo>
                <a:lnTo>
                  <a:pt x="943" y="504"/>
                </a:lnTo>
                <a:lnTo>
                  <a:pt x="937" y="503"/>
                </a:lnTo>
                <a:lnTo>
                  <a:pt x="929" y="504"/>
                </a:lnTo>
                <a:lnTo>
                  <a:pt x="922" y="505"/>
                </a:lnTo>
                <a:lnTo>
                  <a:pt x="916" y="507"/>
                </a:lnTo>
                <a:lnTo>
                  <a:pt x="910" y="509"/>
                </a:lnTo>
                <a:lnTo>
                  <a:pt x="906" y="512"/>
                </a:lnTo>
                <a:lnTo>
                  <a:pt x="901" y="516"/>
                </a:lnTo>
                <a:lnTo>
                  <a:pt x="898" y="519"/>
                </a:lnTo>
                <a:lnTo>
                  <a:pt x="895" y="523"/>
                </a:lnTo>
                <a:lnTo>
                  <a:pt x="886" y="539"/>
                </a:lnTo>
                <a:lnTo>
                  <a:pt x="877" y="553"/>
                </a:lnTo>
                <a:lnTo>
                  <a:pt x="870" y="559"/>
                </a:lnTo>
                <a:lnTo>
                  <a:pt x="861" y="564"/>
                </a:lnTo>
                <a:lnTo>
                  <a:pt x="849" y="570"/>
                </a:lnTo>
                <a:lnTo>
                  <a:pt x="835" y="576"/>
                </a:lnTo>
                <a:lnTo>
                  <a:pt x="806" y="587"/>
                </a:lnTo>
                <a:lnTo>
                  <a:pt x="772" y="597"/>
                </a:lnTo>
                <a:lnTo>
                  <a:pt x="738" y="607"/>
                </a:lnTo>
                <a:lnTo>
                  <a:pt x="705" y="614"/>
                </a:lnTo>
                <a:lnTo>
                  <a:pt x="689" y="617"/>
                </a:lnTo>
                <a:lnTo>
                  <a:pt x="675" y="619"/>
                </a:lnTo>
                <a:lnTo>
                  <a:pt x="663" y="620"/>
                </a:lnTo>
                <a:lnTo>
                  <a:pt x="652" y="620"/>
                </a:lnTo>
                <a:lnTo>
                  <a:pt x="656" y="614"/>
                </a:lnTo>
                <a:lnTo>
                  <a:pt x="667" y="597"/>
                </a:lnTo>
                <a:lnTo>
                  <a:pt x="673" y="589"/>
                </a:lnTo>
                <a:lnTo>
                  <a:pt x="677" y="581"/>
                </a:lnTo>
                <a:lnTo>
                  <a:pt x="678" y="578"/>
                </a:lnTo>
                <a:lnTo>
                  <a:pt x="679" y="575"/>
                </a:lnTo>
                <a:lnTo>
                  <a:pt x="679" y="572"/>
                </a:lnTo>
                <a:lnTo>
                  <a:pt x="678" y="571"/>
                </a:lnTo>
                <a:lnTo>
                  <a:pt x="689" y="562"/>
                </a:lnTo>
                <a:lnTo>
                  <a:pt x="700" y="555"/>
                </a:lnTo>
                <a:lnTo>
                  <a:pt x="711" y="551"/>
                </a:lnTo>
                <a:lnTo>
                  <a:pt x="721" y="548"/>
                </a:lnTo>
                <a:lnTo>
                  <a:pt x="732" y="546"/>
                </a:lnTo>
                <a:lnTo>
                  <a:pt x="742" y="546"/>
                </a:lnTo>
                <a:lnTo>
                  <a:pt x="751" y="546"/>
                </a:lnTo>
                <a:lnTo>
                  <a:pt x="761" y="546"/>
                </a:lnTo>
                <a:lnTo>
                  <a:pt x="769" y="546"/>
                </a:lnTo>
                <a:lnTo>
                  <a:pt x="778" y="546"/>
                </a:lnTo>
                <a:lnTo>
                  <a:pt x="786" y="545"/>
                </a:lnTo>
                <a:lnTo>
                  <a:pt x="794" y="543"/>
                </a:lnTo>
                <a:lnTo>
                  <a:pt x="800" y="538"/>
                </a:lnTo>
                <a:lnTo>
                  <a:pt x="807" y="533"/>
                </a:lnTo>
                <a:lnTo>
                  <a:pt x="812" y="525"/>
                </a:lnTo>
                <a:lnTo>
                  <a:pt x="818" y="515"/>
                </a:lnTo>
                <a:lnTo>
                  <a:pt x="744" y="515"/>
                </a:lnTo>
                <a:lnTo>
                  <a:pt x="724" y="528"/>
                </a:lnTo>
                <a:lnTo>
                  <a:pt x="705" y="540"/>
                </a:lnTo>
                <a:lnTo>
                  <a:pt x="685" y="551"/>
                </a:lnTo>
                <a:lnTo>
                  <a:pt x="664" y="560"/>
                </a:lnTo>
                <a:lnTo>
                  <a:pt x="643" y="568"/>
                </a:lnTo>
                <a:lnTo>
                  <a:pt x="622" y="575"/>
                </a:lnTo>
                <a:lnTo>
                  <a:pt x="600" y="582"/>
                </a:lnTo>
                <a:lnTo>
                  <a:pt x="578" y="589"/>
                </a:lnTo>
                <a:lnTo>
                  <a:pt x="573" y="592"/>
                </a:lnTo>
                <a:lnTo>
                  <a:pt x="567" y="594"/>
                </a:lnTo>
                <a:lnTo>
                  <a:pt x="564" y="599"/>
                </a:lnTo>
                <a:lnTo>
                  <a:pt x="560" y="602"/>
                </a:lnTo>
                <a:lnTo>
                  <a:pt x="554" y="609"/>
                </a:lnTo>
                <a:lnTo>
                  <a:pt x="550" y="617"/>
                </a:lnTo>
                <a:lnTo>
                  <a:pt x="547" y="625"/>
                </a:lnTo>
                <a:lnTo>
                  <a:pt x="543" y="633"/>
                </a:lnTo>
                <a:lnTo>
                  <a:pt x="541" y="636"/>
                </a:lnTo>
                <a:lnTo>
                  <a:pt x="539" y="639"/>
                </a:lnTo>
                <a:lnTo>
                  <a:pt x="536" y="642"/>
                </a:lnTo>
                <a:lnTo>
                  <a:pt x="532" y="645"/>
                </a:lnTo>
                <a:lnTo>
                  <a:pt x="529" y="648"/>
                </a:lnTo>
                <a:lnTo>
                  <a:pt x="526" y="650"/>
                </a:lnTo>
                <a:lnTo>
                  <a:pt x="521" y="652"/>
                </a:lnTo>
                <a:lnTo>
                  <a:pt x="517" y="654"/>
                </a:lnTo>
                <a:lnTo>
                  <a:pt x="507" y="655"/>
                </a:lnTo>
                <a:lnTo>
                  <a:pt x="496" y="655"/>
                </a:lnTo>
                <a:lnTo>
                  <a:pt x="474" y="652"/>
                </a:lnTo>
                <a:lnTo>
                  <a:pt x="459" y="651"/>
                </a:lnTo>
                <a:lnTo>
                  <a:pt x="452" y="654"/>
                </a:lnTo>
                <a:lnTo>
                  <a:pt x="444" y="657"/>
                </a:lnTo>
                <a:lnTo>
                  <a:pt x="438" y="661"/>
                </a:lnTo>
                <a:lnTo>
                  <a:pt x="430" y="665"/>
                </a:lnTo>
                <a:lnTo>
                  <a:pt x="417" y="674"/>
                </a:lnTo>
                <a:lnTo>
                  <a:pt x="405" y="684"/>
                </a:lnTo>
                <a:lnTo>
                  <a:pt x="394" y="694"/>
                </a:lnTo>
                <a:lnTo>
                  <a:pt x="383" y="702"/>
                </a:lnTo>
                <a:lnTo>
                  <a:pt x="374" y="708"/>
                </a:lnTo>
                <a:lnTo>
                  <a:pt x="367" y="713"/>
                </a:lnTo>
                <a:lnTo>
                  <a:pt x="335" y="722"/>
                </a:lnTo>
                <a:lnTo>
                  <a:pt x="309" y="729"/>
                </a:lnTo>
                <a:lnTo>
                  <a:pt x="287" y="737"/>
                </a:lnTo>
                <a:lnTo>
                  <a:pt x="270" y="743"/>
                </a:lnTo>
                <a:lnTo>
                  <a:pt x="252" y="750"/>
                </a:lnTo>
                <a:lnTo>
                  <a:pt x="235" y="757"/>
                </a:lnTo>
                <a:lnTo>
                  <a:pt x="216" y="766"/>
                </a:lnTo>
                <a:lnTo>
                  <a:pt x="193" y="775"/>
                </a:lnTo>
                <a:lnTo>
                  <a:pt x="168" y="786"/>
                </a:lnTo>
                <a:lnTo>
                  <a:pt x="145" y="795"/>
                </a:lnTo>
                <a:lnTo>
                  <a:pt x="124" y="802"/>
                </a:lnTo>
                <a:lnTo>
                  <a:pt x="105" y="807"/>
                </a:lnTo>
                <a:lnTo>
                  <a:pt x="87" y="812"/>
                </a:lnTo>
                <a:lnTo>
                  <a:pt x="68" y="818"/>
                </a:lnTo>
                <a:lnTo>
                  <a:pt x="48" y="826"/>
                </a:lnTo>
                <a:lnTo>
                  <a:pt x="27" y="836"/>
                </a:lnTo>
                <a:lnTo>
                  <a:pt x="1" y="824"/>
                </a:lnTo>
                <a:lnTo>
                  <a:pt x="4" y="817"/>
                </a:lnTo>
                <a:lnTo>
                  <a:pt x="4" y="813"/>
                </a:lnTo>
                <a:lnTo>
                  <a:pt x="3" y="810"/>
                </a:lnTo>
                <a:lnTo>
                  <a:pt x="2" y="808"/>
                </a:lnTo>
                <a:lnTo>
                  <a:pt x="0" y="806"/>
                </a:lnTo>
                <a:lnTo>
                  <a:pt x="0" y="803"/>
                </a:lnTo>
                <a:lnTo>
                  <a:pt x="2" y="799"/>
                </a:lnTo>
                <a:lnTo>
                  <a:pt x="7" y="793"/>
                </a:lnTo>
                <a:lnTo>
                  <a:pt x="14" y="789"/>
                </a:lnTo>
                <a:lnTo>
                  <a:pt x="21" y="785"/>
                </a:lnTo>
                <a:lnTo>
                  <a:pt x="28" y="782"/>
                </a:lnTo>
                <a:lnTo>
                  <a:pt x="36" y="779"/>
                </a:lnTo>
                <a:lnTo>
                  <a:pt x="52" y="774"/>
                </a:lnTo>
                <a:lnTo>
                  <a:pt x="70" y="771"/>
                </a:lnTo>
                <a:lnTo>
                  <a:pt x="102" y="766"/>
                </a:lnTo>
                <a:lnTo>
                  <a:pt x="127" y="761"/>
                </a:lnTo>
                <a:lnTo>
                  <a:pt x="143" y="757"/>
                </a:lnTo>
                <a:lnTo>
                  <a:pt x="158" y="751"/>
                </a:lnTo>
                <a:lnTo>
                  <a:pt x="173" y="746"/>
                </a:lnTo>
                <a:lnTo>
                  <a:pt x="188" y="739"/>
                </a:lnTo>
                <a:lnTo>
                  <a:pt x="215" y="726"/>
                </a:lnTo>
                <a:lnTo>
                  <a:pt x="240" y="712"/>
                </a:lnTo>
                <a:lnTo>
                  <a:pt x="265" y="696"/>
                </a:lnTo>
                <a:lnTo>
                  <a:pt x="291" y="681"/>
                </a:lnTo>
                <a:lnTo>
                  <a:pt x="315" y="666"/>
                </a:lnTo>
                <a:lnTo>
                  <a:pt x="339" y="651"/>
                </a:lnTo>
                <a:lnTo>
                  <a:pt x="327" y="643"/>
                </a:lnTo>
                <a:lnTo>
                  <a:pt x="317" y="636"/>
                </a:lnTo>
                <a:lnTo>
                  <a:pt x="308" y="631"/>
                </a:lnTo>
                <a:lnTo>
                  <a:pt x="300" y="626"/>
                </a:lnTo>
                <a:lnTo>
                  <a:pt x="292" y="629"/>
                </a:lnTo>
                <a:lnTo>
                  <a:pt x="285" y="634"/>
                </a:lnTo>
                <a:lnTo>
                  <a:pt x="280" y="639"/>
                </a:lnTo>
                <a:lnTo>
                  <a:pt x="273" y="644"/>
                </a:lnTo>
                <a:lnTo>
                  <a:pt x="267" y="649"/>
                </a:lnTo>
                <a:lnTo>
                  <a:pt x="260" y="654"/>
                </a:lnTo>
                <a:lnTo>
                  <a:pt x="253" y="657"/>
                </a:lnTo>
                <a:lnTo>
                  <a:pt x="247" y="658"/>
                </a:lnTo>
                <a:lnTo>
                  <a:pt x="225" y="657"/>
                </a:lnTo>
                <a:lnTo>
                  <a:pt x="192" y="652"/>
                </a:lnTo>
                <a:lnTo>
                  <a:pt x="174" y="650"/>
                </a:lnTo>
                <a:lnTo>
                  <a:pt x="160" y="646"/>
                </a:lnTo>
                <a:lnTo>
                  <a:pt x="155" y="645"/>
                </a:lnTo>
                <a:lnTo>
                  <a:pt x="150" y="643"/>
                </a:lnTo>
                <a:lnTo>
                  <a:pt x="148" y="641"/>
                </a:lnTo>
                <a:lnTo>
                  <a:pt x="147" y="638"/>
                </a:lnTo>
                <a:lnTo>
                  <a:pt x="148" y="635"/>
                </a:lnTo>
                <a:lnTo>
                  <a:pt x="150" y="631"/>
                </a:lnTo>
                <a:lnTo>
                  <a:pt x="155" y="626"/>
                </a:lnTo>
                <a:lnTo>
                  <a:pt x="159" y="621"/>
                </a:lnTo>
                <a:lnTo>
                  <a:pt x="172" y="610"/>
                </a:lnTo>
                <a:lnTo>
                  <a:pt x="189" y="597"/>
                </a:lnTo>
                <a:lnTo>
                  <a:pt x="204" y="584"/>
                </a:lnTo>
                <a:lnTo>
                  <a:pt x="219" y="571"/>
                </a:lnTo>
                <a:lnTo>
                  <a:pt x="226" y="565"/>
                </a:lnTo>
                <a:lnTo>
                  <a:pt x="231" y="559"/>
                </a:lnTo>
                <a:lnTo>
                  <a:pt x="237" y="553"/>
                </a:lnTo>
                <a:lnTo>
                  <a:pt x="240" y="547"/>
                </a:lnTo>
                <a:lnTo>
                  <a:pt x="223" y="550"/>
                </a:lnTo>
                <a:lnTo>
                  <a:pt x="207" y="556"/>
                </a:lnTo>
                <a:lnTo>
                  <a:pt x="191" y="562"/>
                </a:lnTo>
                <a:lnTo>
                  <a:pt x="175" y="568"/>
                </a:lnTo>
                <a:lnTo>
                  <a:pt x="168" y="571"/>
                </a:lnTo>
                <a:lnTo>
                  <a:pt x="160" y="573"/>
                </a:lnTo>
                <a:lnTo>
                  <a:pt x="152" y="575"/>
                </a:lnTo>
                <a:lnTo>
                  <a:pt x="144" y="576"/>
                </a:lnTo>
                <a:lnTo>
                  <a:pt x="135" y="576"/>
                </a:lnTo>
                <a:lnTo>
                  <a:pt x="126" y="575"/>
                </a:lnTo>
                <a:lnTo>
                  <a:pt x="116" y="574"/>
                </a:lnTo>
                <a:lnTo>
                  <a:pt x="107" y="571"/>
                </a:lnTo>
                <a:lnTo>
                  <a:pt x="107" y="565"/>
                </a:lnTo>
                <a:lnTo>
                  <a:pt x="143" y="536"/>
                </a:lnTo>
                <a:lnTo>
                  <a:pt x="182" y="508"/>
                </a:lnTo>
                <a:lnTo>
                  <a:pt x="223" y="476"/>
                </a:lnTo>
                <a:lnTo>
                  <a:pt x="267" y="442"/>
                </a:lnTo>
                <a:lnTo>
                  <a:pt x="286" y="426"/>
                </a:lnTo>
                <a:lnTo>
                  <a:pt x="306" y="411"/>
                </a:lnTo>
                <a:lnTo>
                  <a:pt x="326" y="395"/>
                </a:lnTo>
                <a:lnTo>
                  <a:pt x="346" y="380"/>
                </a:lnTo>
                <a:lnTo>
                  <a:pt x="386" y="411"/>
                </a:lnTo>
                <a:lnTo>
                  <a:pt x="393" y="405"/>
                </a:lnTo>
                <a:lnTo>
                  <a:pt x="399" y="400"/>
                </a:lnTo>
                <a:lnTo>
                  <a:pt x="406" y="396"/>
                </a:lnTo>
                <a:lnTo>
                  <a:pt x="414" y="393"/>
                </a:lnTo>
                <a:lnTo>
                  <a:pt x="428" y="386"/>
                </a:lnTo>
                <a:lnTo>
                  <a:pt x="444" y="382"/>
                </a:lnTo>
                <a:lnTo>
                  <a:pt x="476" y="374"/>
                </a:lnTo>
                <a:lnTo>
                  <a:pt x="509" y="370"/>
                </a:lnTo>
                <a:lnTo>
                  <a:pt x="524" y="367"/>
                </a:lnTo>
                <a:lnTo>
                  <a:pt x="539" y="363"/>
                </a:lnTo>
                <a:lnTo>
                  <a:pt x="552" y="359"/>
                </a:lnTo>
                <a:lnTo>
                  <a:pt x="563" y="353"/>
                </a:lnTo>
                <a:lnTo>
                  <a:pt x="569" y="349"/>
                </a:lnTo>
                <a:lnTo>
                  <a:pt x="574" y="345"/>
                </a:lnTo>
                <a:lnTo>
                  <a:pt x="578" y="340"/>
                </a:lnTo>
                <a:lnTo>
                  <a:pt x="582" y="335"/>
                </a:lnTo>
                <a:lnTo>
                  <a:pt x="585" y="329"/>
                </a:lnTo>
                <a:lnTo>
                  <a:pt x="588" y="322"/>
                </a:lnTo>
                <a:lnTo>
                  <a:pt x="590" y="314"/>
                </a:lnTo>
                <a:lnTo>
                  <a:pt x="592" y="306"/>
                </a:lnTo>
                <a:lnTo>
                  <a:pt x="559" y="306"/>
                </a:lnTo>
                <a:lnTo>
                  <a:pt x="548" y="312"/>
                </a:lnTo>
                <a:lnTo>
                  <a:pt x="535" y="321"/>
                </a:lnTo>
                <a:lnTo>
                  <a:pt x="528" y="325"/>
                </a:lnTo>
                <a:lnTo>
                  <a:pt x="520" y="328"/>
                </a:lnTo>
                <a:lnTo>
                  <a:pt x="513" y="330"/>
                </a:lnTo>
                <a:lnTo>
                  <a:pt x="506" y="331"/>
                </a:lnTo>
                <a:lnTo>
                  <a:pt x="495" y="330"/>
                </a:lnTo>
                <a:lnTo>
                  <a:pt x="485" y="327"/>
                </a:lnTo>
                <a:lnTo>
                  <a:pt x="474" y="324"/>
                </a:lnTo>
                <a:lnTo>
                  <a:pt x="463" y="321"/>
                </a:lnTo>
                <a:lnTo>
                  <a:pt x="453" y="318"/>
                </a:lnTo>
                <a:lnTo>
                  <a:pt x="443" y="317"/>
                </a:lnTo>
                <a:lnTo>
                  <a:pt x="438" y="318"/>
                </a:lnTo>
                <a:lnTo>
                  <a:pt x="433" y="319"/>
                </a:lnTo>
                <a:lnTo>
                  <a:pt x="430" y="322"/>
                </a:lnTo>
                <a:lnTo>
                  <a:pt x="426" y="325"/>
                </a:lnTo>
                <a:lnTo>
                  <a:pt x="432" y="316"/>
                </a:lnTo>
                <a:lnTo>
                  <a:pt x="443" y="307"/>
                </a:lnTo>
                <a:lnTo>
                  <a:pt x="457" y="297"/>
                </a:lnTo>
                <a:lnTo>
                  <a:pt x="472" y="287"/>
                </a:lnTo>
                <a:lnTo>
                  <a:pt x="506" y="265"/>
                </a:lnTo>
                <a:lnTo>
                  <a:pt x="539" y="244"/>
                </a:lnTo>
                <a:lnTo>
                  <a:pt x="698" y="250"/>
                </a:lnTo>
                <a:lnTo>
                  <a:pt x="701" y="246"/>
                </a:lnTo>
                <a:lnTo>
                  <a:pt x="704" y="243"/>
                </a:lnTo>
                <a:lnTo>
                  <a:pt x="708" y="240"/>
                </a:lnTo>
                <a:lnTo>
                  <a:pt x="711" y="238"/>
                </a:lnTo>
                <a:lnTo>
                  <a:pt x="719" y="236"/>
                </a:lnTo>
                <a:lnTo>
                  <a:pt x="728" y="234"/>
                </a:lnTo>
                <a:lnTo>
                  <a:pt x="745" y="234"/>
                </a:lnTo>
                <a:lnTo>
                  <a:pt x="758" y="232"/>
                </a:lnTo>
                <a:lnTo>
                  <a:pt x="756" y="224"/>
                </a:lnTo>
                <a:lnTo>
                  <a:pt x="753" y="216"/>
                </a:lnTo>
                <a:lnTo>
                  <a:pt x="749" y="210"/>
                </a:lnTo>
                <a:lnTo>
                  <a:pt x="742" y="204"/>
                </a:lnTo>
                <a:lnTo>
                  <a:pt x="737" y="199"/>
                </a:lnTo>
                <a:lnTo>
                  <a:pt x="729" y="195"/>
                </a:lnTo>
                <a:lnTo>
                  <a:pt x="721" y="191"/>
                </a:lnTo>
                <a:lnTo>
                  <a:pt x="713" y="188"/>
                </a:lnTo>
                <a:lnTo>
                  <a:pt x="698" y="182"/>
                </a:lnTo>
                <a:lnTo>
                  <a:pt x="684" y="176"/>
                </a:lnTo>
                <a:lnTo>
                  <a:pt x="678" y="172"/>
                </a:lnTo>
                <a:lnTo>
                  <a:pt x="673" y="168"/>
                </a:lnTo>
                <a:lnTo>
                  <a:pt x="668" y="164"/>
                </a:lnTo>
                <a:lnTo>
                  <a:pt x="665" y="159"/>
                </a:lnTo>
                <a:lnTo>
                  <a:pt x="687" y="143"/>
                </a:lnTo>
                <a:lnTo>
                  <a:pt x="712" y="127"/>
                </a:lnTo>
                <a:lnTo>
                  <a:pt x="739" y="109"/>
                </a:lnTo>
                <a:lnTo>
                  <a:pt x="765" y="90"/>
                </a:lnTo>
                <a:lnTo>
                  <a:pt x="812" y="78"/>
                </a:lnTo>
                <a:lnTo>
                  <a:pt x="858" y="65"/>
                </a:lnTo>
                <a:lnTo>
                  <a:pt x="902" y="52"/>
                </a:lnTo>
                <a:lnTo>
                  <a:pt x="945" y="38"/>
                </a:lnTo>
                <a:lnTo>
                  <a:pt x="966" y="33"/>
                </a:lnTo>
                <a:lnTo>
                  <a:pt x="988" y="27"/>
                </a:lnTo>
                <a:lnTo>
                  <a:pt x="1010" y="22"/>
                </a:lnTo>
                <a:lnTo>
                  <a:pt x="1033" y="18"/>
                </a:lnTo>
                <a:lnTo>
                  <a:pt x="1056" y="15"/>
                </a:lnTo>
                <a:lnTo>
                  <a:pt x="1080" y="12"/>
                </a:lnTo>
                <a:lnTo>
                  <a:pt x="1104" y="11"/>
                </a:lnTo>
                <a:lnTo>
                  <a:pt x="1130" y="10"/>
                </a:lnTo>
                <a:lnTo>
                  <a:pt x="1157" y="9"/>
                </a:lnTo>
                <a:lnTo>
                  <a:pt x="1176" y="7"/>
                </a:lnTo>
                <a:lnTo>
                  <a:pt x="1192" y="5"/>
                </a:lnTo>
                <a:lnTo>
                  <a:pt x="1216" y="4"/>
                </a:lnTo>
                <a:lnTo>
                  <a:pt x="1241" y="3"/>
                </a:lnTo>
                <a:lnTo>
                  <a:pt x="1262" y="0"/>
                </a:lnTo>
                <a:lnTo>
                  <a:pt x="1270" y="0"/>
                </a:lnTo>
                <a:lnTo>
                  <a:pt x="1277" y="2"/>
                </a:lnTo>
                <a:lnTo>
                  <a:pt x="1280" y="3"/>
                </a:lnTo>
                <a:lnTo>
                  <a:pt x="1281" y="5"/>
                </a:lnTo>
                <a:lnTo>
                  <a:pt x="1282" y="7"/>
                </a:lnTo>
                <a:lnTo>
                  <a:pt x="1283" y="10"/>
                </a:lnTo>
                <a:lnTo>
                  <a:pt x="1306" y="10"/>
                </a:lnTo>
                <a:lnTo>
                  <a:pt x="1333" y="10"/>
                </a:lnTo>
                <a:lnTo>
                  <a:pt x="1354" y="10"/>
                </a:lnTo>
                <a:lnTo>
                  <a:pt x="1362" y="10"/>
                </a:lnTo>
                <a:lnTo>
                  <a:pt x="1380" y="11"/>
                </a:lnTo>
                <a:lnTo>
                  <a:pt x="1399" y="12"/>
                </a:lnTo>
                <a:lnTo>
                  <a:pt x="1417" y="15"/>
                </a:lnTo>
                <a:lnTo>
                  <a:pt x="1437" y="18"/>
                </a:lnTo>
                <a:lnTo>
                  <a:pt x="1475" y="26"/>
                </a:lnTo>
                <a:lnTo>
                  <a:pt x="1516" y="34"/>
                </a:lnTo>
                <a:lnTo>
                  <a:pt x="1557" y="44"/>
                </a:lnTo>
                <a:lnTo>
                  <a:pt x="1597" y="52"/>
                </a:lnTo>
                <a:lnTo>
                  <a:pt x="1617" y="55"/>
                </a:lnTo>
                <a:lnTo>
                  <a:pt x="1637" y="58"/>
                </a:lnTo>
                <a:lnTo>
                  <a:pt x="1656" y="59"/>
                </a:lnTo>
                <a:lnTo>
                  <a:pt x="1675" y="60"/>
                </a:lnTo>
                <a:lnTo>
                  <a:pt x="1761" y="41"/>
                </a:lnTo>
                <a:lnTo>
                  <a:pt x="1772" y="46"/>
                </a:lnTo>
                <a:lnTo>
                  <a:pt x="1784" y="51"/>
                </a:lnTo>
                <a:lnTo>
                  <a:pt x="1797" y="55"/>
                </a:lnTo>
                <a:lnTo>
                  <a:pt x="1808" y="60"/>
                </a:lnTo>
                <a:lnTo>
                  <a:pt x="1223" y="540"/>
                </a:lnTo>
                <a:lnTo>
                  <a:pt x="1258" y="540"/>
                </a:lnTo>
                <a:lnTo>
                  <a:pt x="1287" y="540"/>
                </a:lnTo>
                <a:lnTo>
                  <a:pt x="1309" y="540"/>
                </a:lnTo>
                <a:lnTo>
                  <a:pt x="1329" y="540"/>
                </a:lnTo>
                <a:lnTo>
                  <a:pt x="1328" y="547"/>
                </a:lnTo>
                <a:lnTo>
                  <a:pt x="1327" y="553"/>
                </a:lnTo>
                <a:lnTo>
                  <a:pt x="1325" y="559"/>
                </a:lnTo>
                <a:lnTo>
                  <a:pt x="1323" y="565"/>
                </a:lnTo>
                <a:lnTo>
                  <a:pt x="1321" y="571"/>
                </a:lnTo>
                <a:lnTo>
                  <a:pt x="1318" y="576"/>
                </a:lnTo>
                <a:lnTo>
                  <a:pt x="1316" y="583"/>
                </a:lnTo>
                <a:lnTo>
                  <a:pt x="1316" y="589"/>
                </a:lnTo>
                <a:lnTo>
                  <a:pt x="1317" y="592"/>
                </a:lnTo>
                <a:lnTo>
                  <a:pt x="1320" y="595"/>
                </a:lnTo>
                <a:lnTo>
                  <a:pt x="1323" y="599"/>
                </a:lnTo>
                <a:lnTo>
                  <a:pt x="1327" y="601"/>
                </a:lnTo>
                <a:lnTo>
                  <a:pt x="1336" y="606"/>
                </a:lnTo>
                <a:lnTo>
                  <a:pt x="1343" y="608"/>
                </a:lnTo>
                <a:lnTo>
                  <a:pt x="1351" y="608"/>
                </a:lnTo>
                <a:lnTo>
                  <a:pt x="1358" y="607"/>
                </a:lnTo>
                <a:lnTo>
                  <a:pt x="1365" y="605"/>
                </a:lnTo>
                <a:lnTo>
                  <a:pt x="1371" y="604"/>
                </a:lnTo>
                <a:lnTo>
                  <a:pt x="1382" y="599"/>
                </a:lnTo>
                <a:lnTo>
                  <a:pt x="1391" y="592"/>
                </a:lnTo>
                <a:lnTo>
                  <a:pt x="1400" y="587"/>
                </a:lnTo>
                <a:lnTo>
                  <a:pt x="1409" y="582"/>
                </a:lnTo>
                <a:lnTo>
                  <a:pt x="1413" y="580"/>
                </a:lnTo>
                <a:lnTo>
                  <a:pt x="1417" y="578"/>
                </a:lnTo>
                <a:lnTo>
                  <a:pt x="1423" y="577"/>
                </a:lnTo>
                <a:lnTo>
                  <a:pt x="1429" y="577"/>
                </a:lnTo>
                <a:lnTo>
                  <a:pt x="1441" y="596"/>
                </a:lnTo>
                <a:lnTo>
                  <a:pt x="1457" y="617"/>
                </a:lnTo>
                <a:lnTo>
                  <a:pt x="1465" y="629"/>
                </a:lnTo>
                <a:lnTo>
                  <a:pt x="1470" y="643"/>
                </a:lnTo>
                <a:lnTo>
                  <a:pt x="1472" y="650"/>
                </a:lnTo>
                <a:lnTo>
                  <a:pt x="1474" y="659"/>
                </a:lnTo>
                <a:lnTo>
                  <a:pt x="1475" y="667"/>
                </a:lnTo>
                <a:lnTo>
                  <a:pt x="1475" y="676"/>
                </a:lnTo>
                <a:lnTo>
                  <a:pt x="1475" y="681"/>
                </a:lnTo>
                <a:lnTo>
                  <a:pt x="1474" y="686"/>
                </a:lnTo>
                <a:lnTo>
                  <a:pt x="1473" y="690"/>
                </a:lnTo>
                <a:lnTo>
                  <a:pt x="1471" y="694"/>
                </a:lnTo>
                <a:lnTo>
                  <a:pt x="1467" y="700"/>
                </a:lnTo>
                <a:lnTo>
                  <a:pt x="1462" y="706"/>
                </a:lnTo>
                <a:lnTo>
                  <a:pt x="1457" y="713"/>
                </a:lnTo>
                <a:lnTo>
                  <a:pt x="1454" y="719"/>
                </a:lnTo>
                <a:lnTo>
                  <a:pt x="1451" y="723"/>
                </a:lnTo>
                <a:lnTo>
                  <a:pt x="1450" y="727"/>
                </a:lnTo>
                <a:lnTo>
                  <a:pt x="1449" y="732"/>
                </a:lnTo>
                <a:lnTo>
                  <a:pt x="1449" y="737"/>
                </a:lnTo>
                <a:lnTo>
                  <a:pt x="1449" y="742"/>
                </a:lnTo>
                <a:lnTo>
                  <a:pt x="1450" y="746"/>
                </a:lnTo>
                <a:lnTo>
                  <a:pt x="1452" y="750"/>
                </a:lnTo>
                <a:lnTo>
                  <a:pt x="1455" y="754"/>
                </a:lnTo>
                <a:lnTo>
                  <a:pt x="1459" y="761"/>
                </a:lnTo>
                <a:lnTo>
                  <a:pt x="1466" y="769"/>
                </a:lnTo>
                <a:lnTo>
                  <a:pt x="1471" y="775"/>
                </a:lnTo>
                <a:lnTo>
                  <a:pt x="1477" y="783"/>
                </a:lnTo>
                <a:lnTo>
                  <a:pt x="1479" y="786"/>
                </a:lnTo>
                <a:lnTo>
                  <a:pt x="1481" y="790"/>
                </a:lnTo>
                <a:lnTo>
                  <a:pt x="1482" y="794"/>
                </a:lnTo>
                <a:lnTo>
                  <a:pt x="1482" y="799"/>
                </a:lnTo>
                <a:lnTo>
                  <a:pt x="1482" y="802"/>
                </a:lnTo>
                <a:lnTo>
                  <a:pt x="1480" y="807"/>
                </a:lnTo>
                <a:lnTo>
                  <a:pt x="1477" y="811"/>
                </a:lnTo>
                <a:lnTo>
                  <a:pt x="1473" y="816"/>
                </a:lnTo>
                <a:lnTo>
                  <a:pt x="1463" y="826"/>
                </a:lnTo>
                <a:lnTo>
                  <a:pt x="1452" y="835"/>
                </a:lnTo>
                <a:lnTo>
                  <a:pt x="1446" y="839"/>
                </a:lnTo>
                <a:lnTo>
                  <a:pt x="1439" y="843"/>
                </a:lnTo>
                <a:lnTo>
                  <a:pt x="1433" y="846"/>
                </a:lnTo>
                <a:lnTo>
                  <a:pt x="1426" y="848"/>
                </a:lnTo>
                <a:lnTo>
                  <a:pt x="1419" y="850"/>
                </a:lnTo>
                <a:lnTo>
                  <a:pt x="1414" y="850"/>
                </a:lnTo>
                <a:lnTo>
                  <a:pt x="1407" y="850"/>
                </a:lnTo>
                <a:lnTo>
                  <a:pt x="1402" y="848"/>
                </a:lnTo>
                <a:lnTo>
                  <a:pt x="1410" y="84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054" name="Freeform 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662239" y="2111375"/>
            <a:ext cx="1381125" cy="769938"/>
          </a:xfrm>
          <a:custGeom>
            <a:avLst/>
            <a:gdLst>
              <a:gd name="T0" fmla="*/ 2928 w 3175"/>
              <a:gd name="T1" fmla="*/ 353 h 1472"/>
              <a:gd name="T2" fmla="*/ 2896 w 3175"/>
              <a:gd name="T3" fmla="*/ 440 h 1472"/>
              <a:gd name="T4" fmla="*/ 2843 w 3175"/>
              <a:gd name="T5" fmla="*/ 462 h 1472"/>
              <a:gd name="T6" fmla="*/ 2667 w 3175"/>
              <a:gd name="T7" fmla="*/ 566 h 1472"/>
              <a:gd name="T8" fmla="*/ 2595 w 3175"/>
              <a:gd name="T9" fmla="*/ 585 h 1472"/>
              <a:gd name="T10" fmla="*/ 2570 w 3175"/>
              <a:gd name="T11" fmla="*/ 677 h 1472"/>
              <a:gd name="T12" fmla="*/ 2514 w 3175"/>
              <a:gd name="T13" fmla="*/ 621 h 1472"/>
              <a:gd name="T14" fmla="*/ 2499 w 3175"/>
              <a:gd name="T15" fmla="*/ 690 h 1472"/>
              <a:gd name="T16" fmla="*/ 2465 w 3175"/>
              <a:gd name="T17" fmla="*/ 744 h 1472"/>
              <a:gd name="T18" fmla="*/ 2471 w 3175"/>
              <a:gd name="T19" fmla="*/ 823 h 1472"/>
              <a:gd name="T20" fmla="*/ 2332 w 3175"/>
              <a:gd name="T21" fmla="*/ 928 h 1472"/>
              <a:gd name="T22" fmla="*/ 2165 w 3175"/>
              <a:gd name="T23" fmla="*/ 1045 h 1472"/>
              <a:gd name="T24" fmla="*/ 2112 w 3175"/>
              <a:gd name="T25" fmla="*/ 1195 h 1472"/>
              <a:gd name="T26" fmla="*/ 2103 w 3175"/>
              <a:gd name="T27" fmla="*/ 1457 h 1472"/>
              <a:gd name="T28" fmla="*/ 2026 w 3175"/>
              <a:gd name="T29" fmla="*/ 1414 h 1472"/>
              <a:gd name="T30" fmla="*/ 1993 w 3175"/>
              <a:gd name="T31" fmla="*/ 1326 h 1472"/>
              <a:gd name="T32" fmla="*/ 1959 w 3175"/>
              <a:gd name="T33" fmla="*/ 1184 h 1472"/>
              <a:gd name="T34" fmla="*/ 1832 w 3175"/>
              <a:gd name="T35" fmla="*/ 1168 h 1472"/>
              <a:gd name="T36" fmla="*/ 1653 w 3175"/>
              <a:gd name="T37" fmla="*/ 1143 h 1472"/>
              <a:gd name="T38" fmla="*/ 1616 w 3175"/>
              <a:gd name="T39" fmla="*/ 1186 h 1472"/>
              <a:gd name="T40" fmla="*/ 1548 w 3175"/>
              <a:gd name="T41" fmla="*/ 1238 h 1472"/>
              <a:gd name="T42" fmla="*/ 1436 w 3175"/>
              <a:gd name="T43" fmla="*/ 1192 h 1472"/>
              <a:gd name="T44" fmla="*/ 1231 w 3175"/>
              <a:gd name="T45" fmla="*/ 1272 h 1472"/>
              <a:gd name="T46" fmla="*/ 1160 w 3175"/>
              <a:gd name="T47" fmla="*/ 1392 h 1472"/>
              <a:gd name="T48" fmla="*/ 1080 w 3175"/>
              <a:gd name="T49" fmla="*/ 1382 h 1472"/>
              <a:gd name="T50" fmla="*/ 1037 w 3175"/>
              <a:gd name="T51" fmla="*/ 1227 h 1472"/>
              <a:gd name="T52" fmla="*/ 940 w 3175"/>
              <a:gd name="T53" fmla="*/ 1190 h 1472"/>
              <a:gd name="T54" fmla="*/ 867 w 3175"/>
              <a:gd name="T55" fmla="*/ 1219 h 1472"/>
              <a:gd name="T56" fmla="*/ 782 w 3175"/>
              <a:gd name="T57" fmla="*/ 1087 h 1472"/>
              <a:gd name="T58" fmla="*/ 670 w 3175"/>
              <a:gd name="T59" fmla="*/ 1065 h 1472"/>
              <a:gd name="T60" fmla="*/ 462 w 3175"/>
              <a:gd name="T61" fmla="*/ 1065 h 1472"/>
              <a:gd name="T62" fmla="*/ 220 w 3175"/>
              <a:gd name="T63" fmla="*/ 1016 h 1472"/>
              <a:gd name="T64" fmla="*/ 88 w 3175"/>
              <a:gd name="T65" fmla="*/ 920 h 1472"/>
              <a:gd name="T66" fmla="*/ 39 w 3175"/>
              <a:gd name="T67" fmla="*/ 848 h 1472"/>
              <a:gd name="T68" fmla="*/ 29 w 3175"/>
              <a:gd name="T69" fmla="*/ 662 h 1472"/>
              <a:gd name="T70" fmla="*/ 0 w 3175"/>
              <a:gd name="T71" fmla="*/ 604 h 1472"/>
              <a:gd name="T72" fmla="*/ 141 w 3175"/>
              <a:gd name="T73" fmla="*/ 336 h 1472"/>
              <a:gd name="T74" fmla="*/ 247 w 3175"/>
              <a:gd name="T75" fmla="*/ 176 h 1472"/>
              <a:gd name="T76" fmla="*/ 355 w 3175"/>
              <a:gd name="T77" fmla="*/ 102 h 1472"/>
              <a:gd name="T78" fmla="*/ 376 w 3175"/>
              <a:gd name="T79" fmla="*/ 120 h 1472"/>
              <a:gd name="T80" fmla="*/ 1827 w 3175"/>
              <a:gd name="T81" fmla="*/ 0 h 1472"/>
              <a:gd name="T82" fmla="*/ 1926 w 3175"/>
              <a:gd name="T83" fmla="*/ 55 h 1472"/>
              <a:gd name="T84" fmla="*/ 2015 w 3175"/>
              <a:gd name="T85" fmla="*/ 69 h 1472"/>
              <a:gd name="T86" fmla="*/ 1929 w 3175"/>
              <a:gd name="T87" fmla="*/ 128 h 1472"/>
              <a:gd name="T88" fmla="*/ 1977 w 3175"/>
              <a:gd name="T89" fmla="*/ 166 h 1472"/>
              <a:gd name="T90" fmla="*/ 2094 w 3175"/>
              <a:gd name="T91" fmla="*/ 155 h 1472"/>
              <a:gd name="T92" fmla="*/ 2284 w 3175"/>
              <a:gd name="T93" fmla="*/ 193 h 1472"/>
              <a:gd name="T94" fmla="*/ 2217 w 3175"/>
              <a:gd name="T95" fmla="*/ 204 h 1472"/>
              <a:gd name="T96" fmla="*/ 2087 w 3175"/>
              <a:gd name="T97" fmla="*/ 264 h 1472"/>
              <a:gd name="T98" fmla="*/ 2021 w 3175"/>
              <a:gd name="T99" fmla="*/ 355 h 1472"/>
              <a:gd name="T100" fmla="*/ 2012 w 3175"/>
              <a:gd name="T101" fmla="*/ 451 h 1472"/>
              <a:gd name="T102" fmla="*/ 2076 w 3175"/>
              <a:gd name="T103" fmla="*/ 417 h 1472"/>
              <a:gd name="T104" fmla="*/ 2205 w 3175"/>
              <a:gd name="T105" fmla="*/ 252 h 1472"/>
              <a:gd name="T106" fmla="*/ 2267 w 3175"/>
              <a:gd name="T107" fmla="*/ 303 h 1472"/>
              <a:gd name="T108" fmla="*/ 2299 w 3175"/>
              <a:gd name="T109" fmla="*/ 394 h 1472"/>
              <a:gd name="T110" fmla="*/ 2206 w 3175"/>
              <a:gd name="T111" fmla="*/ 454 h 1472"/>
              <a:gd name="T112" fmla="*/ 2317 w 3175"/>
              <a:gd name="T113" fmla="*/ 457 h 1472"/>
              <a:gd name="T114" fmla="*/ 2570 w 3175"/>
              <a:gd name="T115" fmla="*/ 373 h 1472"/>
              <a:gd name="T116" fmla="*/ 2730 w 3175"/>
              <a:gd name="T117" fmla="*/ 252 h 1472"/>
              <a:gd name="T118" fmla="*/ 3016 w 3175"/>
              <a:gd name="T119" fmla="*/ 203 h 1472"/>
              <a:gd name="T120" fmla="*/ 3136 w 3175"/>
              <a:gd name="T121" fmla="*/ 118 h 1472"/>
              <a:gd name="T122" fmla="*/ 3149 w 3175"/>
              <a:gd name="T123" fmla="*/ 184 h 14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175" h="1472">
                <a:moveTo>
                  <a:pt x="3155" y="258"/>
                </a:moveTo>
                <a:lnTo>
                  <a:pt x="3129" y="270"/>
                </a:lnTo>
                <a:lnTo>
                  <a:pt x="3104" y="281"/>
                </a:lnTo>
                <a:lnTo>
                  <a:pt x="3079" y="291"/>
                </a:lnTo>
                <a:lnTo>
                  <a:pt x="3055" y="300"/>
                </a:lnTo>
                <a:lnTo>
                  <a:pt x="3032" y="309"/>
                </a:lnTo>
                <a:lnTo>
                  <a:pt x="3008" y="317"/>
                </a:lnTo>
                <a:lnTo>
                  <a:pt x="2983" y="326"/>
                </a:lnTo>
                <a:lnTo>
                  <a:pt x="2956" y="333"/>
                </a:lnTo>
                <a:lnTo>
                  <a:pt x="2948" y="337"/>
                </a:lnTo>
                <a:lnTo>
                  <a:pt x="2940" y="341"/>
                </a:lnTo>
                <a:lnTo>
                  <a:pt x="2933" y="347"/>
                </a:lnTo>
                <a:lnTo>
                  <a:pt x="2928" y="353"/>
                </a:lnTo>
                <a:lnTo>
                  <a:pt x="2917" y="366"/>
                </a:lnTo>
                <a:lnTo>
                  <a:pt x="2909" y="382"/>
                </a:lnTo>
                <a:lnTo>
                  <a:pt x="2900" y="397"/>
                </a:lnTo>
                <a:lnTo>
                  <a:pt x="2894" y="410"/>
                </a:lnTo>
                <a:lnTo>
                  <a:pt x="2889" y="416"/>
                </a:lnTo>
                <a:lnTo>
                  <a:pt x="2885" y="422"/>
                </a:lnTo>
                <a:lnTo>
                  <a:pt x="2881" y="427"/>
                </a:lnTo>
                <a:lnTo>
                  <a:pt x="2876" y="431"/>
                </a:lnTo>
                <a:lnTo>
                  <a:pt x="2876" y="436"/>
                </a:lnTo>
                <a:lnTo>
                  <a:pt x="2877" y="440"/>
                </a:lnTo>
                <a:lnTo>
                  <a:pt x="2880" y="445"/>
                </a:lnTo>
                <a:lnTo>
                  <a:pt x="2883" y="450"/>
                </a:lnTo>
                <a:lnTo>
                  <a:pt x="2896" y="440"/>
                </a:lnTo>
                <a:lnTo>
                  <a:pt x="2909" y="431"/>
                </a:lnTo>
                <a:lnTo>
                  <a:pt x="2910" y="438"/>
                </a:lnTo>
                <a:lnTo>
                  <a:pt x="2910" y="443"/>
                </a:lnTo>
                <a:lnTo>
                  <a:pt x="2909" y="448"/>
                </a:lnTo>
                <a:lnTo>
                  <a:pt x="2907" y="451"/>
                </a:lnTo>
                <a:lnTo>
                  <a:pt x="2905" y="455"/>
                </a:lnTo>
                <a:lnTo>
                  <a:pt x="2902" y="457"/>
                </a:lnTo>
                <a:lnTo>
                  <a:pt x="2898" y="459"/>
                </a:lnTo>
                <a:lnTo>
                  <a:pt x="2894" y="460"/>
                </a:lnTo>
                <a:lnTo>
                  <a:pt x="2883" y="462"/>
                </a:lnTo>
                <a:lnTo>
                  <a:pt x="2871" y="462"/>
                </a:lnTo>
                <a:lnTo>
                  <a:pt x="2858" y="462"/>
                </a:lnTo>
                <a:lnTo>
                  <a:pt x="2843" y="462"/>
                </a:lnTo>
                <a:lnTo>
                  <a:pt x="2820" y="463"/>
                </a:lnTo>
                <a:lnTo>
                  <a:pt x="2796" y="466"/>
                </a:lnTo>
                <a:lnTo>
                  <a:pt x="2773" y="470"/>
                </a:lnTo>
                <a:lnTo>
                  <a:pt x="2750" y="476"/>
                </a:lnTo>
                <a:lnTo>
                  <a:pt x="2728" y="483"/>
                </a:lnTo>
                <a:lnTo>
                  <a:pt x="2708" y="491"/>
                </a:lnTo>
                <a:lnTo>
                  <a:pt x="2691" y="498"/>
                </a:lnTo>
                <a:lnTo>
                  <a:pt x="2678" y="505"/>
                </a:lnTo>
                <a:lnTo>
                  <a:pt x="2678" y="542"/>
                </a:lnTo>
                <a:lnTo>
                  <a:pt x="2675" y="549"/>
                </a:lnTo>
                <a:lnTo>
                  <a:pt x="2673" y="555"/>
                </a:lnTo>
                <a:lnTo>
                  <a:pt x="2670" y="561"/>
                </a:lnTo>
                <a:lnTo>
                  <a:pt x="2667" y="566"/>
                </a:lnTo>
                <a:lnTo>
                  <a:pt x="2658" y="575"/>
                </a:lnTo>
                <a:lnTo>
                  <a:pt x="2649" y="584"/>
                </a:lnTo>
                <a:lnTo>
                  <a:pt x="2639" y="592"/>
                </a:lnTo>
                <a:lnTo>
                  <a:pt x="2628" y="602"/>
                </a:lnTo>
                <a:lnTo>
                  <a:pt x="2619" y="611"/>
                </a:lnTo>
                <a:lnTo>
                  <a:pt x="2611" y="622"/>
                </a:lnTo>
                <a:lnTo>
                  <a:pt x="2611" y="613"/>
                </a:lnTo>
                <a:lnTo>
                  <a:pt x="2611" y="604"/>
                </a:lnTo>
                <a:lnTo>
                  <a:pt x="2606" y="603"/>
                </a:lnTo>
                <a:lnTo>
                  <a:pt x="2602" y="600"/>
                </a:lnTo>
                <a:lnTo>
                  <a:pt x="2598" y="595"/>
                </a:lnTo>
                <a:lnTo>
                  <a:pt x="2596" y="590"/>
                </a:lnTo>
                <a:lnTo>
                  <a:pt x="2595" y="585"/>
                </a:lnTo>
                <a:lnTo>
                  <a:pt x="2595" y="580"/>
                </a:lnTo>
                <a:lnTo>
                  <a:pt x="2595" y="576"/>
                </a:lnTo>
                <a:lnTo>
                  <a:pt x="2597" y="573"/>
                </a:lnTo>
                <a:lnTo>
                  <a:pt x="2578" y="573"/>
                </a:lnTo>
                <a:lnTo>
                  <a:pt x="2575" y="587"/>
                </a:lnTo>
                <a:lnTo>
                  <a:pt x="2574" y="600"/>
                </a:lnTo>
                <a:lnTo>
                  <a:pt x="2574" y="610"/>
                </a:lnTo>
                <a:lnTo>
                  <a:pt x="2574" y="619"/>
                </a:lnTo>
                <a:lnTo>
                  <a:pt x="2577" y="633"/>
                </a:lnTo>
                <a:lnTo>
                  <a:pt x="2578" y="646"/>
                </a:lnTo>
                <a:lnTo>
                  <a:pt x="2577" y="658"/>
                </a:lnTo>
                <a:lnTo>
                  <a:pt x="2574" y="668"/>
                </a:lnTo>
                <a:lnTo>
                  <a:pt x="2570" y="677"/>
                </a:lnTo>
                <a:lnTo>
                  <a:pt x="2564" y="685"/>
                </a:lnTo>
                <a:lnTo>
                  <a:pt x="2559" y="693"/>
                </a:lnTo>
                <a:lnTo>
                  <a:pt x="2552" y="700"/>
                </a:lnTo>
                <a:lnTo>
                  <a:pt x="2545" y="707"/>
                </a:lnTo>
                <a:lnTo>
                  <a:pt x="2537" y="715"/>
                </a:lnTo>
                <a:lnTo>
                  <a:pt x="2538" y="684"/>
                </a:lnTo>
                <a:lnTo>
                  <a:pt x="2538" y="657"/>
                </a:lnTo>
                <a:lnTo>
                  <a:pt x="2540" y="630"/>
                </a:lnTo>
                <a:lnTo>
                  <a:pt x="2544" y="604"/>
                </a:lnTo>
                <a:lnTo>
                  <a:pt x="2535" y="607"/>
                </a:lnTo>
                <a:lnTo>
                  <a:pt x="2527" y="611"/>
                </a:lnTo>
                <a:lnTo>
                  <a:pt x="2519" y="615"/>
                </a:lnTo>
                <a:lnTo>
                  <a:pt x="2514" y="621"/>
                </a:lnTo>
                <a:lnTo>
                  <a:pt x="2510" y="628"/>
                </a:lnTo>
                <a:lnTo>
                  <a:pt x="2506" y="635"/>
                </a:lnTo>
                <a:lnTo>
                  <a:pt x="2505" y="643"/>
                </a:lnTo>
                <a:lnTo>
                  <a:pt x="2504" y="653"/>
                </a:lnTo>
                <a:lnTo>
                  <a:pt x="2491" y="653"/>
                </a:lnTo>
                <a:lnTo>
                  <a:pt x="2478" y="653"/>
                </a:lnTo>
                <a:lnTo>
                  <a:pt x="2478" y="658"/>
                </a:lnTo>
                <a:lnTo>
                  <a:pt x="2479" y="662"/>
                </a:lnTo>
                <a:lnTo>
                  <a:pt x="2480" y="666"/>
                </a:lnTo>
                <a:lnTo>
                  <a:pt x="2482" y="670"/>
                </a:lnTo>
                <a:lnTo>
                  <a:pt x="2486" y="678"/>
                </a:lnTo>
                <a:lnTo>
                  <a:pt x="2493" y="684"/>
                </a:lnTo>
                <a:lnTo>
                  <a:pt x="2499" y="690"/>
                </a:lnTo>
                <a:lnTo>
                  <a:pt x="2505" y="695"/>
                </a:lnTo>
                <a:lnTo>
                  <a:pt x="2512" y="699"/>
                </a:lnTo>
                <a:lnTo>
                  <a:pt x="2517" y="702"/>
                </a:lnTo>
                <a:lnTo>
                  <a:pt x="2517" y="727"/>
                </a:lnTo>
                <a:lnTo>
                  <a:pt x="2496" y="730"/>
                </a:lnTo>
                <a:lnTo>
                  <a:pt x="2479" y="730"/>
                </a:lnTo>
                <a:lnTo>
                  <a:pt x="2472" y="730"/>
                </a:lnTo>
                <a:lnTo>
                  <a:pt x="2466" y="730"/>
                </a:lnTo>
                <a:lnTo>
                  <a:pt x="2458" y="731"/>
                </a:lnTo>
                <a:lnTo>
                  <a:pt x="2451" y="733"/>
                </a:lnTo>
                <a:lnTo>
                  <a:pt x="2455" y="737"/>
                </a:lnTo>
                <a:lnTo>
                  <a:pt x="2459" y="741"/>
                </a:lnTo>
                <a:lnTo>
                  <a:pt x="2465" y="744"/>
                </a:lnTo>
                <a:lnTo>
                  <a:pt x="2471" y="747"/>
                </a:lnTo>
                <a:lnTo>
                  <a:pt x="2483" y="750"/>
                </a:lnTo>
                <a:lnTo>
                  <a:pt x="2491" y="751"/>
                </a:lnTo>
                <a:lnTo>
                  <a:pt x="2492" y="756"/>
                </a:lnTo>
                <a:lnTo>
                  <a:pt x="2493" y="760"/>
                </a:lnTo>
                <a:lnTo>
                  <a:pt x="2495" y="765"/>
                </a:lnTo>
                <a:lnTo>
                  <a:pt x="2499" y="769"/>
                </a:lnTo>
                <a:lnTo>
                  <a:pt x="2505" y="777"/>
                </a:lnTo>
                <a:lnTo>
                  <a:pt x="2511" y="782"/>
                </a:lnTo>
                <a:lnTo>
                  <a:pt x="2500" y="792"/>
                </a:lnTo>
                <a:lnTo>
                  <a:pt x="2489" y="802"/>
                </a:lnTo>
                <a:lnTo>
                  <a:pt x="2480" y="812"/>
                </a:lnTo>
                <a:lnTo>
                  <a:pt x="2471" y="823"/>
                </a:lnTo>
                <a:lnTo>
                  <a:pt x="2456" y="841"/>
                </a:lnTo>
                <a:lnTo>
                  <a:pt x="2441" y="859"/>
                </a:lnTo>
                <a:lnTo>
                  <a:pt x="2434" y="867"/>
                </a:lnTo>
                <a:lnTo>
                  <a:pt x="2425" y="876"/>
                </a:lnTo>
                <a:lnTo>
                  <a:pt x="2416" y="884"/>
                </a:lnTo>
                <a:lnTo>
                  <a:pt x="2406" y="892"/>
                </a:lnTo>
                <a:lnTo>
                  <a:pt x="2395" y="899"/>
                </a:lnTo>
                <a:lnTo>
                  <a:pt x="2382" y="905"/>
                </a:lnTo>
                <a:lnTo>
                  <a:pt x="2368" y="912"/>
                </a:lnTo>
                <a:lnTo>
                  <a:pt x="2351" y="917"/>
                </a:lnTo>
                <a:lnTo>
                  <a:pt x="2346" y="919"/>
                </a:lnTo>
                <a:lnTo>
                  <a:pt x="2339" y="923"/>
                </a:lnTo>
                <a:lnTo>
                  <a:pt x="2332" y="928"/>
                </a:lnTo>
                <a:lnTo>
                  <a:pt x="2324" y="935"/>
                </a:lnTo>
                <a:lnTo>
                  <a:pt x="2307" y="950"/>
                </a:lnTo>
                <a:lnTo>
                  <a:pt x="2289" y="967"/>
                </a:lnTo>
                <a:lnTo>
                  <a:pt x="2271" y="984"/>
                </a:lnTo>
                <a:lnTo>
                  <a:pt x="2255" y="999"/>
                </a:lnTo>
                <a:lnTo>
                  <a:pt x="2248" y="1006"/>
                </a:lnTo>
                <a:lnTo>
                  <a:pt x="2242" y="1011"/>
                </a:lnTo>
                <a:lnTo>
                  <a:pt x="2236" y="1014"/>
                </a:lnTo>
                <a:lnTo>
                  <a:pt x="2232" y="1016"/>
                </a:lnTo>
                <a:lnTo>
                  <a:pt x="2208" y="1025"/>
                </a:lnTo>
                <a:lnTo>
                  <a:pt x="2186" y="1034"/>
                </a:lnTo>
                <a:lnTo>
                  <a:pt x="2175" y="1039"/>
                </a:lnTo>
                <a:lnTo>
                  <a:pt x="2165" y="1045"/>
                </a:lnTo>
                <a:lnTo>
                  <a:pt x="2156" y="1051"/>
                </a:lnTo>
                <a:lnTo>
                  <a:pt x="2147" y="1057"/>
                </a:lnTo>
                <a:lnTo>
                  <a:pt x="2140" y="1064"/>
                </a:lnTo>
                <a:lnTo>
                  <a:pt x="2133" y="1072"/>
                </a:lnTo>
                <a:lnTo>
                  <a:pt x="2126" y="1080"/>
                </a:lnTo>
                <a:lnTo>
                  <a:pt x="2122" y="1090"/>
                </a:lnTo>
                <a:lnTo>
                  <a:pt x="2118" y="1101"/>
                </a:lnTo>
                <a:lnTo>
                  <a:pt x="2114" y="1113"/>
                </a:lnTo>
                <a:lnTo>
                  <a:pt x="2113" y="1125"/>
                </a:lnTo>
                <a:lnTo>
                  <a:pt x="2112" y="1139"/>
                </a:lnTo>
                <a:lnTo>
                  <a:pt x="2112" y="1151"/>
                </a:lnTo>
                <a:lnTo>
                  <a:pt x="2112" y="1174"/>
                </a:lnTo>
                <a:lnTo>
                  <a:pt x="2112" y="1195"/>
                </a:lnTo>
                <a:lnTo>
                  <a:pt x="2112" y="1207"/>
                </a:lnTo>
                <a:lnTo>
                  <a:pt x="2114" y="1223"/>
                </a:lnTo>
                <a:lnTo>
                  <a:pt x="2118" y="1240"/>
                </a:lnTo>
                <a:lnTo>
                  <a:pt x="2120" y="1249"/>
                </a:lnTo>
                <a:lnTo>
                  <a:pt x="2121" y="1259"/>
                </a:lnTo>
                <a:lnTo>
                  <a:pt x="2121" y="1270"/>
                </a:lnTo>
                <a:lnTo>
                  <a:pt x="2119" y="1281"/>
                </a:lnTo>
                <a:lnTo>
                  <a:pt x="2132" y="1343"/>
                </a:lnTo>
                <a:lnTo>
                  <a:pt x="2126" y="1379"/>
                </a:lnTo>
                <a:lnTo>
                  <a:pt x="2118" y="1417"/>
                </a:lnTo>
                <a:lnTo>
                  <a:pt x="2112" y="1435"/>
                </a:lnTo>
                <a:lnTo>
                  <a:pt x="2105" y="1450"/>
                </a:lnTo>
                <a:lnTo>
                  <a:pt x="2103" y="1457"/>
                </a:lnTo>
                <a:lnTo>
                  <a:pt x="2100" y="1463"/>
                </a:lnTo>
                <a:lnTo>
                  <a:pt x="2096" y="1468"/>
                </a:lnTo>
                <a:lnTo>
                  <a:pt x="2092" y="1472"/>
                </a:lnTo>
                <a:lnTo>
                  <a:pt x="2059" y="1472"/>
                </a:lnTo>
                <a:lnTo>
                  <a:pt x="2058" y="1464"/>
                </a:lnTo>
                <a:lnTo>
                  <a:pt x="2057" y="1456"/>
                </a:lnTo>
                <a:lnTo>
                  <a:pt x="2055" y="1450"/>
                </a:lnTo>
                <a:lnTo>
                  <a:pt x="2053" y="1445"/>
                </a:lnTo>
                <a:lnTo>
                  <a:pt x="2047" y="1437"/>
                </a:lnTo>
                <a:lnTo>
                  <a:pt x="2040" y="1430"/>
                </a:lnTo>
                <a:lnTo>
                  <a:pt x="2033" y="1425"/>
                </a:lnTo>
                <a:lnTo>
                  <a:pt x="2029" y="1418"/>
                </a:lnTo>
                <a:lnTo>
                  <a:pt x="2026" y="1414"/>
                </a:lnTo>
                <a:lnTo>
                  <a:pt x="2025" y="1410"/>
                </a:lnTo>
                <a:lnTo>
                  <a:pt x="2025" y="1405"/>
                </a:lnTo>
                <a:lnTo>
                  <a:pt x="2026" y="1398"/>
                </a:lnTo>
                <a:lnTo>
                  <a:pt x="2026" y="1373"/>
                </a:lnTo>
                <a:lnTo>
                  <a:pt x="2022" y="1373"/>
                </a:lnTo>
                <a:lnTo>
                  <a:pt x="2019" y="1372"/>
                </a:lnTo>
                <a:lnTo>
                  <a:pt x="2015" y="1370"/>
                </a:lnTo>
                <a:lnTo>
                  <a:pt x="2012" y="1367"/>
                </a:lnTo>
                <a:lnTo>
                  <a:pt x="2007" y="1361"/>
                </a:lnTo>
                <a:lnTo>
                  <a:pt x="2002" y="1353"/>
                </a:lnTo>
                <a:lnTo>
                  <a:pt x="1998" y="1344"/>
                </a:lnTo>
                <a:lnTo>
                  <a:pt x="1995" y="1335"/>
                </a:lnTo>
                <a:lnTo>
                  <a:pt x="1993" y="1326"/>
                </a:lnTo>
                <a:lnTo>
                  <a:pt x="1992" y="1318"/>
                </a:lnTo>
                <a:lnTo>
                  <a:pt x="1992" y="1298"/>
                </a:lnTo>
                <a:lnTo>
                  <a:pt x="1992" y="1281"/>
                </a:lnTo>
                <a:lnTo>
                  <a:pt x="1992" y="1265"/>
                </a:lnTo>
                <a:lnTo>
                  <a:pt x="1992" y="1244"/>
                </a:lnTo>
                <a:lnTo>
                  <a:pt x="1991" y="1234"/>
                </a:lnTo>
                <a:lnTo>
                  <a:pt x="1989" y="1224"/>
                </a:lnTo>
                <a:lnTo>
                  <a:pt x="1985" y="1212"/>
                </a:lnTo>
                <a:lnTo>
                  <a:pt x="1978" y="1201"/>
                </a:lnTo>
                <a:lnTo>
                  <a:pt x="1974" y="1196"/>
                </a:lnTo>
                <a:lnTo>
                  <a:pt x="1969" y="1191"/>
                </a:lnTo>
                <a:lnTo>
                  <a:pt x="1964" y="1187"/>
                </a:lnTo>
                <a:lnTo>
                  <a:pt x="1959" y="1184"/>
                </a:lnTo>
                <a:lnTo>
                  <a:pt x="1953" y="1181"/>
                </a:lnTo>
                <a:lnTo>
                  <a:pt x="1947" y="1178"/>
                </a:lnTo>
                <a:lnTo>
                  <a:pt x="1940" y="1177"/>
                </a:lnTo>
                <a:lnTo>
                  <a:pt x="1933" y="1177"/>
                </a:lnTo>
                <a:lnTo>
                  <a:pt x="1918" y="1177"/>
                </a:lnTo>
                <a:lnTo>
                  <a:pt x="1906" y="1177"/>
                </a:lnTo>
                <a:lnTo>
                  <a:pt x="1897" y="1177"/>
                </a:lnTo>
                <a:lnTo>
                  <a:pt x="1894" y="1177"/>
                </a:lnTo>
                <a:lnTo>
                  <a:pt x="1880" y="1176"/>
                </a:lnTo>
                <a:lnTo>
                  <a:pt x="1869" y="1175"/>
                </a:lnTo>
                <a:lnTo>
                  <a:pt x="1857" y="1173"/>
                </a:lnTo>
                <a:lnTo>
                  <a:pt x="1845" y="1171"/>
                </a:lnTo>
                <a:lnTo>
                  <a:pt x="1832" y="1168"/>
                </a:lnTo>
                <a:lnTo>
                  <a:pt x="1818" y="1166"/>
                </a:lnTo>
                <a:lnTo>
                  <a:pt x="1804" y="1165"/>
                </a:lnTo>
                <a:lnTo>
                  <a:pt x="1787" y="1164"/>
                </a:lnTo>
                <a:lnTo>
                  <a:pt x="1773" y="1164"/>
                </a:lnTo>
                <a:lnTo>
                  <a:pt x="1762" y="1162"/>
                </a:lnTo>
                <a:lnTo>
                  <a:pt x="1753" y="1159"/>
                </a:lnTo>
                <a:lnTo>
                  <a:pt x="1745" y="1155"/>
                </a:lnTo>
                <a:lnTo>
                  <a:pt x="1738" y="1151"/>
                </a:lnTo>
                <a:lnTo>
                  <a:pt x="1731" y="1148"/>
                </a:lnTo>
                <a:lnTo>
                  <a:pt x="1722" y="1146"/>
                </a:lnTo>
                <a:lnTo>
                  <a:pt x="1713" y="1145"/>
                </a:lnTo>
                <a:lnTo>
                  <a:pt x="1688" y="1144"/>
                </a:lnTo>
                <a:lnTo>
                  <a:pt x="1653" y="1143"/>
                </a:lnTo>
                <a:lnTo>
                  <a:pt x="1644" y="1144"/>
                </a:lnTo>
                <a:lnTo>
                  <a:pt x="1636" y="1144"/>
                </a:lnTo>
                <a:lnTo>
                  <a:pt x="1628" y="1146"/>
                </a:lnTo>
                <a:lnTo>
                  <a:pt x="1621" y="1148"/>
                </a:lnTo>
                <a:lnTo>
                  <a:pt x="1616" y="1151"/>
                </a:lnTo>
                <a:lnTo>
                  <a:pt x="1611" y="1155"/>
                </a:lnTo>
                <a:lnTo>
                  <a:pt x="1608" y="1159"/>
                </a:lnTo>
                <a:lnTo>
                  <a:pt x="1607" y="1164"/>
                </a:lnTo>
                <a:lnTo>
                  <a:pt x="1608" y="1169"/>
                </a:lnTo>
                <a:lnTo>
                  <a:pt x="1608" y="1173"/>
                </a:lnTo>
                <a:lnTo>
                  <a:pt x="1610" y="1176"/>
                </a:lnTo>
                <a:lnTo>
                  <a:pt x="1611" y="1180"/>
                </a:lnTo>
                <a:lnTo>
                  <a:pt x="1616" y="1186"/>
                </a:lnTo>
                <a:lnTo>
                  <a:pt x="1621" y="1192"/>
                </a:lnTo>
                <a:lnTo>
                  <a:pt x="1627" y="1197"/>
                </a:lnTo>
                <a:lnTo>
                  <a:pt x="1632" y="1204"/>
                </a:lnTo>
                <a:lnTo>
                  <a:pt x="1638" y="1212"/>
                </a:lnTo>
                <a:lnTo>
                  <a:pt x="1641" y="1220"/>
                </a:lnTo>
                <a:lnTo>
                  <a:pt x="1628" y="1221"/>
                </a:lnTo>
                <a:lnTo>
                  <a:pt x="1615" y="1223"/>
                </a:lnTo>
                <a:lnTo>
                  <a:pt x="1601" y="1226"/>
                </a:lnTo>
                <a:lnTo>
                  <a:pt x="1589" y="1229"/>
                </a:lnTo>
                <a:lnTo>
                  <a:pt x="1577" y="1232"/>
                </a:lnTo>
                <a:lnTo>
                  <a:pt x="1565" y="1235"/>
                </a:lnTo>
                <a:lnTo>
                  <a:pt x="1555" y="1237"/>
                </a:lnTo>
                <a:lnTo>
                  <a:pt x="1548" y="1238"/>
                </a:lnTo>
                <a:lnTo>
                  <a:pt x="1544" y="1237"/>
                </a:lnTo>
                <a:lnTo>
                  <a:pt x="1539" y="1233"/>
                </a:lnTo>
                <a:lnTo>
                  <a:pt x="1533" y="1228"/>
                </a:lnTo>
                <a:lnTo>
                  <a:pt x="1528" y="1222"/>
                </a:lnTo>
                <a:lnTo>
                  <a:pt x="1516" y="1210"/>
                </a:lnTo>
                <a:lnTo>
                  <a:pt x="1508" y="1201"/>
                </a:lnTo>
                <a:lnTo>
                  <a:pt x="1474" y="1214"/>
                </a:lnTo>
                <a:lnTo>
                  <a:pt x="1468" y="1213"/>
                </a:lnTo>
                <a:lnTo>
                  <a:pt x="1461" y="1210"/>
                </a:lnTo>
                <a:lnTo>
                  <a:pt x="1454" y="1205"/>
                </a:lnTo>
                <a:lnTo>
                  <a:pt x="1448" y="1201"/>
                </a:lnTo>
                <a:lnTo>
                  <a:pt x="1441" y="1196"/>
                </a:lnTo>
                <a:lnTo>
                  <a:pt x="1436" y="1192"/>
                </a:lnTo>
                <a:lnTo>
                  <a:pt x="1428" y="1190"/>
                </a:lnTo>
                <a:lnTo>
                  <a:pt x="1421" y="1189"/>
                </a:lnTo>
                <a:lnTo>
                  <a:pt x="1406" y="1190"/>
                </a:lnTo>
                <a:lnTo>
                  <a:pt x="1390" y="1192"/>
                </a:lnTo>
                <a:lnTo>
                  <a:pt x="1372" y="1197"/>
                </a:lnTo>
                <a:lnTo>
                  <a:pt x="1354" y="1203"/>
                </a:lnTo>
                <a:lnTo>
                  <a:pt x="1337" y="1211"/>
                </a:lnTo>
                <a:lnTo>
                  <a:pt x="1318" y="1219"/>
                </a:lnTo>
                <a:lnTo>
                  <a:pt x="1301" y="1228"/>
                </a:lnTo>
                <a:lnTo>
                  <a:pt x="1283" y="1238"/>
                </a:lnTo>
                <a:lnTo>
                  <a:pt x="1265" y="1249"/>
                </a:lnTo>
                <a:lnTo>
                  <a:pt x="1248" y="1259"/>
                </a:lnTo>
                <a:lnTo>
                  <a:pt x="1231" y="1272"/>
                </a:lnTo>
                <a:lnTo>
                  <a:pt x="1217" y="1283"/>
                </a:lnTo>
                <a:lnTo>
                  <a:pt x="1203" y="1294"/>
                </a:lnTo>
                <a:lnTo>
                  <a:pt x="1190" y="1304"/>
                </a:lnTo>
                <a:lnTo>
                  <a:pt x="1179" y="1314"/>
                </a:lnTo>
                <a:lnTo>
                  <a:pt x="1169" y="1325"/>
                </a:lnTo>
                <a:lnTo>
                  <a:pt x="1166" y="1328"/>
                </a:lnTo>
                <a:lnTo>
                  <a:pt x="1163" y="1333"/>
                </a:lnTo>
                <a:lnTo>
                  <a:pt x="1162" y="1337"/>
                </a:lnTo>
                <a:lnTo>
                  <a:pt x="1161" y="1342"/>
                </a:lnTo>
                <a:lnTo>
                  <a:pt x="1161" y="1354"/>
                </a:lnTo>
                <a:lnTo>
                  <a:pt x="1161" y="1366"/>
                </a:lnTo>
                <a:lnTo>
                  <a:pt x="1161" y="1379"/>
                </a:lnTo>
                <a:lnTo>
                  <a:pt x="1160" y="1392"/>
                </a:lnTo>
                <a:lnTo>
                  <a:pt x="1159" y="1399"/>
                </a:lnTo>
                <a:lnTo>
                  <a:pt x="1157" y="1405"/>
                </a:lnTo>
                <a:lnTo>
                  <a:pt x="1153" y="1411"/>
                </a:lnTo>
                <a:lnTo>
                  <a:pt x="1149" y="1417"/>
                </a:lnTo>
                <a:lnTo>
                  <a:pt x="1143" y="1416"/>
                </a:lnTo>
                <a:lnTo>
                  <a:pt x="1136" y="1415"/>
                </a:lnTo>
                <a:lnTo>
                  <a:pt x="1129" y="1414"/>
                </a:lnTo>
                <a:lnTo>
                  <a:pt x="1124" y="1412"/>
                </a:lnTo>
                <a:lnTo>
                  <a:pt x="1111" y="1408"/>
                </a:lnTo>
                <a:lnTo>
                  <a:pt x="1100" y="1401"/>
                </a:lnTo>
                <a:lnTo>
                  <a:pt x="1090" y="1394"/>
                </a:lnTo>
                <a:lnTo>
                  <a:pt x="1082" y="1386"/>
                </a:lnTo>
                <a:lnTo>
                  <a:pt x="1080" y="1382"/>
                </a:lnTo>
                <a:lnTo>
                  <a:pt x="1078" y="1377"/>
                </a:lnTo>
                <a:lnTo>
                  <a:pt x="1077" y="1372"/>
                </a:lnTo>
                <a:lnTo>
                  <a:pt x="1076" y="1367"/>
                </a:lnTo>
                <a:lnTo>
                  <a:pt x="1076" y="1356"/>
                </a:lnTo>
                <a:lnTo>
                  <a:pt x="1074" y="1344"/>
                </a:lnTo>
                <a:lnTo>
                  <a:pt x="1072" y="1330"/>
                </a:lnTo>
                <a:lnTo>
                  <a:pt x="1070" y="1315"/>
                </a:lnTo>
                <a:lnTo>
                  <a:pt x="1066" y="1300"/>
                </a:lnTo>
                <a:lnTo>
                  <a:pt x="1061" y="1285"/>
                </a:lnTo>
                <a:lnTo>
                  <a:pt x="1057" y="1270"/>
                </a:lnTo>
                <a:lnTo>
                  <a:pt x="1051" y="1254"/>
                </a:lnTo>
                <a:lnTo>
                  <a:pt x="1044" y="1240"/>
                </a:lnTo>
                <a:lnTo>
                  <a:pt x="1037" y="1227"/>
                </a:lnTo>
                <a:lnTo>
                  <a:pt x="1028" y="1215"/>
                </a:lnTo>
                <a:lnTo>
                  <a:pt x="1020" y="1203"/>
                </a:lnTo>
                <a:lnTo>
                  <a:pt x="1015" y="1199"/>
                </a:lnTo>
                <a:lnTo>
                  <a:pt x="1010" y="1195"/>
                </a:lnTo>
                <a:lnTo>
                  <a:pt x="1005" y="1191"/>
                </a:lnTo>
                <a:lnTo>
                  <a:pt x="1000" y="1188"/>
                </a:lnTo>
                <a:lnTo>
                  <a:pt x="994" y="1186"/>
                </a:lnTo>
                <a:lnTo>
                  <a:pt x="988" y="1184"/>
                </a:lnTo>
                <a:lnTo>
                  <a:pt x="982" y="1183"/>
                </a:lnTo>
                <a:lnTo>
                  <a:pt x="977" y="1183"/>
                </a:lnTo>
                <a:lnTo>
                  <a:pt x="964" y="1183"/>
                </a:lnTo>
                <a:lnTo>
                  <a:pt x="951" y="1186"/>
                </a:lnTo>
                <a:lnTo>
                  <a:pt x="940" y="1190"/>
                </a:lnTo>
                <a:lnTo>
                  <a:pt x="931" y="1195"/>
                </a:lnTo>
                <a:lnTo>
                  <a:pt x="926" y="1199"/>
                </a:lnTo>
                <a:lnTo>
                  <a:pt x="922" y="1202"/>
                </a:lnTo>
                <a:lnTo>
                  <a:pt x="919" y="1206"/>
                </a:lnTo>
                <a:lnTo>
                  <a:pt x="915" y="1212"/>
                </a:lnTo>
                <a:lnTo>
                  <a:pt x="913" y="1216"/>
                </a:lnTo>
                <a:lnTo>
                  <a:pt x="911" y="1221"/>
                </a:lnTo>
                <a:lnTo>
                  <a:pt x="910" y="1227"/>
                </a:lnTo>
                <a:lnTo>
                  <a:pt x="910" y="1232"/>
                </a:lnTo>
                <a:lnTo>
                  <a:pt x="883" y="1232"/>
                </a:lnTo>
                <a:lnTo>
                  <a:pt x="878" y="1229"/>
                </a:lnTo>
                <a:lnTo>
                  <a:pt x="872" y="1225"/>
                </a:lnTo>
                <a:lnTo>
                  <a:pt x="867" y="1219"/>
                </a:lnTo>
                <a:lnTo>
                  <a:pt x="861" y="1212"/>
                </a:lnTo>
                <a:lnTo>
                  <a:pt x="850" y="1196"/>
                </a:lnTo>
                <a:lnTo>
                  <a:pt x="839" y="1179"/>
                </a:lnTo>
                <a:lnTo>
                  <a:pt x="830" y="1161"/>
                </a:lnTo>
                <a:lnTo>
                  <a:pt x="821" y="1144"/>
                </a:lnTo>
                <a:lnTo>
                  <a:pt x="814" y="1131"/>
                </a:lnTo>
                <a:lnTo>
                  <a:pt x="810" y="1121"/>
                </a:lnTo>
                <a:lnTo>
                  <a:pt x="805" y="1120"/>
                </a:lnTo>
                <a:lnTo>
                  <a:pt x="801" y="1118"/>
                </a:lnTo>
                <a:lnTo>
                  <a:pt x="798" y="1115"/>
                </a:lnTo>
                <a:lnTo>
                  <a:pt x="794" y="1111"/>
                </a:lnTo>
                <a:lnTo>
                  <a:pt x="789" y="1100"/>
                </a:lnTo>
                <a:lnTo>
                  <a:pt x="782" y="1087"/>
                </a:lnTo>
                <a:lnTo>
                  <a:pt x="779" y="1081"/>
                </a:lnTo>
                <a:lnTo>
                  <a:pt x="775" y="1075"/>
                </a:lnTo>
                <a:lnTo>
                  <a:pt x="770" y="1069"/>
                </a:lnTo>
                <a:lnTo>
                  <a:pt x="765" y="1064"/>
                </a:lnTo>
                <a:lnTo>
                  <a:pt x="757" y="1060"/>
                </a:lnTo>
                <a:lnTo>
                  <a:pt x="749" y="1056"/>
                </a:lnTo>
                <a:lnTo>
                  <a:pt x="741" y="1054"/>
                </a:lnTo>
                <a:lnTo>
                  <a:pt x="731" y="1054"/>
                </a:lnTo>
                <a:lnTo>
                  <a:pt x="718" y="1054"/>
                </a:lnTo>
                <a:lnTo>
                  <a:pt x="706" y="1055"/>
                </a:lnTo>
                <a:lnTo>
                  <a:pt x="696" y="1057"/>
                </a:lnTo>
                <a:lnTo>
                  <a:pt x="687" y="1059"/>
                </a:lnTo>
                <a:lnTo>
                  <a:pt x="670" y="1065"/>
                </a:lnTo>
                <a:lnTo>
                  <a:pt x="656" y="1072"/>
                </a:lnTo>
                <a:lnTo>
                  <a:pt x="642" y="1078"/>
                </a:lnTo>
                <a:lnTo>
                  <a:pt x="624" y="1084"/>
                </a:lnTo>
                <a:lnTo>
                  <a:pt x="615" y="1087"/>
                </a:lnTo>
                <a:lnTo>
                  <a:pt x="604" y="1088"/>
                </a:lnTo>
                <a:lnTo>
                  <a:pt x="591" y="1089"/>
                </a:lnTo>
                <a:lnTo>
                  <a:pt x="577" y="1090"/>
                </a:lnTo>
                <a:lnTo>
                  <a:pt x="555" y="1089"/>
                </a:lnTo>
                <a:lnTo>
                  <a:pt x="533" y="1086"/>
                </a:lnTo>
                <a:lnTo>
                  <a:pt x="514" y="1083"/>
                </a:lnTo>
                <a:lnTo>
                  <a:pt x="496" y="1078"/>
                </a:lnTo>
                <a:lnTo>
                  <a:pt x="478" y="1072"/>
                </a:lnTo>
                <a:lnTo>
                  <a:pt x="462" y="1065"/>
                </a:lnTo>
                <a:lnTo>
                  <a:pt x="445" y="1058"/>
                </a:lnTo>
                <a:lnTo>
                  <a:pt x="430" y="1051"/>
                </a:lnTo>
                <a:lnTo>
                  <a:pt x="415" y="1043"/>
                </a:lnTo>
                <a:lnTo>
                  <a:pt x="398" y="1035"/>
                </a:lnTo>
                <a:lnTo>
                  <a:pt x="383" y="1028"/>
                </a:lnTo>
                <a:lnTo>
                  <a:pt x="366" y="1023"/>
                </a:lnTo>
                <a:lnTo>
                  <a:pt x="350" y="1017"/>
                </a:lnTo>
                <a:lnTo>
                  <a:pt x="331" y="1014"/>
                </a:lnTo>
                <a:lnTo>
                  <a:pt x="312" y="1011"/>
                </a:lnTo>
                <a:lnTo>
                  <a:pt x="292" y="1010"/>
                </a:lnTo>
                <a:lnTo>
                  <a:pt x="263" y="1012"/>
                </a:lnTo>
                <a:lnTo>
                  <a:pt x="234" y="1015"/>
                </a:lnTo>
                <a:lnTo>
                  <a:pt x="220" y="1016"/>
                </a:lnTo>
                <a:lnTo>
                  <a:pt x="205" y="1015"/>
                </a:lnTo>
                <a:lnTo>
                  <a:pt x="189" y="1014"/>
                </a:lnTo>
                <a:lnTo>
                  <a:pt x="172" y="1010"/>
                </a:lnTo>
                <a:lnTo>
                  <a:pt x="173" y="998"/>
                </a:lnTo>
                <a:lnTo>
                  <a:pt x="175" y="988"/>
                </a:lnTo>
                <a:lnTo>
                  <a:pt x="175" y="982"/>
                </a:lnTo>
                <a:lnTo>
                  <a:pt x="175" y="979"/>
                </a:lnTo>
                <a:lnTo>
                  <a:pt x="174" y="975"/>
                </a:lnTo>
                <a:lnTo>
                  <a:pt x="172" y="973"/>
                </a:lnTo>
                <a:lnTo>
                  <a:pt x="141" y="952"/>
                </a:lnTo>
                <a:lnTo>
                  <a:pt x="107" y="931"/>
                </a:lnTo>
                <a:lnTo>
                  <a:pt x="97" y="925"/>
                </a:lnTo>
                <a:lnTo>
                  <a:pt x="88" y="920"/>
                </a:lnTo>
                <a:lnTo>
                  <a:pt x="79" y="916"/>
                </a:lnTo>
                <a:lnTo>
                  <a:pt x="69" y="912"/>
                </a:lnTo>
                <a:lnTo>
                  <a:pt x="59" y="909"/>
                </a:lnTo>
                <a:lnTo>
                  <a:pt x="48" y="907"/>
                </a:lnTo>
                <a:lnTo>
                  <a:pt x="37" y="906"/>
                </a:lnTo>
                <a:lnTo>
                  <a:pt x="26" y="905"/>
                </a:lnTo>
                <a:lnTo>
                  <a:pt x="27" y="899"/>
                </a:lnTo>
                <a:lnTo>
                  <a:pt x="28" y="893"/>
                </a:lnTo>
                <a:lnTo>
                  <a:pt x="30" y="888"/>
                </a:lnTo>
                <a:lnTo>
                  <a:pt x="32" y="883"/>
                </a:lnTo>
                <a:lnTo>
                  <a:pt x="37" y="874"/>
                </a:lnTo>
                <a:lnTo>
                  <a:pt x="39" y="868"/>
                </a:lnTo>
                <a:lnTo>
                  <a:pt x="39" y="848"/>
                </a:lnTo>
                <a:lnTo>
                  <a:pt x="36" y="826"/>
                </a:lnTo>
                <a:lnTo>
                  <a:pt x="32" y="801"/>
                </a:lnTo>
                <a:lnTo>
                  <a:pt x="29" y="777"/>
                </a:lnTo>
                <a:lnTo>
                  <a:pt x="24" y="752"/>
                </a:lnTo>
                <a:lnTo>
                  <a:pt x="19" y="729"/>
                </a:lnTo>
                <a:lnTo>
                  <a:pt x="16" y="707"/>
                </a:lnTo>
                <a:lnTo>
                  <a:pt x="13" y="690"/>
                </a:lnTo>
                <a:lnTo>
                  <a:pt x="17" y="687"/>
                </a:lnTo>
                <a:lnTo>
                  <a:pt x="25" y="680"/>
                </a:lnTo>
                <a:lnTo>
                  <a:pt x="28" y="675"/>
                </a:lnTo>
                <a:lnTo>
                  <a:pt x="29" y="669"/>
                </a:lnTo>
                <a:lnTo>
                  <a:pt x="30" y="666"/>
                </a:lnTo>
                <a:lnTo>
                  <a:pt x="29" y="662"/>
                </a:lnTo>
                <a:lnTo>
                  <a:pt x="28" y="658"/>
                </a:lnTo>
                <a:lnTo>
                  <a:pt x="26" y="653"/>
                </a:lnTo>
                <a:lnTo>
                  <a:pt x="21" y="658"/>
                </a:lnTo>
                <a:lnTo>
                  <a:pt x="16" y="663"/>
                </a:lnTo>
                <a:lnTo>
                  <a:pt x="12" y="669"/>
                </a:lnTo>
                <a:lnTo>
                  <a:pt x="6" y="677"/>
                </a:lnTo>
                <a:lnTo>
                  <a:pt x="4" y="672"/>
                </a:lnTo>
                <a:lnTo>
                  <a:pt x="3" y="667"/>
                </a:lnTo>
                <a:lnTo>
                  <a:pt x="2" y="660"/>
                </a:lnTo>
                <a:lnTo>
                  <a:pt x="1" y="653"/>
                </a:lnTo>
                <a:lnTo>
                  <a:pt x="0" y="639"/>
                </a:lnTo>
                <a:lnTo>
                  <a:pt x="0" y="628"/>
                </a:lnTo>
                <a:lnTo>
                  <a:pt x="0" y="604"/>
                </a:lnTo>
                <a:lnTo>
                  <a:pt x="2" y="581"/>
                </a:lnTo>
                <a:lnTo>
                  <a:pt x="3" y="570"/>
                </a:lnTo>
                <a:lnTo>
                  <a:pt x="5" y="558"/>
                </a:lnTo>
                <a:lnTo>
                  <a:pt x="8" y="545"/>
                </a:lnTo>
                <a:lnTo>
                  <a:pt x="13" y="529"/>
                </a:lnTo>
                <a:lnTo>
                  <a:pt x="26" y="514"/>
                </a:lnTo>
                <a:lnTo>
                  <a:pt x="38" y="499"/>
                </a:lnTo>
                <a:lnTo>
                  <a:pt x="50" y="482"/>
                </a:lnTo>
                <a:lnTo>
                  <a:pt x="61" y="467"/>
                </a:lnTo>
                <a:lnTo>
                  <a:pt x="81" y="434"/>
                </a:lnTo>
                <a:lnTo>
                  <a:pt x="101" y="401"/>
                </a:lnTo>
                <a:lnTo>
                  <a:pt x="119" y="368"/>
                </a:lnTo>
                <a:lnTo>
                  <a:pt x="141" y="336"/>
                </a:lnTo>
                <a:lnTo>
                  <a:pt x="152" y="321"/>
                </a:lnTo>
                <a:lnTo>
                  <a:pt x="164" y="305"/>
                </a:lnTo>
                <a:lnTo>
                  <a:pt x="177" y="291"/>
                </a:lnTo>
                <a:lnTo>
                  <a:pt x="193" y="277"/>
                </a:lnTo>
                <a:lnTo>
                  <a:pt x="198" y="271"/>
                </a:lnTo>
                <a:lnTo>
                  <a:pt x="204" y="265"/>
                </a:lnTo>
                <a:lnTo>
                  <a:pt x="208" y="257"/>
                </a:lnTo>
                <a:lnTo>
                  <a:pt x="213" y="250"/>
                </a:lnTo>
                <a:lnTo>
                  <a:pt x="219" y="234"/>
                </a:lnTo>
                <a:lnTo>
                  <a:pt x="227" y="218"/>
                </a:lnTo>
                <a:lnTo>
                  <a:pt x="233" y="200"/>
                </a:lnTo>
                <a:lnTo>
                  <a:pt x="242" y="184"/>
                </a:lnTo>
                <a:lnTo>
                  <a:pt x="247" y="176"/>
                </a:lnTo>
                <a:lnTo>
                  <a:pt x="252" y="169"/>
                </a:lnTo>
                <a:lnTo>
                  <a:pt x="259" y="161"/>
                </a:lnTo>
                <a:lnTo>
                  <a:pt x="265" y="154"/>
                </a:lnTo>
                <a:lnTo>
                  <a:pt x="266" y="131"/>
                </a:lnTo>
                <a:lnTo>
                  <a:pt x="270" y="109"/>
                </a:lnTo>
                <a:lnTo>
                  <a:pt x="274" y="89"/>
                </a:lnTo>
                <a:lnTo>
                  <a:pt x="278" y="73"/>
                </a:lnTo>
                <a:lnTo>
                  <a:pt x="299" y="74"/>
                </a:lnTo>
                <a:lnTo>
                  <a:pt x="326" y="77"/>
                </a:lnTo>
                <a:lnTo>
                  <a:pt x="349" y="79"/>
                </a:lnTo>
                <a:lnTo>
                  <a:pt x="359" y="80"/>
                </a:lnTo>
                <a:lnTo>
                  <a:pt x="357" y="91"/>
                </a:lnTo>
                <a:lnTo>
                  <a:pt x="355" y="102"/>
                </a:lnTo>
                <a:lnTo>
                  <a:pt x="352" y="112"/>
                </a:lnTo>
                <a:lnTo>
                  <a:pt x="349" y="121"/>
                </a:lnTo>
                <a:lnTo>
                  <a:pt x="344" y="130"/>
                </a:lnTo>
                <a:lnTo>
                  <a:pt x="341" y="138"/>
                </a:lnTo>
                <a:lnTo>
                  <a:pt x="339" y="146"/>
                </a:lnTo>
                <a:lnTo>
                  <a:pt x="339" y="154"/>
                </a:lnTo>
                <a:lnTo>
                  <a:pt x="343" y="153"/>
                </a:lnTo>
                <a:lnTo>
                  <a:pt x="348" y="150"/>
                </a:lnTo>
                <a:lnTo>
                  <a:pt x="352" y="147"/>
                </a:lnTo>
                <a:lnTo>
                  <a:pt x="356" y="144"/>
                </a:lnTo>
                <a:lnTo>
                  <a:pt x="364" y="137"/>
                </a:lnTo>
                <a:lnTo>
                  <a:pt x="371" y="129"/>
                </a:lnTo>
                <a:lnTo>
                  <a:pt x="376" y="120"/>
                </a:lnTo>
                <a:lnTo>
                  <a:pt x="381" y="110"/>
                </a:lnTo>
                <a:lnTo>
                  <a:pt x="385" y="99"/>
                </a:lnTo>
                <a:lnTo>
                  <a:pt x="388" y="87"/>
                </a:lnTo>
                <a:lnTo>
                  <a:pt x="394" y="66"/>
                </a:lnTo>
                <a:lnTo>
                  <a:pt x="396" y="48"/>
                </a:lnTo>
                <a:lnTo>
                  <a:pt x="398" y="35"/>
                </a:lnTo>
                <a:lnTo>
                  <a:pt x="398" y="30"/>
                </a:lnTo>
                <a:lnTo>
                  <a:pt x="1827" y="30"/>
                </a:lnTo>
                <a:lnTo>
                  <a:pt x="1825" y="21"/>
                </a:lnTo>
                <a:lnTo>
                  <a:pt x="1823" y="13"/>
                </a:lnTo>
                <a:lnTo>
                  <a:pt x="1821" y="5"/>
                </a:lnTo>
                <a:lnTo>
                  <a:pt x="1820" y="0"/>
                </a:lnTo>
                <a:lnTo>
                  <a:pt x="1827" y="0"/>
                </a:lnTo>
                <a:lnTo>
                  <a:pt x="1853" y="0"/>
                </a:lnTo>
                <a:lnTo>
                  <a:pt x="1854" y="11"/>
                </a:lnTo>
                <a:lnTo>
                  <a:pt x="1856" y="21"/>
                </a:lnTo>
                <a:lnTo>
                  <a:pt x="1861" y="30"/>
                </a:lnTo>
                <a:lnTo>
                  <a:pt x="1866" y="38"/>
                </a:lnTo>
                <a:lnTo>
                  <a:pt x="1873" y="46"/>
                </a:lnTo>
                <a:lnTo>
                  <a:pt x="1881" y="51"/>
                </a:lnTo>
                <a:lnTo>
                  <a:pt x="1886" y="53"/>
                </a:lnTo>
                <a:lnTo>
                  <a:pt x="1890" y="54"/>
                </a:lnTo>
                <a:lnTo>
                  <a:pt x="1895" y="55"/>
                </a:lnTo>
                <a:lnTo>
                  <a:pt x="1900" y="55"/>
                </a:lnTo>
                <a:lnTo>
                  <a:pt x="1910" y="55"/>
                </a:lnTo>
                <a:lnTo>
                  <a:pt x="1926" y="55"/>
                </a:lnTo>
                <a:lnTo>
                  <a:pt x="1935" y="56"/>
                </a:lnTo>
                <a:lnTo>
                  <a:pt x="1944" y="58"/>
                </a:lnTo>
                <a:lnTo>
                  <a:pt x="1952" y="61"/>
                </a:lnTo>
                <a:lnTo>
                  <a:pt x="1958" y="64"/>
                </a:lnTo>
                <a:lnTo>
                  <a:pt x="1965" y="68"/>
                </a:lnTo>
                <a:lnTo>
                  <a:pt x="1972" y="71"/>
                </a:lnTo>
                <a:lnTo>
                  <a:pt x="1979" y="73"/>
                </a:lnTo>
                <a:lnTo>
                  <a:pt x="1986" y="73"/>
                </a:lnTo>
                <a:lnTo>
                  <a:pt x="1992" y="72"/>
                </a:lnTo>
                <a:lnTo>
                  <a:pt x="1999" y="67"/>
                </a:lnTo>
                <a:lnTo>
                  <a:pt x="2003" y="63"/>
                </a:lnTo>
                <a:lnTo>
                  <a:pt x="2006" y="61"/>
                </a:lnTo>
                <a:lnTo>
                  <a:pt x="2015" y="69"/>
                </a:lnTo>
                <a:lnTo>
                  <a:pt x="2024" y="75"/>
                </a:lnTo>
                <a:lnTo>
                  <a:pt x="2035" y="81"/>
                </a:lnTo>
                <a:lnTo>
                  <a:pt x="2046" y="86"/>
                </a:lnTo>
                <a:lnTo>
                  <a:pt x="2038" y="93"/>
                </a:lnTo>
                <a:lnTo>
                  <a:pt x="2031" y="100"/>
                </a:lnTo>
                <a:lnTo>
                  <a:pt x="2021" y="104"/>
                </a:lnTo>
                <a:lnTo>
                  <a:pt x="2011" y="108"/>
                </a:lnTo>
                <a:lnTo>
                  <a:pt x="1989" y="114"/>
                </a:lnTo>
                <a:lnTo>
                  <a:pt x="1967" y="118"/>
                </a:lnTo>
                <a:lnTo>
                  <a:pt x="1956" y="120"/>
                </a:lnTo>
                <a:lnTo>
                  <a:pt x="1946" y="122"/>
                </a:lnTo>
                <a:lnTo>
                  <a:pt x="1937" y="125"/>
                </a:lnTo>
                <a:lnTo>
                  <a:pt x="1929" y="128"/>
                </a:lnTo>
                <a:lnTo>
                  <a:pt x="1922" y="133"/>
                </a:lnTo>
                <a:lnTo>
                  <a:pt x="1918" y="138"/>
                </a:lnTo>
                <a:lnTo>
                  <a:pt x="1916" y="141"/>
                </a:lnTo>
                <a:lnTo>
                  <a:pt x="1914" y="145"/>
                </a:lnTo>
                <a:lnTo>
                  <a:pt x="1913" y="149"/>
                </a:lnTo>
                <a:lnTo>
                  <a:pt x="1913" y="154"/>
                </a:lnTo>
                <a:lnTo>
                  <a:pt x="1926" y="155"/>
                </a:lnTo>
                <a:lnTo>
                  <a:pt x="1937" y="156"/>
                </a:lnTo>
                <a:lnTo>
                  <a:pt x="1946" y="158"/>
                </a:lnTo>
                <a:lnTo>
                  <a:pt x="1954" y="160"/>
                </a:lnTo>
                <a:lnTo>
                  <a:pt x="1962" y="162"/>
                </a:lnTo>
                <a:lnTo>
                  <a:pt x="1969" y="164"/>
                </a:lnTo>
                <a:lnTo>
                  <a:pt x="1977" y="166"/>
                </a:lnTo>
                <a:lnTo>
                  <a:pt x="1986" y="166"/>
                </a:lnTo>
                <a:lnTo>
                  <a:pt x="1996" y="165"/>
                </a:lnTo>
                <a:lnTo>
                  <a:pt x="2011" y="161"/>
                </a:lnTo>
                <a:lnTo>
                  <a:pt x="2028" y="155"/>
                </a:lnTo>
                <a:lnTo>
                  <a:pt x="2047" y="147"/>
                </a:lnTo>
                <a:lnTo>
                  <a:pt x="2067" y="140"/>
                </a:lnTo>
                <a:lnTo>
                  <a:pt x="2087" y="135"/>
                </a:lnTo>
                <a:lnTo>
                  <a:pt x="2104" y="130"/>
                </a:lnTo>
                <a:lnTo>
                  <a:pt x="2119" y="129"/>
                </a:lnTo>
                <a:lnTo>
                  <a:pt x="2109" y="140"/>
                </a:lnTo>
                <a:lnTo>
                  <a:pt x="2101" y="147"/>
                </a:lnTo>
                <a:lnTo>
                  <a:pt x="2097" y="151"/>
                </a:lnTo>
                <a:lnTo>
                  <a:pt x="2094" y="155"/>
                </a:lnTo>
                <a:lnTo>
                  <a:pt x="2093" y="160"/>
                </a:lnTo>
                <a:lnTo>
                  <a:pt x="2092" y="166"/>
                </a:lnTo>
                <a:lnTo>
                  <a:pt x="2102" y="166"/>
                </a:lnTo>
                <a:lnTo>
                  <a:pt x="2112" y="166"/>
                </a:lnTo>
                <a:lnTo>
                  <a:pt x="2121" y="167"/>
                </a:lnTo>
                <a:lnTo>
                  <a:pt x="2138" y="169"/>
                </a:lnTo>
                <a:lnTo>
                  <a:pt x="2163" y="172"/>
                </a:lnTo>
                <a:lnTo>
                  <a:pt x="2191" y="175"/>
                </a:lnTo>
                <a:lnTo>
                  <a:pt x="2221" y="179"/>
                </a:lnTo>
                <a:lnTo>
                  <a:pt x="2248" y="182"/>
                </a:lnTo>
                <a:lnTo>
                  <a:pt x="2270" y="184"/>
                </a:lnTo>
                <a:lnTo>
                  <a:pt x="2286" y="184"/>
                </a:lnTo>
                <a:lnTo>
                  <a:pt x="2284" y="193"/>
                </a:lnTo>
                <a:lnTo>
                  <a:pt x="2282" y="199"/>
                </a:lnTo>
                <a:lnTo>
                  <a:pt x="2279" y="205"/>
                </a:lnTo>
                <a:lnTo>
                  <a:pt x="2275" y="210"/>
                </a:lnTo>
                <a:lnTo>
                  <a:pt x="2269" y="212"/>
                </a:lnTo>
                <a:lnTo>
                  <a:pt x="2262" y="214"/>
                </a:lnTo>
                <a:lnTo>
                  <a:pt x="2255" y="215"/>
                </a:lnTo>
                <a:lnTo>
                  <a:pt x="2245" y="216"/>
                </a:lnTo>
                <a:lnTo>
                  <a:pt x="2238" y="215"/>
                </a:lnTo>
                <a:lnTo>
                  <a:pt x="2233" y="214"/>
                </a:lnTo>
                <a:lnTo>
                  <a:pt x="2228" y="212"/>
                </a:lnTo>
                <a:lnTo>
                  <a:pt x="2225" y="210"/>
                </a:lnTo>
                <a:lnTo>
                  <a:pt x="2222" y="206"/>
                </a:lnTo>
                <a:lnTo>
                  <a:pt x="2217" y="204"/>
                </a:lnTo>
                <a:lnTo>
                  <a:pt x="2212" y="203"/>
                </a:lnTo>
                <a:lnTo>
                  <a:pt x="2205" y="203"/>
                </a:lnTo>
                <a:lnTo>
                  <a:pt x="2194" y="203"/>
                </a:lnTo>
                <a:lnTo>
                  <a:pt x="2185" y="205"/>
                </a:lnTo>
                <a:lnTo>
                  <a:pt x="2175" y="209"/>
                </a:lnTo>
                <a:lnTo>
                  <a:pt x="2166" y="213"/>
                </a:lnTo>
                <a:lnTo>
                  <a:pt x="2149" y="223"/>
                </a:lnTo>
                <a:lnTo>
                  <a:pt x="2135" y="234"/>
                </a:lnTo>
                <a:lnTo>
                  <a:pt x="2121" y="245"/>
                </a:lnTo>
                <a:lnTo>
                  <a:pt x="2108" y="255"/>
                </a:lnTo>
                <a:lnTo>
                  <a:pt x="2100" y="258"/>
                </a:lnTo>
                <a:lnTo>
                  <a:pt x="2093" y="261"/>
                </a:lnTo>
                <a:lnTo>
                  <a:pt x="2087" y="264"/>
                </a:lnTo>
                <a:lnTo>
                  <a:pt x="2079" y="265"/>
                </a:lnTo>
                <a:lnTo>
                  <a:pt x="2073" y="266"/>
                </a:lnTo>
                <a:lnTo>
                  <a:pt x="2068" y="268"/>
                </a:lnTo>
                <a:lnTo>
                  <a:pt x="2066" y="271"/>
                </a:lnTo>
                <a:lnTo>
                  <a:pt x="2064" y="276"/>
                </a:lnTo>
                <a:lnTo>
                  <a:pt x="2063" y="285"/>
                </a:lnTo>
                <a:lnTo>
                  <a:pt x="2059" y="295"/>
                </a:lnTo>
                <a:lnTo>
                  <a:pt x="2056" y="304"/>
                </a:lnTo>
                <a:lnTo>
                  <a:pt x="2053" y="312"/>
                </a:lnTo>
                <a:lnTo>
                  <a:pt x="2048" y="321"/>
                </a:lnTo>
                <a:lnTo>
                  <a:pt x="2043" y="328"/>
                </a:lnTo>
                <a:lnTo>
                  <a:pt x="2032" y="342"/>
                </a:lnTo>
                <a:lnTo>
                  <a:pt x="2021" y="355"/>
                </a:lnTo>
                <a:lnTo>
                  <a:pt x="2015" y="362"/>
                </a:lnTo>
                <a:lnTo>
                  <a:pt x="2010" y="369"/>
                </a:lnTo>
                <a:lnTo>
                  <a:pt x="2006" y="378"/>
                </a:lnTo>
                <a:lnTo>
                  <a:pt x="2001" y="386"/>
                </a:lnTo>
                <a:lnTo>
                  <a:pt x="1998" y="394"/>
                </a:lnTo>
                <a:lnTo>
                  <a:pt x="1995" y="404"/>
                </a:lnTo>
                <a:lnTo>
                  <a:pt x="1993" y="414"/>
                </a:lnTo>
                <a:lnTo>
                  <a:pt x="1992" y="424"/>
                </a:lnTo>
                <a:lnTo>
                  <a:pt x="1993" y="432"/>
                </a:lnTo>
                <a:lnTo>
                  <a:pt x="1997" y="438"/>
                </a:lnTo>
                <a:lnTo>
                  <a:pt x="2001" y="443"/>
                </a:lnTo>
                <a:lnTo>
                  <a:pt x="2007" y="447"/>
                </a:lnTo>
                <a:lnTo>
                  <a:pt x="2012" y="451"/>
                </a:lnTo>
                <a:lnTo>
                  <a:pt x="2018" y="453"/>
                </a:lnTo>
                <a:lnTo>
                  <a:pt x="2022" y="455"/>
                </a:lnTo>
                <a:lnTo>
                  <a:pt x="2026" y="456"/>
                </a:lnTo>
                <a:lnTo>
                  <a:pt x="2032" y="455"/>
                </a:lnTo>
                <a:lnTo>
                  <a:pt x="2037" y="454"/>
                </a:lnTo>
                <a:lnTo>
                  <a:pt x="2043" y="453"/>
                </a:lnTo>
                <a:lnTo>
                  <a:pt x="2047" y="451"/>
                </a:lnTo>
                <a:lnTo>
                  <a:pt x="2052" y="448"/>
                </a:lnTo>
                <a:lnTo>
                  <a:pt x="2056" y="445"/>
                </a:lnTo>
                <a:lnTo>
                  <a:pt x="2060" y="441"/>
                </a:lnTo>
                <a:lnTo>
                  <a:pt x="2064" y="437"/>
                </a:lnTo>
                <a:lnTo>
                  <a:pt x="2070" y="427"/>
                </a:lnTo>
                <a:lnTo>
                  <a:pt x="2076" y="417"/>
                </a:lnTo>
                <a:lnTo>
                  <a:pt x="2080" y="405"/>
                </a:lnTo>
                <a:lnTo>
                  <a:pt x="2085" y="393"/>
                </a:lnTo>
                <a:lnTo>
                  <a:pt x="2092" y="368"/>
                </a:lnTo>
                <a:lnTo>
                  <a:pt x="2100" y="344"/>
                </a:lnTo>
                <a:lnTo>
                  <a:pt x="2103" y="333"/>
                </a:lnTo>
                <a:lnTo>
                  <a:pt x="2108" y="323"/>
                </a:lnTo>
                <a:lnTo>
                  <a:pt x="2113" y="314"/>
                </a:lnTo>
                <a:lnTo>
                  <a:pt x="2119" y="307"/>
                </a:lnTo>
                <a:lnTo>
                  <a:pt x="2135" y="295"/>
                </a:lnTo>
                <a:lnTo>
                  <a:pt x="2152" y="283"/>
                </a:lnTo>
                <a:lnTo>
                  <a:pt x="2169" y="273"/>
                </a:lnTo>
                <a:lnTo>
                  <a:pt x="2188" y="262"/>
                </a:lnTo>
                <a:lnTo>
                  <a:pt x="2205" y="252"/>
                </a:lnTo>
                <a:lnTo>
                  <a:pt x="2223" y="243"/>
                </a:lnTo>
                <a:lnTo>
                  <a:pt x="2238" y="233"/>
                </a:lnTo>
                <a:lnTo>
                  <a:pt x="2251" y="222"/>
                </a:lnTo>
                <a:lnTo>
                  <a:pt x="2266" y="237"/>
                </a:lnTo>
                <a:lnTo>
                  <a:pt x="2278" y="249"/>
                </a:lnTo>
                <a:lnTo>
                  <a:pt x="2283" y="255"/>
                </a:lnTo>
                <a:lnTo>
                  <a:pt x="2288" y="261"/>
                </a:lnTo>
                <a:lnTo>
                  <a:pt x="2293" y="269"/>
                </a:lnTo>
                <a:lnTo>
                  <a:pt x="2299" y="277"/>
                </a:lnTo>
                <a:lnTo>
                  <a:pt x="2289" y="284"/>
                </a:lnTo>
                <a:lnTo>
                  <a:pt x="2281" y="290"/>
                </a:lnTo>
                <a:lnTo>
                  <a:pt x="2273" y="296"/>
                </a:lnTo>
                <a:lnTo>
                  <a:pt x="2267" y="303"/>
                </a:lnTo>
                <a:lnTo>
                  <a:pt x="2260" y="310"/>
                </a:lnTo>
                <a:lnTo>
                  <a:pt x="2255" y="318"/>
                </a:lnTo>
                <a:lnTo>
                  <a:pt x="2250" y="328"/>
                </a:lnTo>
                <a:lnTo>
                  <a:pt x="2245" y="339"/>
                </a:lnTo>
                <a:lnTo>
                  <a:pt x="2259" y="338"/>
                </a:lnTo>
                <a:lnTo>
                  <a:pt x="2271" y="336"/>
                </a:lnTo>
                <a:lnTo>
                  <a:pt x="2284" y="334"/>
                </a:lnTo>
                <a:lnTo>
                  <a:pt x="2299" y="333"/>
                </a:lnTo>
                <a:lnTo>
                  <a:pt x="2299" y="347"/>
                </a:lnTo>
                <a:lnTo>
                  <a:pt x="2299" y="363"/>
                </a:lnTo>
                <a:lnTo>
                  <a:pt x="2299" y="380"/>
                </a:lnTo>
                <a:lnTo>
                  <a:pt x="2299" y="394"/>
                </a:lnTo>
                <a:lnTo>
                  <a:pt x="2299" y="394"/>
                </a:lnTo>
                <a:lnTo>
                  <a:pt x="2299" y="394"/>
                </a:lnTo>
                <a:lnTo>
                  <a:pt x="2293" y="399"/>
                </a:lnTo>
                <a:lnTo>
                  <a:pt x="2288" y="404"/>
                </a:lnTo>
                <a:lnTo>
                  <a:pt x="2281" y="411"/>
                </a:lnTo>
                <a:lnTo>
                  <a:pt x="2276" y="418"/>
                </a:lnTo>
                <a:lnTo>
                  <a:pt x="2250" y="426"/>
                </a:lnTo>
                <a:lnTo>
                  <a:pt x="2228" y="435"/>
                </a:lnTo>
                <a:lnTo>
                  <a:pt x="2219" y="439"/>
                </a:lnTo>
                <a:lnTo>
                  <a:pt x="2212" y="443"/>
                </a:lnTo>
                <a:lnTo>
                  <a:pt x="2206" y="446"/>
                </a:lnTo>
                <a:lnTo>
                  <a:pt x="2205" y="450"/>
                </a:lnTo>
                <a:lnTo>
                  <a:pt x="2205" y="452"/>
                </a:lnTo>
                <a:lnTo>
                  <a:pt x="2206" y="454"/>
                </a:lnTo>
                <a:lnTo>
                  <a:pt x="2209" y="456"/>
                </a:lnTo>
                <a:lnTo>
                  <a:pt x="2212" y="458"/>
                </a:lnTo>
                <a:lnTo>
                  <a:pt x="2219" y="463"/>
                </a:lnTo>
                <a:lnTo>
                  <a:pt x="2227" y="466"/>
                </a:lnTo>
                <a:lnTo>
                  <a:pt x="2236" y="469"/>
                </a:lnTo>
                <a:lnTo>
                  <a:pt x="2245" y="472"/>
                </a:lnTo>
                <a:lnTo>
                  <a:pt x="2253" y="473"/>
                </a:lnTo>
                <a:lnTo>
                  <a:pt x="2258" y="474"/>
                </a:lnTo>
                <a:lnTo>
                  <a:pt x="2265" y="473"/>
                </a:lnTo>
                <a:lnTo>
                  <a:pt x="2273" y="472"/>
                </a:lnTo>
                <a:lnTo>
                  <a:pt x="2283" y="469"/>
                </a:lnTo>
                <a:lnTo>
                  <a:pt x="2293" y="466"/>
                </a:lnTo>
                <a:lnTo>
                  <a:pt x="2317" y="457"/>
                </a:lnTo>
                <a:lnTo>
                  <a:pt x="2343" y="447"/>
                </a:lnTo>
                <a:lnTo>
                  <a:pt x="2369" y="436"/>
                </a:lnTo>
                <a:lnTo>
                  <a:pt x="2393" y="425"/>
                </a:lnTo>
                <a:lnTo>
                  <a:pt x="2415" y="415"/>
                </a:lnTo>
                <a:lnTo>
                  <a:pt x="2433" y="408"/>
                </a:lnTo>
                <a:lnTo>
                  <a:pt x="2439" y="407"/>
                </a:lnTo>
                <a:lnTo>
                  <a:pt x="2446" y="405"/>
                </a:lnTo>
                <a:lnTo>
                  <a:pt x="2452" y="403"/>
                </a:lnTo>
                <a:lnTo>
                  <a:pt x="2458" y="400"/>
                </a:lnTo>
                <a:lnTo>
                  <a:pt x="2530" y="382"/>
                </a:lnTo>
                <a:lnTo>
                  <a:pt x="2544" y="380"/>
                </a:lnTo>
                <a:lnTo>
                  <a:pt x="2557" y="378"/>
                </a:lnTo>
                <a:lnTo>
                  <a:pt x="2570" y="373"/>
                </a:lnTo>
                <a:lnTo>
                  <a:pt x="2583" y="369"/>
                </a:lnTo>
                <a:lnTo>
                  <a:pt x="2597" y="364"/>
                </a:lnTo>
                <a:lnTo>
                  <a:pt x="2611" y="357"/>
                </a:lnTo>
                <a:lnTo>
                  <a:pt x="2625" y="350"/>
                </a:lnTo>
                <a:lnTo>
                  <a:pt x="2638" y="342"/>
                </a:lnTo>
                <a:lnTo>
                  <a:pt x="2651" y="334"/>
                </a:lnTo>
                <a:lnTo>
                  <a:pt x="2664" y="324"/>
                </a:lnTo>
                <a:lnTo>
                  <a:pt x="2676" y="313"/>
                </a:lnTo>
                <a:lnTo>
                  <a:pt x="2689" y="303"/>
                </a:lnTo>
                <a:lnTo>
                  <a:pt x="2701" y="291"/>
                </a:lnTo>
                <a:lnTo>
                  <a:pt x="2710" y="279"/>
                </a:lnTo>
                <a:lnTo>
                  <a:pt x="2721" y="266"/>
                </a:lnTo>
                <a:lnTo>
                  <a:pt x="2730" y="252"/>
                </a:lnTo>
                <a:lnTo>
                  <a:pt x="2817" y="252"/>
                </a:lnTo>
                <a:lnTo>
                  <a:pt x="2850" y="248"/>
                </a:lnTo>
                <a:lnTo>
                  <a:pt x="2880" y="246"/>
                </a:lnTo>
                <a:lnTo>
                  <a:pt x="2906" y="244"/>
                </a:lnTo>
                <a:lnTo>
                  <a:pt x="2931" y="241"/>
                </a:lnTo>
                <a:lnTo>
                  <a:pt x="2942" y="239"/>
                </a:lnTo>
                <a:lnTo>
                  <a:pt x="2954" y="237"/>
                </a:lnTo>
                <a:lnTo>
                  <a:pt x="2965" y="234"/>
                </a:lnTo>
                <a:lnTo>
                  <a:pt x="2975" y="230"/>
                </a:lnTo>
                <a:lnTo>
                  <a:pt x="2986" y="225"/>
                </a:lnTo>
                <a:lnTo>
                  <a:pt x="2996" y="219"/>
                </a:lnTo>
                <a:lnTo>
                  <a:pt x="3006" y="212"/>
                </a:lnTo>
                <a:lnTo>
                  <a:pt x="3016" y="203"/>
                </a:lnTo>
                <a:lnTo>
                  <a:pt x="3028" y="190"/>
                </a:lnTo>
                <a:lnTo>
                  <a:pt x="3038" y="177"/>
                </a:lnTo>
                <a:lnTo>
                  <a:pt x="3048" y="162"/>
                </a:lnTo>
                <a:lnTo>
                  <a:pt x="3059" y="148"/>
                </a:lnTo>
                <a:lnTo>
                  <a:pt x="3064" y="142"/>
                </a:lnTo>
                <a:lnTo>
                  <a:pt x="3070" y="136"/>
                </a:lnTo>
                <a:lnTo>
                  <a:pt x="3075" y="130"/>
                </a:lnTo>
                <a:lnTo>
                  <a:pt x="3082" y="126"/>
                </a:lnTo>
                <a:lnTo>
                  <a:pt x="3089" y="122"/>
                </a:lnTo>
                <a:lnTo>
                  <a:pt x="3097" y="119"/>
                </a:lnTo>
                <a:lnTo>
                  <a:pt x="3106" y="117"/>
                </a:lnTo>
                <a:lnTo>
                  <a:pt x="3116" y="117"/>
                </a:lnTo>
                <a:lnTo>
                  <a:pt x="3136" y="118"/>
                </a:lnTo>
                <a:lnTo>
                  <a:pt x="3153" y="119"/>
                </a:lnTo>
                <a:lnTo>
                  <a:pt x="3160" y="120"/>
                </a:lnTo>
                <a:lnTo>
                  <a:pt x="3165" y="119"/>
                </a:lnTo>
                <a:lnTo>
                  <a:pt x="3171" y="119"/>
                </a:lnTo>
                <a:lnTo>
                  <a:pt x="3175" y="117"/>
                </a:lnTo>
                <a:lnTo>
                  <a:pt x="3175" y="125"/>
                </a:lnTo>
                <a:lnTo>
                  <a:pt x="3172" y="134"/>
                </a:lnTo>
                <a:lnTo>
                  <a:pt x="3168" y="144"/>
                </a:lnTo>
                <a:lnTo>
                  <a:pt x="3164" y="156"/>
                </a:lnTo>
                <a:lnTo>
                  <a:pt x="3160" y="165"/>
                </a:lnTo>
                <a:lnTo>
                  <a:pt x="3155" y="174"/>
                </a:lnTo>
                <a:lnTo>
                  <a:pt x="3152" y="181"/>
                </a:lnTo>
                <a:lnTo>
                  <a:pt x="3149" y="184"/>
                </a:lnTo>
                <a:lnTo>
                  <a:pt x="3149" y="252"/>
                </a:lnTo>
                <a:lnTo>
                  <a:pt x="3155" y="25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055" name="Freeform 7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3495676" y="3662363"/>
            <a:ext cx="339725" cy="590550"/>
          </a:xfrm>
          <a:custGeom>
            <a:avLst/>
            <a:gdLst>
              <a:gd name="T0" fmla="*/ 583 w 784"/>
              <a:gd name="T1" fmla="*/ 277 h 1128"/>
              <a:gd name="T2" fmla="*/ 549 w 784"/>
              <a:gd name="T3" fmla="*/ 295 h 1128"/>
              <a:gd name="T4" fmla="*/ 484 w 784"/>
              <a:gd name="T5" fmla="*/ 387 h 1128"/>
              <a:gd name="T6" fmla="*/ 465 w 784"/>
              <a:gd name="T7" fmla="*/ 457 h 1128"/>
              <a:gd name="T8" fmla="*/ 481 w 784"/>
              <a:gd name="T9" fmla="*/ 522 h 1128"/>
              <a:gd name="T10" fmla="*/ 530 w 784"/>
              <a:gd name="T11" fmla="*/ 591 h 1128"/>
              <a:gd name="T12" fmla="*/ 579 w 784"/>
              <a:gd name="T13" fmla="*/ 616 h 1128"/>
              <a:gd name="T14" fmla="*/ 625 w 784"/>
              <a:gd name="T15" fmla="*/ 600 h 1128"/>
              <a:gd name="T16" fmla="*/ 654 w 784"/>
              <a:gd name="T17" fmla="*/ 653 h 1128"/>
              <a:gd name="T18" fmla="*/ 672 w 784"/>
              <a:gd name="T19" fmla="*/ 683 h 1128"/>
              <a:gd name="T20" fmla="*/ 714 w 784"/>
              <a:gd name="T21" fmla="*/ 687 h 1128"/>
              <a:gd name="T22" fmla="*/ 749 w 784"/>
              <a:gd name="T23" fmla="*/ 712 h 1128"/>
              <a:gd name="T24" fmla="*/ 770 w 784"/>
              <a:gd name="T25" fmla="*/ 756 h 1128"/>
              <a:gd name="T26" fmla="*/ 761 w 784"/>
              <a:gd name="T27" fmla="*/ 790 h 1128"/>
              <a:gd name="T28" fmla="*/ 760 w 784"/>
              <a:gd name="T29" fmla="*/ 825 h 1128"/>
              <a:gd name="T30" fmla="*/ 772 w 784"/>
              <a:gd name="T31" fmla="*/ 882 h 1128"/>
              <a:gd name="T32" fmla="*/ 758 w 784"/>
              <a:gd name="T33" fmla="*/ 932 h 1128"/>
              <a:gd name="T34" fmla="*/ 770 w 784"/>
              <a:gd name="T35" fmla="*/ 994 h 1128"/>
              <a:gd name="T36" fmla="*/ 763 w 784"/>
              <a:gd name="T37" fmla="*/ 1054 h 1128"/>
              <a:gd name="T38" fmla="*/ 691 w 784"/>
              <a:gd name="T39" fmla="*/ 1122 h 1128"/>
              <a:gd name="T40" fmla="*/ 648 w 784"/>
              <a:gd name="T41" fmla="*/ 1103 h 1128"/>
              <a:gd name="T42" fmla="*/ 602 w 784"/>
              <a:gd name="T43" fmla="*/ 1056 h 1128"/>
              <a:gd name="T44" fmla="*/ 463 w 784"/>
              <a:gd name="T45" fmla="*/ 998 h 1128"/>
              <a:gd name="T46" fmla="*/ 425 w 784"/>
              <a:gd name="T47" fmla="*/ 967 h 1128"/>
              <a:gd name="T48" fmla="*/ 331 w 784"/>
              <a:gd name="T49" fmla="*/ 894 h 1128"/>
              <a:gd name="T50" fmla="*/ 318 w 784"/>
              <a:gd name="T51" fmla="*/ 867 h 1128"/>
              <a:gd name="T52" fmla="*/ 328 w 784"/>
              <a:gd name="T53" fmla="*/ 815 h 1128"/>
              <a:gd name="T54" fmla="*/ 290 w 784"/>
              <a:gd name="T55" fmla="*/ 778 h 1128"/>
              <a:gd name="T56" fmla="*/ 259 w 784"/>
              <a:gd name="T57" fmla="*/ 745 h 1128"/>
              <a:gd name="T58" fmla="*/ 243 w 784"/>
              <a:gd name="T59" fmla="*/ 689 h 1128"/>
              <a:gd name="T60" fmla="*/ 153 w 784"/>
              <a:gd name="T61" fmla="*/ 530 h 1128"/>
              <a:gd name="T62" fmla="*/ 120 w 784"/>
              <a:gd name="T63" fmla="*/ 487 h 1128"/>
              <a:gd name="T64" fmla="*/ 90 w 784"/>
              <a:gd name="T65" fmla="*/ 432 h 1128"/>
              <a:gd name="T66" fmla="*/ 22 w 784"/>
              <a:gd name="T67" fmla="*/ 397 h 1128"/>
              <a:gd name="T68" fmla="*/ 0 w 784"/>
              <a:gd name="T69" fmla="*/ 363 h 1128"/>
              <a:gd name="T70" fmla="*/ 13 w 784"/>
              <a:gd name="T71" fmla="*/ 276 h 1128"/>
              <a:gd name="T72" fmla="*/ 28 w 784"/>
              <a:gd name="T73" fmla="*/ 246 h 1128"/>
              <a:gd name="T74" fmla="*/ 72 w 784"/>
              <a:gd name="T75" fmla="*/ 222 h 1128"/>
              <a:gd name="T76" fmla="*/ 95 w 784"/>
              <a:gd name="T77" fmla="*/ 272 h 1128"/>
              <a:gd name="T78" fmla="*/ 158 w 784"/>
              <a:gd name="T79" fmla="*/ 307 h 1128"/>
              <a:gd name="T80" fmla="*/ 184 w 784"/>
              <a:gd name="T81" fmla="*/ 271 h 1128"/>
              <a:gd name="T82" fmla="*/ 201 w 784"/>
              <a:gd name="T83" fmla="*/ 225 h 1128"/>
              <a:gd name="T84" fmla="*/ 270 w 784"/>
              <a:gd name="T85" fmla="*/ 170 h 1128"/>
              <a:gd name="T86" fmla="*/ 344 w 784"/>
              <a:gd name="T87" fmla="*/ 120 h 1128"/>
              <a:gd name="T88" fmla="*/ 357 w 784"/>
              <a:gd name="T89" fmla="*/ 70 h 1128"/>
              <a:gd name="T90" fmla="*/ 347 w 784"/>
              <a:gd name="T91" fmla="*/ 5 h 1128"/>
              <a:gd name="T92" fmla="*/ 422 w 784"/>
              <a:gd name="T93" fmla="*/ 53 h 1128"/>
              <a:gd name="T94" fmla="*/ 467 w 784"/>
              <a:gd name="T95" fmla="*/ 107 h 1128"/>
              <a:gd name="T96" fmla="*/ 506 w 784"/>
              <a:gd name="T97" fmla="*/ 154 h 1128"/>
              <a:gd name="T98" fmla="*/ 561 w 784"/>
              <a:gd name="T99" fmla="*/ 157 h 1128"/>
              <a:gd name="T100" fmla="*/ 617 w 784"/>
              <a:gd name="T101" fmla="*/ 149 h 1128"/>
              <a:gd name="T102" fmla="*/ 640 w 784"/>
              <a:gd name="T103" fmla="*/ 156 h 1128"/>
              <a:gd name="T104" fmla="*/ 654 w 784"/>
              <a:gd name="T105" fmla="*/ 193 h 1128"/>
              <a:gd name="T106" fmla="*/ 627 w 784"/>
              <a:gd name="T107" fmla="*/ 210 h 1128"/>
              <a:gd name="T108" fmla="*/ 627 w 784"/>
              <a:gd name="T109" fmla="*/ 240 h 11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784" h="1128">
                <a:moveTo>
                  <a:pt x="644" y="259"/>
                </a:moveTo>
                <a:lnTo>
                  <a:pt x="632" y="265"/>
                </a:lnTo>
                <a:lnTo>
                  <a:pt x="621" y="270"/>
                </a:lnTo>
                <a:lnTo>
                  <a:pt x="611" y="273"/>
                </a:lnTo>
                <a:lnTo>
                  <a:pt x="602" y="275"/>
                </a:lnTo>
                <a:lnTo>
                  <a:pt x="583" y="277"/>
                </a:lnTo>
                <a:lnTo>
                  <a:pt x="564" y="278"/>
                </a:lnTo>
                <a:lnTo>
                  <a:pt x="560" y="278"/>
                </a:lnTo>
                <a:lnTo>
                  <a:pt x="557" y="280"/>
                </a:lnTo>
                <a:lnTo>
                  <a:pt x="554" y="284"/>
                </a:lnTo>
                <a:lnTo>
                  <a:pt x="552" y="287"/>
                </a:lnTo>
                <a:lnTo>
                  <a:pt x="549" y="295"/>
                </a:lnTo>
                <a:lnTo>
                  <a:pt x="545" y="302"/>
                </a:lnTo>
                <a:lnTo>
                  <a:pt x="529" y="318"/>
                </a:lnTo>
                <a:lnTo>
                  <a:pt x="515" y="335"/>
                </a:lnTo>
                <a:lnTo>
                  <a:pt x="502" y="354"/>
                </a:lnTo>
                <a:lnTo>
                  <a:pt x="490" y="376"/>
                </a:lnTo>
                <a:lnTo>
                  <a:pt x="484" y="387"/>
                </a:lnTo>
                <a:lnTo>
                  <a:pt x="480" y="398"/>
                </a:lnTo>
                <a:lnTo>
                  <a:pt x="475" y="410"/>
                </a:lnTo>
                <a:lnTo>
                  <a:pt x="471" y="422"/>
                </a:lnTo>
                <a:lnTo>
                  <a:pt x="469" y="434"/>
                </a:lnTo>
                <a:lnTo>
                  <a:pt x="467" y="445"/>
                </a:lnTo>
                <a:lnTo>
                  <a:pt x="465" y="457"/>
                </a:lnTo>
                <a:lnTo>
                  <a:pt x="464" y="468"/>
                </a:lnTo>
                <a:lnTo>
                  <a:pt x="465" y="478"/>
                </a:lnTo>
                <a:lnTo>
                  <a:pt x="468" y="488"/>
                </a:lnTo>
                <a:lnTo>
                  <a:pt x="471" y="498"/>
                </a:lnTo>
                <a:lnTo>
                  <a:pt x="475" y="510"/>
                </a:lnTo>
                <a:lnTo>
                  <a:pt x="481" y="522"/>
                </a:lnTo>
                <a:lnTo>
                  <a:pt x="486" y="535"/>
                </a:lnTo>
                <a:lnTo>
                  <a:pt x="494" y="547"/>
                </a:lnTo>
                <a:lnTo>
                  <a:pt x="502" y="559"/>
                </a:lnTo>
                <a:lnTo>
                  <a:pt x="510" y="570"/>
                </a:lnTo>
                <a:lnTo>
                  <a:pt x="520" y="581"/>
                </a:lnTo>
                <a:lnTo>
                  <a:pt x="530" y="591"/>
                </a:lnTo>
                <a:lnTo>
                  <a:pt x="540" y="600"/>
                </a:lnTo>
                <a:lnTo>
                  <a:pt x="551" y="607"/>
                </a:lnTo>
                <a:lnTo>
                  <a:pt x="562" y="612"/>
                </a:lnTo>
                <a:lnTo>
                  <a:pt x="568" y="614"/>
                </a:lnTo>
                <a:lnTo>
                  <a:pt x="573" y="615"/>
                </a:lnTo>
                <a:lnTo>
                  <a:pt x="579" y="616"/>
                </a:lnTo>
                <a:lnTo>
                  <a:pt x="584" y="616"/>
                </a:lnTo>
                <a:lnTo>
                  <a:pt x="594" y="615"/>
                </a:lnTo>
                <a:lnTo>
                  <a:pt x="602" y="613"/>
                </a:lnTo>
                <a:lnTo>
                  <a:pt x="610" y="609"/>
                </a:lnTo>
                <a:lnTo>
                  <a:pt x="617" y="604"/>
                </a:lnTo>
                <a:lnTo>
                  <a:pt x="625" y="600"/>
                </a:lnTo>
                <a:lnTo>
                  <a:pt x="632" y="596"/>
                </a:lnTo>
                <a:lnTo>
                  <a:pt x="641" y="593"/>
                </a:lnTo>
                <a:lnTo>
                  <a:pt x="651" y="592"/>
                </a:lnTo>
                <a:lnTo>
                  <a:pt x="653" y="614"/>
                </a:lnTo>
                <a:lnTo>
                  <a:pt x="654" y="645"/>
                </a:lnTo>
                <a:lnTo>
                  <a:pt x="654" y="653"/>
                </a:lnTo>
                <a:lnTo>
                  <a:pt x="655" y="660"/>
                </a:lnTo>
                <a:lnTo>
                  <a:pt x="658" y="667"/>
                </a:lnTo>
                <a:lnTo>
                  <a:pt x="660" y="672"/>
                </a:lnTo>
                <a:lnTo>
                  <a:pt x="663" y="677"/>
                </a:lnTo>
                <a:lnTo>
                  <a:pt x="666" y="681"/>
                </a:lnTo>
                <a:lnTo>
                  <a:pt x="672" y="683"/>
                </a:lnTo>
                <a:lnTo>
                  <a:pt x="677" y="684"/>
                </a:lnTo>
                <a:lnTo>
                  <a:pt x="687" y="684"/>
                </a:lnTo>
                <a:lnTo>
                  <a:pt x="697" y="684"/>
                </a:lnTo>
                <a:lnTo>
                  <a:pt x="703" y="684"/>
                </a:lnTo>
                <a:lnTo>
                  <a:pt x="708" y="685"/>
                </a:lnTo>
                <a:lnTo>
                  <a:pt x="714" y="687"/>
                </a:lnTo>
                <a:lnTo>
                  <a:pt x="720" y="689"/>
                </a:lnTo>
                <a:lnTo>
                  <a:pt x="726" y="692"/>
                </a:lnTo>
                <a:lnTo>
                  <a:pt x="732" y="696"/>
                </a:lnTo>
                <a:lnTo>
                  <a:pt x="738" y="701"/>
                </a:lnTo>
                <a:lnTo>
                  <a:pt x="743" y="706"/>
                </a:lnTo>
                <a:lnTo>
                  <a:pt x="749" y="712"/>
                </a:lnTo>
                <a:lnTo>
                  <a:pt x="754" y="717"/>
                </a:lnTo>
                <a:lnTo>
                  <a:pt x="759" y="724"/>
                </a:lnTo>
                <a:lnTo>
                  <a:pt x="763" y="731"/>
                </a:lnTo>
                <a:lnTo>
                  <a:pt x="765" y="738"/>
                </a:lnTo>
                <a:lnTo>
                  <a:pt x="769" y="746"/>
                </a:lnTo>
                <a:lnTo>
                  <a:pt x="770" y="756"/>
                </a:lnTo>
                <a:lnTo>
                  <a:pt x="771" y="765"/>
                </a:lnTo>
                <a:lnTo>
                  <a:pt x="770" y="773"/>
                </a:lnTo>
                <a:lnTo>
                  <a:pt x="769" y="779"/>
                </a:lnTo>
                <a:lnTo>
                  <a:pt x="766" y="784"/>
                </a:lnTo>
                <a:lnTo>
                  <a:pt x="764" y="787"/>
                </a:lnTo>
                <a:lnTo>
                  <a:pt x="761" y="790"/>
                </a:lnTo>
                <a:lnTo>
                  <a:pt x="759" y="794"/>
                </a:lnTo>
                <a:lnTo>
                  <a:pt x="758" y="797"/>
                </a:lnTo>
                <a:lnTo>
                  <a:pt x="758" y="801"/>
                </a:lnTo>
                <a:lnTo>
                  <a:pt x="758" y="809"/>
                </a:lnTo>
                <a:lnTo>
                  <a:pt x="759" y="818"/>
                </a:lnTo>
                <a:lnTo>
                  <a:pt x="760" y="825"/>
                </a:lnTo>
                <a:lnTo>
                  <a:pt x="761" y="831"/>
                </a:lnTo>
                <a:lnTo>
                  <a:pt x="765" y="844"/>
                </a:lnTo>
                <a:lnTo>
                  <a:pt x="771" y="856"/>
                </a:lnTo>
                <a:lnTo>
                  <a:pt x="774" y="866"/>
                </a:lnTo>
                <a:lnTo>
                  <a:pt x="777" y="875"/>
                </a:lnTo>
                <a:lnTo>
                  <a:pt x="772" y="882"/>
                </a:lnTo>
                <a:lnTo>
                  <a:pt x="769" y="889"/>
                </a:lnTo>
                <a:lnTo>
                  <a:pt x="765" y="897"/>
                </a:lnTo>
                <a:lnTo>
                  <a:pt x="762" y="904"/>
                </a:lnTo>
                <a:lnTo>
                  <a:pt x="760" y="912"/>
                </a:lnTo>
                <a:lnTo>
                  <a:pt x="759" y="922"/>
                </a:lnTo>
                <a:lnTo>
                  <a:pt x="758" y="932"/>
                </a:lnTo>
                <a:lnTo>
                  <a:pt x="758" y="943"/>
                </a:lnTo>
                <a:lnTo>
                  <a:pt x="758" y="956"/>
                </a:lnTo>
                <a:lnTo>
                  <a:pt x="760" y="967"/>
                </a:lnTo>
                <a:lnTo>
                  <a:pt x="762" y="978"/>
                </a:lnTo>
                <a:lnTo>
                  <a:pt x="765" y="986"/>
                </a:lnTo>
                <a:lnTo>
                  <a:pt x="770" y="994"/>
                </a:lnTo>
                <a:lnTo>
                  <a:pt x="774" y="1000"/>
                </a:lnTo>
                <a:lnTo>
                  <a:pt x="778" y="1006"/>
                </a:lnTo>
                <a:lnTo>
                  <a:pt x="784" y="1011"/>
                </a:lnTo>
                <a:lnTo>
                  <a:pt x="775" y="1026"/>
                </a:lnTo>
                <a:lnTo>
                  <a:pt x="769" y="1041"/>
                </a:lnTo>
                <a:lnTo>
                  <a:pt x="763" y="1054"/>
                </a:lnTo>
                <a:lnTo>
                  <a:pt x="759" y="1067"/>
                </a:lnTo>
                <a:lnTo>
                  <a:pt x="753" y="1080"/>
                </a:lnTo>
                <a:lnTo>
                  <a:pt x="747" y="1095"/>
                </a:lnTo>
                <a:lnTo>
                  <a:pt x="737" y="1110"/>
                </a:lnTo>
                <a:lnTo>
                  <a:pt x="723" y="1128"/>
                </a:lnTo>
                <a:lnTo>
                  <a:pt x="691" y="1122"/>
                </a:lnTo>
                <a:lnTo>
                  <a:pt x="681" y="1121"/>
                </a:lnTo>
                <a:lnTo>
                  <a:pt x="673" y="1119"/>
                </a:lnTo>
                <a:lnTo>
                  <a:pt x="665" y="1116"/>
                </a:lnTo>
                <a:lnTo>
                  <a:pt x="659" y="1113"/>
                </a:lnTo>
                <a:lnTo>
                  <a:pt x="653" y="1108"/>
                </a:lnTo>
                <a:lnTo>
                  <a:pt x="648" y="1103"/>
                </a:lnTo>
                <a:lnTo>
                  <a:pt x="642" y="1098"/>
                </a:lnTo>
                <a:lnTo>
                  <a:pt x="638" y="1092"/>
                </a:lnTo>
                <a:lnTo>
                  <a:pt x="627" y="1079"/>
                </a:lnTo>
                <a:lnTo>
                  <a:pt x="616" y="1067"/>
                </a:lnTo>
                <a:lnTo>
                  <a:pt x="609" y="1061"/>
                </a:lnTo>
                <a:lnTo>
                  <a:pt x="602" y="1056"/>
                </a:lnTo>
                <a:lnTo>
                  <a:pt x="594" y="1052"/>
                </a:lnTo>
                <a:lnTo>
                  <a:pt x="584" y="1048"/>
                </a:lnTo>
                <a:lnTo>
                  <a:pt x="554" y="1038"/>
                </a:lnTo>
                <a:lnTo>
                  <a:pt x="507" y="1018"/>
                </a:lnTo>
                <a:lnTo>
                  <a:pt x="483" y="1008"/>
                </a:lnTo>
                <a:lnTo>
                  <a:pt x="463" y="998"/>
                </a:lnTo>
                <a:lnTo>
                  <a:pt x="456" y="993"/>
                </a:lnTo>
                <a:lnTo>
                  <a:pt x="450" y="988"/>
                </a:lnTo>
                <a:lnTo>
                  <a:pt x="446" y="984"/>
                </a:lnTo>
                <a:lnTo>
                  <a:pt x="445" y="980"/>
                </a:lnTo>
                <a:lnTo>
                  <a:pt x="436" y="975"/>
                </a:lnTo>
                <a:lnTo>
                  <a:pt x="425" y="967"/>
                </a:lnTo>
                <a:lnTo>
                  <a:pt x="413" y="956"/>
                </a:lnTo>
                <a:lnTo>
                  <a:pt x="398" y="944"/>
                </a:lnTo>
                <a:lnTo>
                  <a:pt x="383" y="931"/>
                </a:lnTo>
                <a:lnTo>
                  <a:pt x="367" y="916"/>
                </a:lnTo>
                <a:lnTo>
                  <a:pt x="349" y="904"/>
                </a:lnTo>
                <a:lnTo>
                  <a:pt x="331" y="894"/>
                </a:lnTo>
                <a:lnTo>
                  <a:pt x="326" y="890"/>
                </a:lnTo>
                <a:lnTo>
                  <a:pt x="323" y="886"/>
                </a:lnTo>
                <a:lnTo>
                  <a:pt x="319" y="882"/>
                </a:lnTo>
                <a:lnTo>
                  <a:pt x="318" y="877"/>
                </a:lnTo>
                <a:lnTo>
                  <a:pt x="318" y="872"/>
                </a:lnTo>
                <a:lnTo>
                  <a:pt x="318" y="867"/>
                </a:lnTo>
                <a:lnTo>
                  <a:pt x="319" y="860"/>
                </a:lnTo>
                <a:lnTo>
                  <a:pt x="321" y="854"/>
                </a:lnTo>
                <a:lnTo>
                  <a:pt x="324" y="842"/>
                </a:lnTo>
                <a:lnTo>
                  <a:pt x="327" y="829"/>
                </a:lnTo>
                <a:lnTo>
                  <a:pt x="328" y="822"/>
                </a:lnTo>
                <a:lnTo>
                  <a:pt x="328" y="815"/>
                </a:lnTo>
                <a:lnTo>
                  <a:pt x="327" y="808"/>
                </a:lnTo>
                <a:lnTo>
                  <a:pt x="325" y="801"/>
                </a:lnTo>
                <a:lnTo>
                  <a:pt x="318" y="795"/>
                </a:lnTo>
                <a:lnTo>
                  <a:pt x="310" y="789"/>
                </a:lnTo>
                <a:lnTo>
                  <a:pt x="300" y="784"/>
                </a:lnTo>
                <a:lnTo>
                  <a:pt x="290" y="778"/>
                </a:lnTo>
                <a:lnTo>
                  <a:pt x="279" y="772"/>
                </a:lnTo>
                <a:lnTo>
                  <a:pt x="270" y="765"/>
                </a:lnTo>
                <a:lnTo>
                  <a:pt x="266" y="761"/>
                </a:lnTo>
                <a:lnTo>
                  <a:pt x="263" y="757"/>
                </a:lnTo>
                <a:lnTo>
                  <a:pt x="260" y="751"/>
                </a:lnTo>
                <a:lnTo>
                  <a:pt x="259" y="745"/>
                </a:lnTo>
                <a:lnTo>
                  <a:pt x="255" y="735"/>
                </a:lnTo>
                <a:lnTo>
                  <a:pt x="251" y="725"/>
                </a:lnTo>
                <a:lnTo>
                  <a:pt x="249" y="716"/>
                </a:lnTo>
                <a:lnTo>
                  <a:pt x="248" y="707"/>
                </a:lnTo>
                <a:lnTo>
                  <a:pt x="246" y="697"/>
                </a:lnTo>
                <a:lnTo>
                  <a:pt x="243" y="689"/>
                </a:lnTo>
                <a:lnTo>
                  <a:pt x="238" y="681"/>
                </a:lnTo>
                <a:lnTo>
                  <a:pt x="232" y="672"/>
                </a:lnTo>
                <a:lnTo>
                  <a:pt x="211" y="635"/>
                </a:lnTo>
                <a:lnTo>
                  <a:pt x="192" y="603"/>
                </a:lnTo>
                <a:lnTo>
                  <a:pt x="174" y="570"/>
                </a:lnTo>
                <a:lnTo>
                  <a:pt x="153" y="530"/>
                </a:lnTo>
                <a:lnTo>
                  <a:pt x="146" y="521"/>
                </a:lnTo>
                <a:lnTo>
                  <a:pt x="138" y="513"/>
                </a:lnTo>
                <a:lnTo>
                  <a:pt x="134" y="508"/>
                </a:lnTo>
                <a:lnTo>
                  <a:pt x="129" y="502"/>
                </a:lnTo>
                <a:lnTo>
                  <a:pt x="124" y="496"/>
                </a:lnTo>
                <a:lnTo>
                  <a:pt x="120" y="487"/>
                </a:lnTo>
                <a:lnTo>
                  <a:pt x="116" y="478"/>
                </a:lnTo>
                <a:lnTo>
                  <a:pt x="113" y="467"/>
                </a:lnTo>
                <a:lnTo>
                  <a:pt x="109" y="458"/>
                </a:lnTo>
                <a:lnTo>
                  <a:pt x="103" y="448"/>
                </a:lnTo>
                <a:lnTo>
                  <a:pt x="98" y="440"/>
                </a:lnTo>
                <a:lnTo>
                  <a:pt x="90" y="432"/>
                </a:lnTo>
                <a:lnTo>
                  <a:pt x="82" y="425"/>
                </a:lnTo>
                <a:lnTo>
                  <a:pt x="72" y="419"/>
                </a:lnTo>
                <a:lnTo>
                  <a:pt x="52" y="411"/>
                </a:lnTo>
                <a:lnTo>
                  <a:pt x="31" y="403"/>
                </a:lnTo>
                <a:lnTo>
                  <a:pt x="26" y="400"/>
                </a:lnTo>
                <a:lnTo>
                  <a:pt x="22" y="397"/>
                </a:lnTo>
                <a:lnTo>
                  <a:pt x="17" y="393"/>
                </a:lnTo>
                <a:lnTo>
                  <a:pt x="13" y="389"/>
                </a:lnTo>
                <a:lnTo>
                  <a:pt x="9" y="384"/>
                </a:lnTo>
                <a:lnTo>
                  <a:pt x="5" y="378"/>
                </a:lnTo>
                <a:lnTo>
                  <a:pt x="2" y="372"/>
                </a:lnTo>
                <a:lnTo>
                  <a:pt x="0" y="363"/>
                </a:lnTo>
                <a:lnTo>
                  <a:pt x="20" y="345"/>
                </a:lnTo>
                <a:lnTo>
                  <a:pt x="15" y="331"/>
                </a:lnTo>
                <a:lnTo>
                  <a:pt x="14" y="317"/>
                </a:lnTo>
                <a:lnTo>
                  <a:pt x="13" y="301"/>
                </a:lnTo>
                <a:lnTo>
                  <a:pt x="13" y="284"/>
                </a:lnTo>
                <a:lnTo>
                  <a:pt x="13" y="276"/>
                </a:lnTo>
                <a:lnTo>
                  <a:pt x="14" y="270"/>
                </a:lnTo>
                <a:lnTo>
                  <a:pt x="16" y="264"/>
                </a:lnTo>
                <a:lnTo>
                  <a:pt x="19" y="259"/>
                </a:lnTo>
                <a:lnTo>
                  <a:pt x="21" y="254"/>
                </a:lnTo>
                <a:lnTo>
                  <a:pt x="24" y="249"/>
                </a:lnTo>
                <a:lnTo>
                  <a:pt x="28" y="246"/>
                </a:lnTo>
                <a:lnTo>
                  <a:pt x="32" y="243"/>
                </a:lnTo>
                <a:lnTo>
                  <a:pt x="41" y="237"/>
                </a:lnTo>
                <a:lnTo>
                  <a:pt x="49" y="231"/>
                </a:lnTo>
                <a:lnTo>
                  <a:pt x="58" y="224"/>
                </a:lnTo>
                <a:lnTo>
                  <a:pt x="66" y="216"/>
                </a:lnTo>
                <a:lnTo>
                  <a:pt x="72" y="222"/>
                </a:lnTo>
                <a:lnTo>
                  <a:pt x="79" y="228"/>
                </a:lnTo>
                <a:lnTo>
                  <a:pt x="83" y="235"/>
                </a:lnTo>
                <a:lnTo>
                  <a:pt x="86" y="240"/>
                </a:lnTo>
                <a:lnTo>
                  <a:pt x="86" y="252"/>
                </a:lnTo>
                <a:lnTo>
                  <a:pt x="86" y="265"/>
                </a:lnTo>
                <a:lnTo>
                  <a:pt x="95" y="272"/>
                </a:lnTo>
                <a:lnTo>
                  <a:pt x="116" y="287"/>
                </a:lnTo>
                <a:lnTo>
                  <a:pt x="128" y="294"/>
                </a:lnTo>
                <a:lnTo>
                  <a:pt x="139" y="301"/>
                </a:lnTo>
                <a:lnTo>
                  <a:pt x="148" y="306"/>
                </a:lnTo>
                <a:lnTo>
                  <a:pt x="153" y="308"/>
                </a:lnTo>
                <a:lnTo>
                  <a:pt x="158" y="307"/>
                </a:lnTo>
                <a:lnTo>
                  <a:pt x="164" y="303"/>
                </a:lnTo>
                <a:lnTo>
                  <a:pt x="169" y="298"/>
                </a:lnTo>
                <a:lnTo>
                  <a:pt x="174" y="291"/>
                </a:lnTo>
                <a:lnTo>
                  <a:pt x="179" y="284"/>
                </a:lnTo>
                <a:lnTo>
                  <a:pt x="182" y="277"/>
                </a:lnTo>
                <a:lnTo>
                  <a:pt x="184" y="271"/>
                </a:lnTo>
                <a:lnTo>
                  <a:pt x="185" y="265"/>
                </a:lnTo>
                <a:lnTo>
                  <a:pt x="187" y="259"/>
                </a:lnTo>
                <a:lnTo>
                  <a:pt x="188" y="251"/>
                </a:lnTo>
                <a:lnTo>
                  <a:pt x="190" y="244"/>
                </a:lnTo>
                <a:lnTo>
                  <a:pt x="193" y="238"/>
                </a:lnTo>
                <a:lnTo>
                  <a:pt x="201" y="225"/>
                </a:lnTo>
                <a:lnTo>
                  <a:pt x="212" y="213"/>
                </a:lnTo>
                <a:lnTo>
                  <a:pt x="222" y="202"/>
                </a:lnTo>
                <a:lnTo>
                  <a:pt x="234" y="192"/>
                </a:lnTo>
                <a:lnTo>
                  <a:pt x="244" y="184"/>
                </a:lnTo>
                <a:lnTo>
                  <a:pt x="252" y="179"/>
                </a:lnTo>
                <a:lnTo>
                  <a:pt x="270" y="170"/>
                </a:lnTo>
                <a:lnTo>
                  <a:pt x="289" y="160"/>
                </a:lnTo>
                <a:lnTo>
                  <a:pt x="306" y="150"/>
                </a:lnTo>
                <a:lnTo>
                  <a:pt x="323" y="138"/>
                </a:lnTo>
                <a:lnTo>
                  <a:pt x="330" y="133"/>
                </a:lnTo>
                <a:lnTo>
                  <a:pt x="337" y="126"/>
                </a:lnTo>
                <a:lnTo>
                  <a:pt x="344" y="120"/>
                </a:lnTo>
                <a:lnTo>
                  <a:pt x="348" y="113"/>
                </a:lnTo>
                <a:lnTo>
                  <a:pt x="352" y="106"/>
                </a:lnTo>
                <a:lnTo>
                  <a:pt x="356" y="98"/>
                </a:lnTo>
                <a:lnTo>
                  <a:pt x="358" y="90"/>
                </a:lnTo>
                <a:lnTo>
                  <a:pt x="358" y="80"/>
                </a:lnTo>
                <a:lnTo>
                  <a:pt x="357" y="70"/>
                </a:lnTo>
                <a:lnTo>
                  <a:pt x="355" y="58"/>
                </a:lnTo>
                <a:lnTo>
                  <a:pt x="350" y="46"/>
                </a:lnTo>
                <a:lnTo>
                  <a:pt x="345" y="34"/>
                </a:lnTo>
                <a:lnTo>
                  <a:pt x="336" y="12"/>
                </a:lnTo>
                <a:lnTo>
                  <a:pt x="331" y="0"/>
                </a:lnTo>
                <a:lnTo>
                  <a:pt x="347" y="5"/>
                </a:lnTo>
                <a:lnTo>
                  <a:pt x="360" y="11"/>
                </a:lnTo>
                <a:lnTo>
                  <a:pt x="374" y="18"/>
                </a:lnTo>
                <a:lnTo>
                  <a:pt x="386" y="26"/>
                </a:lnTo>
                <a:lnTo>
                  <a:pt x="398" y="35"/>
                </a:lnTo>
                <a:lnTo>
                  <a:pt x="411" y="44"/>
                </a:lnTo>
                <a:lnTo>
                  <a:pt x="422" y="53"/>
                </a:lnTo>
                <a:lnTo>
                  <a:pt x="431" y="62"/>
                </a:lnTo>
                <a:lnTo>
                  <a:pt x="438" y="68"/>
                </a:lnTo>
                <a:lnTo>
                  <a:pt x="445" y="75"/>
                </a:lnTo>
                <a:lnTo>
                  <a:pt x="451" y="82"/>
                </a:lnTo>
                <a:lnTo>
                  <a:pt x="457" y="91"/>
                </a:lnTo>
                <a:lnTo>
                  <a:pt x="467" y="107"/>
                </a:lnTo>
                <a:lnTo>
                  <a:pt x="476" y="123"/>
                </a:lnTo>
                <a:lnTo>
                  <a:pt x="481" y="130"/>
                </a:lnTo>
                <a:lnTo>
                  <a:pt x="486" y="137"/>
                </a:lnTo>
                <a:lnTo>
                  <a:pt x="493" y="144"/>
                </a:lnTo>
                <a:lnTo>
                  <a:pt x="498" y="150"/>
                </a:lnTo>
                <a:lnTo>
                  <a:pt x="506" y="154"/>
                </a:lnTo>
                <a:lnTo>
                  <a:pt x="513" y="158"/>
                </a:lnTo>
                <a:lnTo>
                  <a:pt x="521" y="160"/>
                </a:lnTo>
                <a:lnTo>
                  <a:pt x="531" y="161"/>
                </a:lnTo>
                <a:lnTo>
                  <a:pt x="541" y="160"/>
                </a:lnTo>
                <a:lnTo>
                  <a:pt x="551" y="159"/>
                </a:lnTo>
                <a:lnTo>
                  <a:pt x="561" y="157"/>
                </a:lnTo>
                <a:lnTo>
                  <a:pt x="571" y="155"/>
                </a:lnTo>
                <a:lnTo>
                  <a:pt x="581" y="152"/>
                </a:lnTo>
                <a:lnTo>
                  <a:pt x="591" y="150"/>
                </a:lnTo>
                <a:lnTo>
                  <a:pt x="601" y="149"/>
                </a:lnTo>
                <a:lnTo>
                  <a:pt x="610" y="148"/>
                </a:lnTo>
                <a:lnTo>
                  <a:pt x="617" y="149"/>
                </a:lnTo>
                <a:lnTo>
                  <a:pt x="624" y="151"/>
                </a:lnTo>
                <a:lnTo>
                  <a:pt x="628" y="151"/>
                </a:lnTo>
                <a:lnTo>
                  <a:pt x="631" y="151"/>
                </a:lnTo>
                <a:lnTo>
                  <a:pt x="635" y="150"/>
                </a:lnTo>
                <a:lnTo>
                  <a:pt x="638" y="148"/>
                </a:lnTo>
                <a:lnTo>
                  <a:pt x="640" y="156"/>
                </a:lnTo>
                <a:lnTo>
                  <a:pt x="648" y="167"/>
                </a:lnTo>
                <a:lnTo>
                  <a:pt x="654" y="177"/>
                </a:lnTo>
                <a:lnTo>
                  <a:pt x="658" y="185"/>
                </a:lnTo>
                <a:lnTo>
                  <a:pt x="657" y="188"/>
                </a:lnTo>
                <a:lnTo>
                  <a:pt x="655" y="191"/>
                </a:lnTo>
                <a:lnTo>
                  <a:pt x="654" y="193"/>
                </a:lnTo>
                <a:lnTo>
                  <a:pt x="652" y="195"/>
                </a:lnTo>
                <a:lnTo>
                  <a:pt x="647" y="200"/>
                </a:lnTo>
                <a:lnTo>
                  <a:pt x="641" y="203"/>
                </a:lnTo>
                <a:lnTo>
                  <a:pt x="635" y="206"/>
                </a:lnTo>
                <a:lnTo>
                  <a:pt x="629" y="209"/>
                </a:lnTo>
                <a:lnTo>
                  <a:pt x="627" y="210"/>
                </a:lnTo>
                <a:lnTo>
                  <a:pt x="626" y="212"/>
                </a:lnTo>
                <a:lnTo>
                  <a:pt x="625" y="214"/>
                </a:lnTo>
                <a:lnTo>
                  <a:pt x="624" y="216"/>
                </a:lnTo>
                <a:lnTo>
                  <a:pt x="625" y="226"/>
                </a:lnTo>
                <a:lnTo>
                  <a:pt x="626" y="234"/>
                </a:lnTo>
                <a:lnTo>
                  <a:pt x="627" y="240"/>
                </a:lnTo>
                <a:lnTo>
                  <a:pt x="629" y="244"/>
                </a:lnTo>
                <a:lnTo>
                  <a:pt x="636" y="251"/>
                </a:lnTo>
                <a:lnTo>
                  <a:pt x="644" y="25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056" name="Freeform 8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3795714" y="4225925"/>
            <a:ext cx="261937" cy="1130300"/>
          </a:xfrm>
          <a:custGeom>
            <a:avLst/>
            <a:gdLst>
              <a:gd name="T0" fmla="*/ 418 w 598"/>
              <a:gd name="T1" fmla="*/ 2021 h 2158"/>
              <a:gd name="T2" fmla="*/ 342 w 598"/>
              <a:gd name="T3" fmla="*/ 1955 h 2158"/>
              <a:gd name="T4" fmla="*/ 339 w 598"/>
              <a:gd name="T5" fmla="*/ 1893 h 2158"/>
              <a:gd name="T6" fmla="*/ 345 w 598"/>
              <a:gd name="T7" fmla="*/ 1843 h 2158"/>
              <a:gd name="T8" fmla="*/ 362 w 598"/>
              <a:gd name="T9" fmla="*/ 1791 h 2158"/>
              <a:gd name="T10" fmla="*/ 354 w 598"/>
              <a:gd name="T11" fmla="*/ 1740 h 2158"/>
              <a:gd name="T12" fmla="*/ 332 w 598"/>
              <a:gd name="T13" fmla="*/ 1683 h 2158"/>
              <a:gd name="T14" fmla="*/ 303 w 598"/>
              <a:gd name="T15" fmla="*/ 1581 h 2158"/>
              <a:gd name="T16" fmla="*/ 226 w 598"/>
              <a:gd name="T17" fmla="*/ 1460 h 2158"/>
              <a:gd name="T18" fmla="*/ 206 w 598"/>
              <a:gd name="T19" fmla="*/ 1381 h 2158"/>
              <a:gd name="T20" fmla="*/ 217 w 598"/>
              <a:gd name="T21" fmla="*/ 1299 h 2158"/>
              <a:gd name="T22" fmla="*/ 208 w 598"/>
              <a:gd name="T23" fmla="*/ 1235 h 2158"/>
              <a:gd name="T24" fmla="*/ 185 w 598"/>
              <a:gd name="T25" fmla="*/ 1165 h 2158"/>
              <a:gd name="T26" fmla="*/ 211 w 598"/>
              <a:gd name="T27" fmla="*/ 1123 h 2158"/>
              <a:gd name="T28" fmla="*/ 195 w 598"/>
              <a:gd name="T29" fmla="*/ 1082 h 2158"/>
              <a:gd name="T30" fmla="*/ 211 w 598"/>
              <a:gd name="T31" fmla="*/ 1025 h 2158"/>
              <a:gd name="T32" fmla="*/ 210 w 598"/>
              <a:gd name="T33" fmla="*/ 993 h 2158"/>
              <a:gd name="T34" fmla="*/ 187 w 598"/>
              <a:gd name="T35" fmla="*/ 927 h 2158"/>
              <a:gd name="T36" fmla="*/ 136 w 598"/>
              <a:gd name="T37" fmla="*/ 852 h 2158"/>
              <a:gd name="T38" fmla="*/ 134 w 598"/>
              <a:gd name="T39" fmla="*/ 686 h 2158"/>
              <a:gd name="T40" fmla="*/ 183 w 598"/>
              <a:gd name="T41" fmla="*/ 584 h 2158"/>
              <a:gd name="T42" fmla="*/ 189 w 598"/>
              <a:gd name="T43" fmla="*/ 522 h 2158"/>
              <a:gd name="T44" fmla="*/ 160 w 598"/>
              <a:gd name="T45" fmla="*/ 459 h 2158"/>
              <a:gd name="T46" fmla="*/ 182 w 598"/>
              <a:gd name="T47" fmla="*/ 406 h 2158"/>
              <a:gd name="T48" fmla="*/ 229 w 598"/>
              <a:gd name="T49" fmla="*/ 346 h 2158"/>
              <a:gd name="T50" fmla="*/ 200 w 598"/>
              <a:gd name="T51" fmla="*/ 308 h 2158"/>
              <a:gd name="T52" fmla="*/ 148 w 598"/>
              <a:gd name="T53" fmla="*/ 222 h 2158"/>
              <a:gd name="T54" fmla="*/ 129 w 598"/>
              <a:gd name="T55" fmla="*/ 125 h 2158"/>
              <a:gd name="T56" fmla="*/ 91 w 598"/>
              <a:gd name="T57" fmla="*/ 37 h 2158"/>
              <a:gd name="T58" fmla="*/ 0 w 598"/>
              <a:gd name="T59" fmla="*/ 44 h 2158"/>
              <a:gd name="T60" fmla="*/ 31 w 598"/>
              <a:gd name="T61" fmla="*/ 200 h 2158"/>
              <a:gd name="T62" fmla="*/ 42 w 598"/>
              <a:gd name="T63" fmla="*/ 304 h 2158"/>
              <a:gd name="T64" fmla="*/ 27 w 598"/>
              <a:gd name="T65" fmla="*/ 374 h 2158"/>
              <a:gd name="T66" fmla="*/ 52 w 598"/>
              <a:gd name="T67" fmla="*/ 524 h 2158"/>
              <a:gd name="T68" fmla="*/ 46 w 598"/>
              <a:gd name="T69" fmla="*/ 649 h 2158"/>
              <a:gd name="T70" fmla="*/ 36 w 598"/>
              <a:gd name="T71" fmla="*/ 718 h 2158"/>
              <a:gd name="T72" fmla="*/ 52 w 598"/>
              <a:gd name="T73" fmla="*/ 767 h 2158"/>
              <a:gd name="T74" fmla="*/ 64 w 598"/>
              <a:gd name="T75" fmla="*/ 871 h 2158"/>
              <a:gd name="T76" fmla="*/ 81 w 598"/>
              <a:gd name="T77" fmla="*/ 913 h 2158"/>
              <a:gd name="T78" fmla="*/ 73 w 598"/>
              <a:gd name="T79" fmla="*/ 1045 h 2158"/>
              <a:gd name="T80" fmla="*/ 63 w 598"/>
              <a:gd name="T81" fmla="*/ 1152 h 2158"/>
              <a:gd name="T82" fmla="*/ 40 w 598"/>
              <a:gd name="T83" fmla="*/ 1188 h 2158"/>
              <a:gd name="T84" fmla="*/ 60 w 598"/>
              <a:gd name="T85" fmla="*/ 1258 h 2158"/>
              <a:gd name="T86" fmla="*/ 106 w 598"/>
              <a:gd name="T87" fmla="*/ 1343 h 2158"/>
              <a:gd name="T88" fmla="*/ 93 w 598"/>
              <a:gd name="T89" fmla="*/ 1396 h 2158"/>
              <a:gd name="T90" fmla="*/ 106 w 598"/>
              <a:gd name="T91" fmla="*/ 1449 h 2158"/>
              <a:gd name="T92" fmla="*/ 164 w 598"/>
              <a:gd name="T93" fmla="*/ 1467 h 2158"/>
              <a:gd name="T94" fmla="*/ 209 w 598"/>
              <a:gd name="T95" fmla="*/ 1621 h 2158"/>
              <a:gd name="T96" fmla="*/ 227 w 598"/>
              <a:gd name="T97" fmla="*/ 1709 h 2158"/>
              <a:gd name="T98" fmla="*/ 151 w 598"/>
              <a:gd name="T99" fmla="*/ 1749 h 2158"/>
              <a:gd name="T100" fmla="*/ 207 w 598"/>
              <a:gd name="T101" fmla="*/ 1776 h 2158"/>
              <a:gd name="T102" fmla="*/ 250 w 598"/>
              <a:gd name="T103" fmla="*/ 1820 h 2158"/>
              <a:gd name="T104" fmla="*/ 275 w 598"/>
              <a:gd name="T105" fmla="*/ 1871 h 2158"/>
              <a:gd name="T106" fmla="*/ 308 w 598"/>
              <a:gd name="T107" fmla="*/ 1961 h 2158"/>
              <a:gd name="T108" fmla="*/ 359 w 598"/>
              <a:gd name="T109" fmla="*/ 2013 h 2158"/>
              <a:gd name="T110" fmla="*/ 393 w 598"/>
              <a:gd name="T111" fmla="*/ 2048 h 2158"/>
              <a:gd name="T112" fmla="*/ 424 w 598"/>
              <a:gd name="T113" fmla="*/ 2074 h 2158"/>
              <a:gd name="T114" fmla="*/ 465 w 598"/>
              <a:gd name="T115" fmla="*/ 2110 h 2158"/>
              <a:gd name="T116" fmla="*/ 519 w 598"/>
              <a:gd name="T117" fmla="*/ 2140 h 2158"/>
              <a:gd name="T118" fmla="*/ 538 w 598"/>
              <a:gd name="T119" fmla="*/ 2151 h 2158"/>
              <a:gd name="T120" fmla="*/ 586 w 598"/>
              <a:gd name="T121" fmla="*/ 2098 h 2158"/>
              <a:gd name="T122" fmla="*/ 591 w 598"/>
              <a:gd name="T123" fmla="*/ 2071 h 2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98" h="2158">
                <a:moveTo>
                  <a:pt x="491" y="2046"/>
                </a:moveTo>
                <a:lnTo>
                  <a:pt x="480" y="2045"/>
                </a:lnTo>
                <a:lnTo>
                  <a:pt x="469" y="2043"/>
                </a:lnTo>
                <a:lnTo>
                  <a:pt x="456" y="2039"/>
                </a:lnTo>
                <a:lnTo>
                  <a:pt x="444" y="2034"/>
                </a:lnTo>
                <a:lnTo>
                  <a:pt x="431" y="2028"/>
                </a:lnTo>
                <a:lnTo>
                  <a:pt x="418" y="2021"/>
                </a:lnTo>
                <a:lnTo>
                  <a:pt x="405" y="2013"/>
                </a:lnTo>
                <a:lnTo>
                  <a:pt x="392" y="2003"/>
                </a:lnTo>
                <a:lnTo>
                  <a:pt x="379" y="1994"/>
                </a:lnTo>
                <a:lnTo>
                  <a:pt x="368" y="1985"/>
                </a:lnTo>
                <a:lnTo>
                  <a:pt x="357" y="1976"/>
                </a:lnTo>
                <a:lnTo>
                  <a:pt x="349" y="1966"/>
                </a:lnTo>
                <a:lnTo>
                  <a:pt x="342" y="1955"/>
                </a:lnTo>
                <a:lnTo>
                  <a:pt x="337" y="1946"/>
                </a:lnTo>
                <a:lnTo>
                  <a:pt x="333" y="1937"/>
                </a:lnTo>
                <a:lnTo>
                  <a:pt x="332" y="1929"/>
                </a:lnTo>
                <a:lnTo>
                  <a:pt x="332" y="1919"/>
                </a:lnTo>
                <a:lnTo>
                  <a:pt x="333" y="1909"/>
                </a:lnTo>
                <a:lnTo>
                  <a:pt x="336" y="1900"/>
                </a:lnTo>
                <a:lnTo>
                  <a:pt x="339" y="1893"/>
                </a:lnTo>
                <a:lnTo>
                  <a:pt x="341" y="1887"/>
                </a:lnTo>
                <a:lnTo>
                  <a:pt x="343" y="1880"/>
                </a:lnTo>
                <a:lnTo>
                  <a:pt x="344" y="1874"/>
                </a:lnTo>
                <a:lnTo>
                  <a:pt x="345" y="1868"/>
                </a:lnTo>
                <a:lnTo>
                  <a:pt x="345" y="1863"/>
                </a:lnTo>
                <a:lnTo>
                  <a:pt x="345" y="1855"/>
                </a:lnTo>
                <a:lnTo>
                  <a:pt x="345" y="1843"/>
                </a:lnTo>
                <a:lnTo>
                  <a:pt x="345" y="1824"/>
                </a:lnTo>
                <a:lnTo>
                  <a:pt x="345" y="1818"/>
                </a:lnTo>
                <a:lnTo>
                  <a:pt x="348" y="1812"/>
                </a:lnTo>
                <a:lnTo>
                  <a:pt x="351" y="1807"/>
                </a:lnTo>
                <a:lnTo>
                  <a:pt x="355" y="1802"/>
                </a:lnTo>
                <a:lnTo>
                  <a:pt x="359" y="1797"/>
                </a:lnTo>
                <a:lnTo>
                  <a:pt x="362" y="1791"/>
                </a:lnTo>
                <a:lnTo>
                  <a:pt x="364" y="1783"/>
                </a:lnTo>
                <a:lnTo>
                  <a:pt x="365" y="1775"/>
                </a:lnTo>
                <a:lnTo>
                  <a:pt x="364" y="1768"/>
                </a:lnTo>
                <a:lnTo>
                  <a:pt x="363" y="1762"/>
                </a:lnTo>
                <a:lnTo>
                  <a:pt x="362" y="1756"/>
                </a:lnTo>
                <a:lnTo>
                  <a:pt x="360" y="1750"/>
                </a:lnTo>
                <a:lnTo>
                  <a:pt x="354" y="1740"/>
                </a:lnTo>
                <a:lnTo>
                  <a:pt x="349" y="1728"/>
                </a:lnTo>
                <a:lnTo>
                  <a:pt x="342" y="1718"/>
                </a:lnTo>
                <a:lnTo>
                  <a:pt x="337" y="1707"/>
                </a:lnTo>
                <a:lnTo>
                  <a:pt x="334" y="1702"/>
                </a:lnTo>
                <a:lnTo>
                  <a:pt x="333" y="1696"/>
                </a:lnTo>
                <a:lnTo>
                  <a:pt x="332" y="1690"/>
                </a:lnTo>
                <a:lnTo>
                  <a:pt x="332" y="1683"/>
                </a:lnTo>
                <a:lnTo>
                  <a:pt x="331" y="1670"/>
                </a:lnTo>
                <a:lnTo>
                  <a:pt x="330" y="1659"/>
                </a:lnTo>
                <a:lnTo>
                  <a:pt x="329" y="1648"/>
                </a:lnTo>
                <a:lnTo>
                  <a:pt x="327" y="1638"/>
                </a:lnTo>
                <a:lnTo>
                  <a:pt x="320" y="1617"/>
                </a:lnTo>
                <a:lnTo>
                  <a:pt x="312" y="1599"/>
                </a:lnTo>
                <a:lnTo>
                  <a:pt x="303" y="1581"/>
                </a:lnTo>
                <a:lnTo>
                  <a:pt x="292" y="1563"/>
                </a:lnTo>
                <a:lnTo>
                  <a:pt x="281" y="1547"/>
                </a:lnTo>
                <a:lnTo>
                  <a:pt x="269" y="1530"/>
                </a:lnTo>
                <a:lnTo>
                  <a:pt x="256" y="1514"/>
                </a:lnTo>
                <a:lnTo>
                  <a:pt x="245" y="1496"/>
                </a:lnTo>
                <a:lnTo>
                  <a:pt x="235" y="1478"/>
                </a:lnTo>
                <a:lnTo>
                  <a:pt x="226" y="1460"/>
                </a:lnTo>
                <a:lnTo>
                  <a:pt x="221" y="1449"/>
                </a:lnTo>
                <a:lnTo>
                  <a:pt x="217" y="1439"/>
                </a:lnTo>
                <a:lnTo>
                  <a:pt x="214" y="1428"/>
                </a:lnTo>
                <a:lnTo>
                  <a:pt x="210" y="1417"/>
                </a:lnTo>
                <a:lnTo>
                  <a:pt x="208" y="1406"/>
                </a:lnTo>
                <a:lnTo>
                  <a:pt x="207" y="1393"/>
                </a:lnTo>
                <a:lnTo>
                  <a:pt x="206" y="1381"/>
                </a:lnTo>
                <a:lnTo>
                  <a:pt x="206" y="1368"/>
                </a:lnTo>
                <a:lnTo>
                  <a:pt x="206" y="1355"/>
                </a:lnTo>
                <a:lnTo>
                  <a:pt x="207" y="1342"/>
                </a:lnTo>
                <a:lnTo>
                  <a:pt x="209" y="1331"/>
                </a:lnTo>
                <a:lnTo>
                  <a:pt x="213" y="1320"/>
                </a:lnTo>
                <a:lnTo>
                  <a:pt x="215" y="1309"/>
                </a:lnTo>
                <a:lnTo>
                  <a:pt x="217" y="1299"/>
                </a:lnTo>
                <a:lnTo>
                  <a:pt x="218" y="1287"/>
                </a:lnTo>
                <a:lnTo>
                  <a:pt x="219" y="1276"/>
                </a:lnTo>
                <a:lnTo>
                  <a:pt x="218" y="1268"/>
                </a:lnTo>
                <a:lnTo>
                  <a:pt x="217" y="1261"/>
                </a:lnTo>
                <a:lnTo>
                  <a:pt x="216" y="1254"/>
                </a:lnTo>
                <a:lnTo>
                  <a:pt x="214" y="1248"/>
                </a:lnTo>
                <a:lnTo>
                  <a:pt x="208" y="1235"/>
                </a:lnTo>
                <a:lnTo>
                  <a:pt x="203" y="1223"/>
                </a:lnTo>
                <a:lnTo>
                  <a:pt x="196" y="1210"/>
                </a:lnTo>
                <a:lnTo>
                  <a:pt x="191" y="1197"/>
                </a:lnTo>
                <a:lnTo>
                  <a:pt x="188" y="1190"/>
                </a:lnTo>
                <a:lnTo>
                  <a:pt x="187" y="1183"/>
                </a:lnTo>
                <a:lnTo>
                  <a:pt x="186" y="1174"/>
                </a:lnTo>
                <a:lnTo>
                  <a:pt x="185" y="1165"/>
                </a:lnTo>
                <a:lnTo>
                  <a:pt x="186" y="1158"/>
                </a:lnTo>
                <a:lnTo>
                  <a:pt x="189" y="1152"/>
                </a:lnTo>
                <a:lnTo>
                  <a:pt x="194" y="1146"/>
                </a:lnTo>
                <a:lnTo>
                  <a:pt x="199" y="1141"/>
                </a:lnTo>
                <a:lnTo>
                  <a:pt x="204" y="1135"/>
                </a:lnTo>
                <a:lnTo>
                  <a:pt x="208" y="1129"/>
                </a:lnTo>
                <a:lnTo>
                  <a:pt x="211" y="1123"/>
                </a:lnTo>
                <a:lnTo>
                  <a:pt x="213" y="1115"/>
                </a:lnTo>
                <a:lnTo>
                  <a:pt x="211" y="1109"/>
                </a:lnTo>
                <a:lnTo>
                  <a:pt x="209" y="1103"/>
                </a:lnTo>
                <a:lnTo>
                  <a:pt x="206" y="1097"/>
                </a:lnTo>
                <a:lnTo>
                  <a:pt x="203" y="1092"/>
                </a:lnTo>
                <a:lnTo>
                  <a:pt x="198" y="1087"/>
                </a:lnTo>
                <a:lnTo>
                  <a:pt x="195" y="1082"/>
                </a:lnTo>
                <a:lnTo>
                  <a:pt x="193" y="1078"/>
                </a:lnTo>
                <a:lnTo>
                  <a:pt x="192" y="1073"/>
                </a:lnTo>
                <a:lnTo>
                  <a:pt x="195" y="1064"/>
                </a:lnTo>
                <a:lnTo>
                  <a:pt x="203" y="1049"/>
                </a:lnTo>
                <a:lnTo>
                  <a:pt x="206" y="1041"/>
                </a:lnTo>
                <a:lnTo>
                  <a:pt x="209" y="1033"/>
                </a:lnTo>
                <a:lnTo>
                  <a:pt x="211" y="1025"/>
                </a:lnTo>
                <a:lnTo>
                  <a:pt x="213" y="1018"/>
                </a:lnTo>
                <a:lnTo>
                  <a:pt x="203" y="1018"/>
                </a:lnTo>
                <a:lnTo>
                  <a:pt x="192" y="1018"/>
                </a:lnTo>
                <a:lnTo>
                  <a:pt x="198" y="1012"/>
                </a:lnTo>
                <a:lnTo>
                  <a:pt x="205" y="1003"/>
                </a:lnTo>
                <a:lnTo>
                  <a:pt x="207" y="998"/>
                </a:lnTo>
                <a:lnTo>
                  <a:pt x="210" y="993"/>
                </a:lnTo>
                <a:lnTo>
                  <a:pt x="211" y="987"/>
                </a:lnTo>
                <a:lnTo>
                  <a:pt x="213" y="980"/>
                </a:lnTo>
                <a:lnTo>
                  <a:pt x="211" y="970"/>
                </a:lnTo>
                <a:lnTo>
                  <a:pt x="208" y="961"/>
                </a:lnTo>
                <a:lnTo>
                  <a:pt x="205" y="951"/>
                </a:lnTo>
                <a:lnTo>
                  <a:pt x="199" y="943"/>
                </a:lnTo>
                <a:lnTo>
                  <a:pt x="187" y="927"/>
                </a:lnTo>
                <a:lnTo>
                  <a:pt x="172" y="910"/>
                </a:lnTo>
                <a:lnTo>
                  <a:pt x="165" y="902"/>
                </a:lnTo>
                <a:lnTo>
                  <a:pt x="158" y="892"/>
                </a:lnTo>
                <a:lnTo>
                  <a:pt x="151" y="883"/>
                </a:lnTo>
                <a:lnTo>
                  <a:pt x="144" y="874"/>
                </a:lnTo>
                <a:lnTo>
                  <a:pt x="140" y="863"/>
                </a:lnTo>
                <a:lnTo>
                  <a:pt x="136" y="852"/>
                </a:lnTo>
                <a:lnTo>
                  <a:pt x="134" y="839"/>
                </a:lnTo>
                <a:lnTo>
                  <a:pt x="132" y="826"/>
                </a:lnTo>
                <a:lnTo>
                  <a:pt x="132" y="794"/>
                </a:lnTo>
                <a:lnTo>
                  <a:pt x="132" y="766"/>
                </a:lnTo>
                <a:lnTo>
                  <a:pt x="132" y="736"/>
                </a:lnTo>
                <a:lnTo>
                  <a:pt x="132" y="697"/>
                </a:lnTo>
                <a:lnTo>
                  <a:pt x="134" y="686"/>
                </a:lnTo>
                <a:lnTo>
                  <a:pt x="135" y="675"/>
                </a:lnTo>
                <a:lnTo>
                  <a:pt x="138" y="665"/>
                </a:lnTo>
                <a:lnTo>
                  <a:pt x="141" y="655"/>
                </a:lnTo>
                <a:lnTo>
                  <a:pt x="151" y="637"/>
                </a:lnTo>
                <a:lnTo>
                  <a:pt x="162" y="619"/>
                </a:lnTo>
                <a:lnTo>
                  <a:pt x="173" y="602"/>
                </a:lnTo>
                <a:lnTo>
                  <a:pt x="183" y="584"/>
                </a:lnTo>
                <a:lnTo>
                  <a:pt x="186" y="575"/>
                </a:lnTo>
                <a:lnTo>
                  <a:pt x="189" y="564"/>
                </a:lnTo>
                <a:lnTo>
                  <a:pt x="192" y="554"/>
                </a:lnTo>
                <a:lnTo>
                  <a:pt x="192" y="543"/>
                </a:lnTo>
                <a:lnTo>
                  <a:pt x="192" y="535"/>
                </a:lnTo>
                <a:lnTo>
                  <a:pt x="191" y="528"/>
                </a:lnTo>
                <a:lnTo>
                  <a:pt x="189" y="522"/>
                </a:lnTo>
                <a:lnTo>
                  <a:pt x="187" y="516"/>
                </a:lnTo>
                <a:lnTo>
                  <a:pt x="182" y="504"/>
                </a:lnTo>
                <a:lnTo>
                  <a:pt x="175" y="493"/>
                </a:lnTo>
                <a:lnTo>
                  <a:pt x="170" y="483"/>
                </a:lnTo>
                <a:lnTo>
                  <a:pt x="164" y="472"/>
                </a:lnTo>
                <a:lnTo>
                  <a:pt x="162" y="466"/>
                </a:lnTo>
                <a:lnTo>
                  <a:pt x="160" y="459"/>
                </a:lnTo>
                <a:lnTo>
                  <a:pt x="160" y="451"/>
                </a:lnTo>
                <a:lnTo>
                  <a:pt x="159" y="444"/>
                </a:lnTo>
                <a:lnTo>
                  <a:pt x="160" y="436"/>
                </a:lnTo>
                <a:lnTo>
                  <a:pt x="162" y="429"/>
                </a:lnTo>
                <a:lnTo>
                  <a:pt x="165" y="423"/>
                </a:lnTo>
                <a:lnTo>
                  <a:pt x="171" y="417"/>
                </a:lnTo>
                <a:lnTo>
                  <a:pt x="182" y="406"/>
                </a:lnTo>
                <a:lnTo>
                  <a:pt x="195" y="394"/>
                </a:lnTo>
                <a:lnTo>
                  <a:pt x="203" y="388"/>
                </a:lnTo>
                <a:lnTo>
                  <a:pt x="209" y="381"/>
                </a:lnTo>
                <a:lnTo>
                  <a:pt x="215" y="374"/>
                </a:lnTo>
                <a:lnTo>
                  <a:pt x="220" y="365"/>
                </a:lnTo>
                <a:lnTo>
                  <a:pt x="226" y="356"/>
                </a:lnTo>
                <a:lnTo>
                  <a:pt x="229" y="346"/>
                </a:lnTo>
                <a:lnTo>
                  <a:pt x="231" y="334"/>
                </a:lnTo>
                <a:lnTo>
                  <a:pt x="232" y="321"/>
                </a:lnTo>
                <a:lnTo>
                  <a:pt x="227" y="320"/>
                </a:lnTo>
                <a:lnTo>
                  <a:pt x="221" y="319"/>
                </a:lnTo>
                <a:lnTo>
                  <a:pt x="216" y="318"/>
                </a:lnTo>
                <a:lnTo>
                  <a:pt x="210" y="315"/>
                </a:lnTo>
                <a:lnTo>
                  <a:pt x="200" y="308"/>
                </a:lnTo>
                <a:lnTo>
                  <a:pt x="192" y="300"/>
                </a:lnTo>
                <a:lnTo>
                  <a:pt x="183" y="289"/>
                </a:lnTo>
                <a:lnTo>
                  <a:pt x="174" y="276"/>
                </a:lnTo>
                <a:lnTo>
                  <a:pt x="166" y="264"/>
                </a:lnTo>
                <a:lnTo>
                  <a:pt x="160" y="250"/>
                </a:lnTo>
                <a:lnTo>
                  <a:pt x="153" y="237"/>
                </a:lnTo>
                <a:lnTo>
                  <a:pt x="148" y="222"/>
                </a:lnTo>
                <a:lnTo>
                  <a:pt x="143" y="209"/>
                </a:lnTo>
                <a:lnTo>
                  <a:pt x="140" y="196"/>
                </a:lnTo>
                <a:lnTo>
                  <a:pt x="135" y="174"/>
                </a:lnTo>
                <a:lnTo>
                  <a:pt x="132" y="160"/>
                </a:lnTo>
                <a:lnTo>
                  <a:pt x="132" y="148"/>
                </a:lnTo>
                <a:lnTo>
                  <a:pt x="131" y="137"/>
                </a:lnTo>
                <a:lnTo>
                  <a:pt x="129" y="125"/>
                </a:lnTo>
                <a:lnTo>
                  <a:pt x="128" y="114"/>
                </a:lnTo>
                <a:lnTo>
                  <a:pt x="125" y="103"/>
                </a:lnTo>
                <a:lnTo>
                  <a:pt x="121" y="93"/>
                </a:lnTo>
                <a:lnTo>
                  <a:pt x="118" y="84"/>
                </a:lnTo>
                <a:lnTo>
                  <a:pt x="114" y="74"/>
                </a:lnTo>
                <a:lnTo>
                  <a:pt x="103" y="55"/>
                </a:lnTo>
                <a:lnTo>
                  <a:pt x="91" y="37"/>
                </a:lnTo>
                <a:lnTo>
                  <a:pt x="75" y="19"/>
                </a:lnTo>
                <a:lnTo>
                  <a:pt x="59" y="0"/>
                </a:lnTo>
                <a:lnTo>
                  <a:pt x="54" y="14"/>
                </a:lnTo>
                <a:lnTo>
                  <a:pt x="49" y="25"/>
                </a:lnTo>
                <a:lnTo>
                  <a:pt x="41" y="37"/>
                </a:lnTo>
                <a:lnTo>
                  <a:pt x="32" y="50"/>
                </a:lnTo>
                <a:lnTo>
                  <a:pt x="0" y="44"/>
                </a:lnTo>
                <a:lnTo>
                  <a:pt x="0" y="62"/>
                </a:lnTo>
                <a:lnTo>
                  <a:pt x="2" y="81"/>
                </a:lnTo>
                <a:lnTo>
                  <a:pt x="4" y="98"/>
                </a:lnTo>
                <a:lnTo>
                  <a:pt x="7" y="114"/>
                </a:lnTo>
                <a:lnTo>
                  <a:pt x="14" y="145"/>
                </a:lnTo>
                <a:lnTo>
                  <a:pt x="23" y="173"/>
                </a:lnTo>
                <a:lnTo>
                  <a:pt x="31" y="200"/>
                </a:lnTo>
                <a:lnTo>
                  <a:pt x="39" y="227"/>
                </a:lnTo>
                <a:lnTo>
                  <a:pt x="41" y="241"/>
                </a:lnTo>
                <a:lnTo>
                  <a:pt x="45" y="255"/>
                </a:lnTo>
                <a:lnTo>
                  <a:pt x="46" y="269"/>
                </a:lnTo>
                <a:lnTo>
                  <a:pt x="46" y="283"/>
                </a:lnTo>
                <a:lnTo>
                  <a:pt x="46" y="295"/>
                </a:lnTo>
                <a:lnTo>
                  <a:pt x="42" y="304"/>
                </a:lnTo>
                <a:lnTo>
                  <a:pt x="40" y="313"/>
                </a:lnTo>
                <a:lnTo>
                  <a:pt x="36" y="320"/>
                </a:lnTo>
                <a:lnTo>
                  <a:pt x="32" y="327"/>
                </a:lnTo>
                <a:lnTo>
                  <a:pt x="29" y="335"/>
                </a:lnTo>
                <a:lnTo>
                  <a:pt x="27" y="342"/>
                </a:lnTo>
                <a:lnTo>
                  <a:pt x="26" y="352"/>
                </a:lnTo>
                <a:lnTo>
                  <a:pt x="27" y="374"/>
                </a:lnTo>
                <a:lnTo>
                  <a:pt x="30" y="395"/>
                </a:lnTo>
                <a:lnTo>
                  <a:pt x="35" y="416"/>
                </a:lnTo>
                <a:lnTo>
                  <a:pt x="39" y="435"/>
                </a:lnTo>
                <a:lnTo>
                  <a:pt x="45" y="457"/>
                </a:lnTo>
                <a:lnTo>
                  <a:pt x="49" y="477"/>
                </a:lnTo>
                <a:lnTo>
                  <a:pt x="51" y="500"/>
                </a:lnTo>
                <a:lnTo>
                  <a:pt x="52" y="524"/>
                </a:lnTo>
                <a:lnTo>
                  <a:pt x="51" y="553"/>
                </a:lnTo>
                <a:lnTo>
                  <a:pt x="49" y="572"/>
                </a:lnTo>
                <a:lnTo>
                  <a:pt x="47" y="588"/>
                </a:lnTo>
                <a:lnTo>
                  <a:pt x="46" y="610"/>
                </a:lnTo>
                <a:lnTo>
                  <a:pt x="46" y="622"/>
                </a:lnTo>
                <a:lnTo>
                  <a:pt x="46" y="635"/>
                </a:lnTo>
                <a:lnTo>
                  <a:pt x="46" y="649"/>
                </a:lnTo>
                <a:lnTo>
                  <a:pt x="46" y="660"/>
                </a:lnTo>
                <a:lnTo>
                  <a:pt x="41" y="666"/>
                </a:lnTo>
                <a:lnTo>
                  <a:pt x="37" y="675"/>
                </a:lnTo>
                <a:lnTo>
                  <a:pt x="34" y="687"/>
                </a:lnTo>
                <a:lnTo>
                  <a:pt x="32" y="697"/>
                </a:lnTo>
                <a:lnTo>
                  <a:pt x="34" y="709"/>
                </a:lnTo>
                <a:lnTo>
                  <a:pt x="36" y="718"/>
                </a:lnTo>
                <a:lnTo>
                  <a:pt x="39" y="725"/>
                </a:lnTo>
                <a:lnTo>
                  <a:pt x="42" y="731"/>
                </a:lnTo>
                <a:lnTo>
                  <a:pt x="47" y="737"/>
                </a:lnTo>
                <a:lnTo>
                  <a:pt x="50" y="741"/>
                </a:lnTo>
                <a:lnTo>
                  <a:pt x="52" y="746"/>
                </a:lnTo>
                <a:lnTo>
                  <a:pt x="52" y="752"/>
                </a:lnTo>
                <a:lnTo>
                  <a:pt x="52" y="767"/>
                </a:lnTo>
                <a:lnTo>
                  <a:pt x="52" y="782"/>
                </a:lnTo>
                <a:lnTo>
                  <a:pt x="52" y="797"/>
                </a:lnTo>
                <a:lnTo>
                  <a:pt x="52" y="808"/>
                </a:lnTo>
                <a:lnTo>
                  <a:pt x="53" y="822"/>
                </a:lnTo>
                <a:lnTo>
                  <a:pt x="58" y="847"/>
                </a:lnTo>
                <a:lnTo>
                  <a:pt x="60" y="860"/>
                </a:lnTo>
                <a:lnTo>
                  <a:pt x="64" y="871"/>
                </a:lnTo>
                <a:lnTo>
                  <a:pt x="65" y="875"/>
                </a:lnTo>
                <a:lnTo>
                  <a:pt x="68" y="879"/>
                </a:lnTo>
                <a:lnTo>
                  <a:pt x="70" y="881"/>
                </a:lnTo>
                <a:lnTo>
                  <a:pt x="73" y="881"/>
                </a:lnTo>
                <a:lnTo>
                  <a:pt x="76" y="894"/>
                </a:lnTo>
                <a:lnTo>
                  <a:pt x="80" y="905"/>
                </a:lnTo>
                <a:lnTo>
                  <a:pt x="81" y="913"/>
                </a:lnTo>
                <a:lnTo>
                  <a:pt x="81" y="921"/>
                </a:lnTo>
                <a:lnTo>
                  <a:pt x="80" y="936"/>
                </a:lnTo>
                <a:lnTo>
                  <a:pt x="80" y="956"/>
                </a:lnTo>
                <a:lnTo>
                  <a:pt x="79" y="980"/>
                </a:lnTo>
                <a:lnTo>
                  <a:pt x="78" y="1002"/>
                </a:lnTo>
                <a:lnTo>
                  <a:pt x="75" y="1024"/>
                </a:lnTo>
                <a:lnTo>
                  <a:pt x="73" y="1045"/>
                </a:lnTo>
                <a:lnTo>
                  <a:pt x="70" y="1065"/>
                </a:lnTo>
                <a:lnTo>
                  <a:pt x="68" y="1087"/>
                </a:lnTo>
                <a:lnTo>
                  <a:pt x="67" y="1110"/>
                </a:lnTo>
                <a:lnTo>
                  <a:pt x="67" y="1135"/>
                </a:lnTo>
                <a:lnTo>
                  <a:pt x="65" y="1141"/>
                </a:lnTo>
                <a:lnTo>
                  <a:pt x="64" y="1147"/>
                </a:lnTo>
                <a:lnTo>
                  <a:pt x="63" y="1152"/>
                </a:lnTo>
                <a:lnTo>
                  <a:pt x="62" y="1156"/>
                </a:lnTo>
                <a:lnTo>
                  <a:pt x="58" y="1163"/>
                </a:lnTo>
                <a:lnTo>
                  <a:pt x="52" y="1169"/>
                </a:lnTo>
                <a:lnTo>
                  <a:pt x="48" y="1175"/>
                </a:lnTo>
                <a:lnTo>
                  <a:pt x="43" y="1181"/>
                </a:lnTo>
                <a:lnTo>
                  <a:pt x="41" y="1185"/>
                </a:lnTo>
                <a:lnTo>
                  <a:pt x="40" y="1188"/>
                </a:lnTo>
                <a:lnTo>
                  <a:pt x="40" y="1192"/>
                </a:lnTo>
                <a:lnTo>
                  <a:pt x="39" y="1196"/>
                </a:lnTo>
                <a:lnTo>
                  <a:pt x="40" y="1205"/>
                </a:lnTo>
                <a:lnTo>
                  <a:pt x="42" y="1215"/>
                </a:lnTo>
                <a:lnTo>
                  <a:pt x="46" y="1225"/>
                </a:lnTo>
                <a:lnTo>
                  <a:pt x="50" y="1237"/>
                </a:lnTo>
                <a:lnTo>
                  <a:pt x="60" y="1258"/>
                </a:lnTo>
                <a:lnTo>
                  <a:pt x="73" y="1279"/>
                </a:lnTo>
                <a:lnTo>
                  <a:pt x="85" y="1299"/>
                </a:lnTo>
                <a:lnTo>
                  <a:pt x="95" y="1317"/>
                </a:lnTo>
                <a:lnTo>
                  <a:pt x="99" y="1325"/>
                </a:lnTo>
                <a:lnTo>
                  <a:pt x="103" y="1332"/>
                </a:lnTo>
                <a:lnTo>
                  <a:pt x="105" y="1338"/>
                </a:lnTo>
                <a:lnTo>
                  <a:pt x="106" y="1343"/>
                </a:lnTo>
                <a:lnTo>
                  <a:pt x="105" y="1351"/>
                </a:lnTo>
                <a:lnTo>
                  <a:pt x="104" y="1358"/>
                </a:lnTo>
                <a:lnTo>
                  <a:pt x="102" y="1365"/>
                </a:lnTo>
                <a:lnTo>
                  <a:pt x="99" y="1372"/>
                </a:lnTo>
                <a:lnTo>
                  <a:pt x="97" y="1380"/>
                </a:lnTo>
                <a:lnTo>
                  <a:pt x="95" y="1388"/>
                </a:lnTo>
                <a:lnTo>
                  <a:pt x="93" y="1396"/>
                </a:lnTo>
                <a:lnTo>
                  <a:pt x="93" y="1406"/>
                </a:lnTo>
                <a:lnTo>
                  <a:pt x="93" y="1415"/>
                </a:lnTo>
                <a:lnTo>
                  <a:pt x="94" y="1424"/>
                </a:lnTo>
                <a:lnTo>
                  <a:pt x="96" y="1432"/>
                </a:lnTo>
                <a:lnTo>
                  <a:pt x="98" y="1438"/>
                </a:lnTo>
                <a:lnTo>
                  <a:pt x="102" y="1444"/>
                </a:lnTo>
                <a:lnTo>
                  <a:pt x="106" y="1449"/>
                </a:lnTo>
                <a:lnTo>
                  <a:pt x="112" y="1453"/>
                </a:lnTo>
                <a:lnTo>
                  <a:pt x="117" y="1457"/>
                </a:lnTo>
                <a:lnTo>
                  <a:pt x="123" y="1460"/>
                </a:lnTo>
                <a:lnTo>
                  <a:pt x="130" y="1463"/>
                </a:lnTo>
                <a:lnTo>
                  <a:pt x="138" y="1464"/>
                </a:lnTo>
                <a:lnTo>
                  <a:pt x="146" y="1465"/>
                </a:lnTo>
                <a:lnTo>
                  <a:pt x="164" y="1467"/>
                </a:lnTo>
                <a:lnTo>
                  <a:pt x="185" y="1467"/>
                </a:lnTo>
                <a:lnTo>
                  <a:pt x="191" y="1501"/>
                </a:lnTo>
                <a:lnTo>
                  <a:pt x="195" y="1531"/>
                </a:lnTo>
                <a:lnTo>
                  <a:pt x="197" y="1559"/>
                </a:lnTo>
                <a:lnTo>
                  <a:pt x="199" y="1590"/>
                </a:lnTo>
                <a:lnTo>
                  <a:pt x="202" y="1602"/>
                </a:lnTo>
                <a:lnTo>
                  <a:pt x="209" y="1621"/>
                </a:lnTo>
                <a:lnTo>
                  <a:pt x="216" y="1643"/>
                </a:lnTo>
                <a:lnTo>
                  <a:pt x="219" y="1658"/>
                </a:lnTo>
                <a:lnTo>
                  <a:pt x="219" y="1668"/>
                </a:lnTo>
                <a:lnTo>
                  <a:pt x="220" y="1679"/>
                </a:lnTo>
                <a:lnTo>
                  <a:pt x="221" y="1687"/>
                </a:lnTo>
                <a:lnTo>
                  <a:pt x="222" y="1694"/>
                </a:lnTo>
                <a:lnTo>
                  <a:pt x="227" y="1709"/>
                </a:lnTo>
                <a:lnTo>
                  <a:pt x="232" y="1725"/>
                </a:lnTo>
                <a:lnTo>
                  <a:pt x="202" y="1732"/>
                </a:lnTo>
                <a:lnTo>
                  <a:pt x="173" y="1739"/>
                </a:lnTo>
                <a:lnTo>
                  <a:pt x="166" y="1740"/>
                </a:lnTo>
                <a:lnTo>
                  <a:pt x="161" y="1743"/>
                </a:lnTo>
                <a:lnTo>
                  <a:pt x="155" y="1745"/>
                </a:lnTo>
                <a:lnTo>
                  <a:pt x="151" y="1749"/>
                </a:lnTo>
                <a:lnTo>
                  <a:pt x="147" y="1752"/>
                </a:lnTo>
                <a:lnTo>
                  <a:pt x="143" y="1757"/>
                </a:lnTo>
                <a:lnTo>
                  <a:pt x="141" y="1762"/>
                </a:lnTo>
                <a:lnTo>
                  <a:pt x="139" y="1769"/>
                </a:lnTo>
                <a:lnTo>
                  <a:pt x="164" y="1770"/>
                </a:lnTo>
                <a:lnTo>
                  <a:pt x="193" y="1773"/>
                </a:lnTo>
                <a:lnTo>
                  <a:pt x="207" y="1776"/>
                </a:lnTo>
                <a:lnTo>
                  <a:pt x="218" y="1779"/>
                </a:lnTo>
                <a:lnTo>
                  <a:pt x="224" y="1781"/>
                </a:lnTo>
                <a:lnTo>
                  <a:pt x="227" y="1783"/>
                </a:lnTo>
                <a:lnTo>
                  <a:pt x="230" y="1785"/>
                </a:lnTo>
                <a:lnTo>
                  <a:pt x="232" y="1787"/>
                </a:lnTo>
                <a:lnTo>
                  <a:pt x="243" y="1807"/>
                </a:lnTo>
                <a:lnTo>
                  <a:pt x="250" y="1820"/>
                </a:lnTo>
                <a:lnTo>
                  <a:pt x="253" y="1825"/>
                </a:lnTo>
                <a:lnTo>
                  <a:pt x="258" y="1828"/>
                </a:lnTo>
                <a:lnTo>
                  <a:pt x="263" y="1830"/>
                </a:lnTo>
                <a:lnTo>
                  <a:pt x="272" y="1830"/>
                </a:lnTo>
                <a:lnTo>
                  <a:pt x="272" y="1843"/>
                </a:lnTo>
                <a:lnTo>
                  <a:pt x="273" y="1857"/>
                </a:lnTo>
                <a:lnTo>
                  <a:pt x="275" y="1871"/>
                </a:lnTo>
                <a:lnTo>
                  <a:pt x="278" y="1884"/>
                </a:lnTo>
                <a:lnTo>
                  <a:pt x="282" y="1898"/>
                </a:lnTo>
                <a:lnTo>
                  <a:pt x="285" y="1912"/>
                </a:lnTo>
                <a:lnTo>
                  <a:pt x="289" y="1925"/>
                </a:lnTo>
                <a:lnTo>
                  <a:pt x="295" y="1937"/>
                </a:lnTo>
                <a:lnTo>
                  <a:pt x="301" y="1949"/>
                </a:lnTo>
                <a:lnTo>
                  <a:pt x="308" y="1961"/>
                </a:lnTo>
                <a:lnTo>
                  <a:pt x="315" y="1971"/>
                </a:lnTo>
                <a:lnTo>
                  <a:pt x="322" y="1980"/>
                </a:lnTo>
                <a:lnTo>
                  <a:pt x="330" y="1988"/>
                </a:lnTo>
                <a:lnTo>
                  <a:pt x="339" y="1995"/>
                </a:lnTo>
                <a:lnTo>
                  <a:pt x="349" y="2000"/>
                </a:lnTo>
                <a:lnTo>
                  <a:pt x="359" y="2003"/>
                </a:lnTo>
                <a:lnTo>
                  <a:pt x="359" y="2013"/>
                </a:lnTo>
                <a:lnTo>
                  <a:pt x="361" y="2021"/>
                </a:lnTo>
                <a:lnTo>
                  <a:pt x="364" y="2028"/>
                </a:lnTo>
                <a:lnTo>
                  <a:pt x="368" y="2034"/>
                </a:lnTo>
                <a:lnTo>
                  <a:pt x="374" y="2038"/>
                </a:lnTo>
                <a:lnTo>
                  <a:pt x="379" y="2042"/>
                </a:lnTo>
                <a:lnTo>
                  <a:pt x="386" y="2046"/>
                </a:lnTo>
                <a:lnTo>
                  <a:pt x="393" y="2048"/>
                </a:lnTo>
                <a:lnTo>
                  <a:pt x="407" y="2053"/>
                </a:lnTo>
                <a:lnTo>
                  <a:pt x="420" y="2057"/>
                </a:lnTo>
                <a:lnTo>
                  <a:pt x="426" y="2060"/>
                </a:lnTo>
                <a:lnTo>
                  <a:pt x="431" y="2063"/>
                </a:lnTo>
                <a:lnTo>
                  <a:pt x="435" y="2066"/>
                </a:lnTo>
                <a:lnTo>
                  <a:pt x="438" y="2071"/>
                </a:lnTo>
                <a:lnTo>
                  <a:pt x="424" y="2074"/>
                </a:lnTo>
                <a:lnTo>
                  <a:pt x="411" y="2077"/>
                </a:lnTo>
                <a:lnTo>
                  <a:pt x="415" y="2084"/>
                </a:lnTo>
                <a:lnTo>
                  <a:pt x="421" y="2091"/>
                </a:lnTo>
                <a:lnTo>
                  <a:pt x="429" y="2097"/>
                </a:lnTo>
                <a:lnTo>
                  <a:pt x="440" y="2102"/>
                </a:lnTo>
                <a:lnTo>
                  <a:pt x="452" y="2107"/>
                </a:lnTo>
                <a:lnTo>
                  <a:pt x="465" y="2110"/>
                </a:lnTo>
                <a:lnTo>
                  <a:pt x="480" y="2113"/>
                </a:lnTo>
                <a:lnTo>
                  <a:pt x="498" y="2114"/>
                </a:lnTo>
                <a:lnTo>
                  <a:pt x="502" y="2117"/>
                </a:lnTo>
                <a:lnTo>
                  <a:pt x="507" y="2121"/>
                </a:lnTo>
                <a:lnTo>
                  <a:pt x="510" y="2127"/>
                </a:lnTo>
                <a:lnTo>
                  <a:pt x="513" y="2131"/>
                </a:lnTo>
                <a:lnTo>
                  <a:pt x="519" y="2140"/>
                </a:lnTo>
                <a:lnTo>
                  <a:pt x="522" y="2149"/>
                </a:lnTo>
                <a:lnTo>
                  <a:pt x="527" y="2155"/>
                </a:lnTo>
                <a:lnTo>
                  <a:pt x="530" y="2158"/>
                </a:lnTo>
                <a:lnTo>
                  <a:pt x="531" y="2158"/>
                </a:lnTo>
                <a:lnTo>
                  <a:pt x="533" y="2157"/>
                </a:lnTo>
                <a:lnTo>
                  <a:pt x="535" y="2155"/>
                </a:lnTo>
                <a:lnTo>
                  <a:pt x="538" y="2151"/>
                </a:lnTo>
                <a:lnTo>
                  <a:pt x="543" y="2137"/>
                </a:lnTo>
                <a:lnTo>
                  <a:pt x="547" y="2125"/>
                </a:lnTo>
                <a:lnTo>
                  <a:pt x="554" y="2116"/>
                </a:lnTo>
                <a:lnTo>
                  <a:pt x="561" y="2109"/>
                </a:lnTo>
                <a:lnTo>
                  <a:pt x="567" y="2104"/>
                </a:lnTo>
                <a:lnTo>
                  <a:pt x="576" y="2101"/>
                </a:lnTo>
                <a:lnTo>
                  <a:pt x="586" y="2098"/>
                </a:lnTo>
                <a:lnTo>
                  <a:pt x="598" y="2095"/>
                </a:lnTo>
                <a:lnTo>
                  <a:pt x="592" y="2087"/>
                </a:lnTo>
                <a:lnTo>
                  <a:pt x="589" y="2081"/>
                </a:lnTo>
                <a:lnTo>
                  <a:pt x="588" y="2078"/>
                </a:lnTo>
                <a:lnTo>
                  <a:pt x="588" y="2076"/>
                </a:lnTo>
                <a:lnTo>
                  <a:pt x="589" y="2074"/>
                </a:lnTo>
                <a:lnTo>
                  <a:pt x="591" y="2071"/>
                </a:lnTo>
                <a:lnTo>
                  <a:pt x="491" y="204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057" name="Freeform 9"/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3700464" y="3508376"/>
            <a:ext cx="966787" cy="1203325"/>
          </a:xfrm>
          <a:custGeom>
            <a:avLst/>
            <a:gdLst>
              <a:gd name="T0" fmla="*/ 440 w 2226"/>
              <a:gd name="T1" fmla="*/ 896 h 2292"/>
              <a:gd name="T2" fmla="*/ 505 w 2226"/>
              <a:gd name="T3" fmla="*/ 985 h 2292"/>
              <a:gd name="T4" fmla="*/ 572 w 2226"/>
              <a:gd name="T5" fmla="*/ 1054 h 2292"/>
              <a:gd name="T6" fmla="*/ 716 w 2226"/>
              <a:gd name="T7" fmla="*/ 1098 h 2292"/>
              <a:gd name="T8" fmla="*/ 798 w 2226"/>
              <a:gd name="T9" fmla="*/ 1204 h 2292"/>
              <a:gd name="T10" fmla="*/ 846 w 2226"/>
              <a:gd name="T11" fmla="*/ 1292 h 2292"/>
              <a:gd name="T12" fmla="*/ 939 w 2226"/>
              <a:gd name="T13" fmla="*/ 1355 h 2292"/>
              <a:gd name="T14" fmla="*/ 957 w 2226"/>
              <a:gd name="T15" fmla="*/ 1466 h 2292"/>
              <a:gd name="T16" fmla="*/ 976 w 2226"/>
              <a:gd name="T17" fmla="*/ 1541 h 2292"/>
              <a:gd name="T18" fmla="*/ 992 w 2226"/>
              <a:gd name="T19" fmla="*/ 1632 h 2292"/>
              <a:gd name="T20" fmla="*/ 1131 w 2226"/>
              <a:gd name="T21" fmla="*/ 1698 h 2292"/>
              <a:gd name="T22" fmla="*/ 1193 w 2226"/>
              <a:gd name="T23" fmla="*/ 1805 h 2292"/>
              <a:gd name="T24" fmla="*/ 1243 w 2226"/>
              <a:gd name="T25" fmla="*/ 1864 h 2292"/>
              <a:gd name="T26" fmla="*/ 1183 w 2226"/>
              <a:gd name="T27" fmla="*/ 2003 h 2292"/>
              <a:gd name="T28" fmla="*/ 1084 w 2226"/>
              <a:gd name="T29" fmla="*/ 2128 h 2292"/>
              <a:gd name="T30" fmla="*/ 1180 w 2226"/>
              <a:gd name="T31" fmla="*/ 2161 h 2292"/>
              <a:gd name="T32" fmla="*/ 1296 w 2226"/>
              <a:gd name="T33" fmla="*/ 2234 h 2292"/>
              <a:gd name="T34" fmla="*/ 1419 w 2226"/>
              <a:gd name="T35" fmla="*/ 2198 h 2292"/>
              <a:gd name="T36" fmla="*/ 1518 w 2226"/>
              <a:gd name="T37" fmla="*/ 2036 h 2292"/>
              <a:gd name="T38" fmla="*/ 1512 w 2226"/>
              <a:gd name="T39" fmla="*/ 1918 h 2292"/>
              <a:gd name="T40" fmla="*/ 1561 w 2226"/>
              <a:gd name="T41" fmla="*/ 1793 h 2292"/>
              <a:gd name="T42" fmla="*/ 1706 w 2226"/>
              <a:gd name="T43" fmla="*/ 1727 h 2292"/>
              <a:gd name="T44" fmla="*/ 1798 w 2226"/>
              <a:gd name="T45" fmla="*/ 1681 h 2292"/>
              <a:gd name="T46" fmla="*/ 1897 w 2226"/>
              <a:gd name="T47" fmla="*/ 1641 h 2292"/>
              <a:gd name="T48" fmla="*/ 1982 w 2226"/>
              <a:gd name="T49" fmla="*/ 1400 h 2292"/>
              <a:gd name="T50" fmla="*/ 2014 w 2226"/>
              <a:gd name="T51" fmla="*/ 1288 h 2292"/>
              <a:gd name="T52" fmla="*/ 2002 w 2226"/>
              <a:gd name="T53" fmla="*/ 1090 h 2292"/>
              <a:gd name="T54" fmla="*/ 2073 w 2226"/>
              <a:gd name="T55" fmla="*/ 1009 h 2292"/>
              <a:gd name="T56" fmla="*/ 2190 w 2226"/>
              <a:gd name="T57" fmla="*/ 877 h 2292"/>
              <a:gd name="T58" fmla="*/ 2222 w 2226"/>
              <a:gd name="T59" fmla="*/ 732 h 2292"/>
              <a:gd name="T60" fmla="*/ 2157 w 2226"/>
              <a:gd name="T61" fmla="*/ 599 h 2292"/>
              <a:gd name="T62" fmla="*/ 2059 w 2226"/>
              <a:gd name="T63" fmla="*/ 563 h 2292"/>
              <a:gd name="T64" fmla="*/ 1921 w 2226"/>
              <a:gd name="T65" fmla="*/ 462 h 2292"/>
              <a:gd name="T66" fmla="*/ 1742 w 2226"/>
              <a:gd name="T67" fmla="*/ 450 h 2292"/>
              <a:gd name="T68" fmla="*/ 1670 w 2226"/>
              <a:gd name="T69" fmla="*/ 447 h 2292"/>
              <a:gd name="T70" fmla="*/ 1636 w 2226"/>
              <a:gd name="T71" fmla="*/ 394 h 2292"/>
              <a:gd name="T72" fmla="*/ 1512 w 2226"/>
              <a:gd name="T73" fmla="*/ 348 h 2292"/>
              <a:gd name="T74" fmla="*/ 1411 w 2226"/>
              <a:gd name="T75" fmla="*/ 409 h 2292"/>
              <a:gd name="T76" fmla="*/ 1338 w 2226"/>
              <a:gd name="T77" fmla="*/ 405 h 2292"/>
              <a:gd name="T78" fmla="*/ 1247 w 2226"/>
              <a:gd name="T79" fmla="*/ 384 h 2292"/>
              <a:gd name="T80" fmla="*/ 1317 w 2226"/>
              <a:gd name="T81" fmla="*/ 268 h 2292"/>
              <a:gd name="T82" fmla="*/ 1338 w 2226"/>
              <a:gd name="T83" fmla="*/ 184 h 2292"/>
              <a:gd name="T84" fmla="*/ 1291 w 2226"/>
              <a:gd name="T85" fmla="*/ 68 h 2292"/>
              <a:gd name="T86" fmla="*/ 1124 w 2226"/>
              <a:gd name="T87" fmla="*/ 135 h 2292"/>
              <a:gd name="T88" fmla="*/ 1003 w 2226"/>
              <a:gd name="T89" fmla="*/ 170 h 2292"/>
              <a:gd name="T90" fmla="*/ 960 w 2226"/>
              <a:gd name="T91" fmla="*/ 187 h 2292"/>
              <a:gd name="T92" fmla="*/ 812 w 2226"/>
              <a:gd name="T93" fmla="*/ 176 h 2292"/>
              <a:gd name="T94" fmla="*/ 811 w 2226"/>
              <a:gd name="T95" fmla="*/ 67 h 2292"/>
              <a:gd name="T96" fmla="*/ 745 w 2226"/>
              <a:gd name="T97" fmla="*/ 0 h 2292"/>
              <a:gd name="T98" fmla="*/ 700 w 2226"/>
              <a:gd name="T99" fmla="*/ 31 h 2292"/>
              <a:gd name="T100" fmla="*/ 589 w 2226"/>
              <a:gd name="T101" fmla="*/ 70 h 2292"/>
              <a:gd name="T102" fmla="*/ 560 w 2226"/>
              <a:gd name="T103" fmla="*/ 198 h 2292"/>
              <a:gd name="T104" fmla="*/ 453 w 2226"/>
              <a:gd name="T105" fmla="*/ 258 h 2292"/>
              <a:gd name="T106" fmla="*/ 286 w 2226"/>
              <a:gd name="T107" fmla="*/ 197 h 2292"/>
              <a:gd name="T108" fmla="*/ 253 w 2226"/>
              <a:gd name="T109" fmla="*/ 240 h 2292"/>
              <a:gd name="T110" fmla="*/ 198 w 2226"/>
              <a:gd name="T111" fmla="*/ 311 h 2292"/>
              <a:gd name="T112" fmla="*/ 246 w 2226"/>
              <a:gd name="T113" fmla="*/ 388 h 2292"/>
              <a:gd name="T114" fmla="*/ 194 w 2226"/>
              <a:gd name="T115" fmla="*/ 560 h 2292"/>
              <a:gd name="T116" fmla="*/ 100 w 2226"/>
              <a:gd name="T117" fmla="*/ 567 h 2292"/>
              <a:gd name="T118" fmla="*/ 16 w 2226"/>
              <a:gd name="T119" fmla="*/ 687 h 2292"/>
              <a:gd name="T120" fmla="*/ 22 w 2226"/>
              <a:gd name="T121" fmla="*/ 824 h 2292"/>
              <a:gd name="T122" fmla="*/ 120 w 2226"/>
              <a:gd name="T123" fmla="*/ 905 h 2292"/>
              <a:gd name="T124" fmla="*/ 191 w 2226"/>
              <a:gd name="T125" fmla="*/ 949 h 22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226" h="2292">
                <a:moveTo>
                  <a:pt x="233" y="973"/>
                </a:moveTo>
                <a:lnTo>
                  <a:pt x="313" y="967"/>
                </a:lnTo>
                <a:lnTo>
                  <a:pt x="323" y="963"/>
                </a:lnTo>
                <a:lnTo>
                  <a:pt x="332" y="959"/>
                </a:lnTo>
                <a:lnTo>
                  <a:pt x="342" y="953"/>
                </a:lnTo>
                <a:lnTo>
                  <a:pt x="351" y="948"/>
                </a:lnTo>
                <a:lnTo>
                  <a:pt x="368" y="936"/>
                </a:lnTo>
                <a:lnTo>
                  <a:pt x="386" y="923"/>
                </a:lnTo>
                <a:lnTo>
                  <a:pt x="403" y="911"/>
                </a:lnTo>
                <a:lnTo>
                  <a:pt x="421" y="902"/>
                </a:lnTo>
                <a:lnTo>
                  <a:pt x="431" y="898"/>
                </a:lnTo>
                <a:lnTo>
                  <a:pt x="440" y="896"/>
                </a:lnTo>
                <a:lnTo>
                  <a:pt x="449" y="894"/>
                </a:lnTo>
                <a:lnTo>
                  <a:pt x="459" y="893"/>
                </a:lnTo>
                <a:lnTo>
                  <a:pt x="467" y="894"/>
                </a:lnTo>
                <a:lnTo>
                  <a:pt x="474" y="896"/>
                </a:lnTo>
                <a:lnTo>
                  <a:pt x="480" y="899"/>
                </a:lnTo>
                <a:lnTo>
                  <a:pt x="485" y="902"/>
                </a:lnTo>
                <a:lnTo>
                  <a:pt x="489" y="907"/>
                </a:lnTo>
                <a:lnTo>
                  <a:pt x="492" y="912"/>
                </a:lnTo>
                <a:lnTo>
                  <a:pt x="496" y="918"/>
                </a:lnTo>
                <a:lnTo>
                  <a:pt x="498" y="925"/>
                </a:lnTo>
                <a:lnTo>
                  <a:pt x="502" y="956"/>
                </a:lnTo>
                <a:lnTo>
                  <a:pt x="505" y="985"/>
                </a:lnTo>
                <a:lnTo>
                  <a:pt x="509" y="994"/>
                </a:lnTo>
                <a:lnTo>
                  <a:pt x="512" y="1001"/>
                </a:lnTo>
                <a:lnTo>
                  <a:pt x="515" y="1008"/>
                </a:lnTo>
                <a:lnTo>
                  <a:pt x="520" y="1015"/>
                </a:lnTo>
                <a:lnTo>
                  <a:pt x="525" y="1022"/>
                </a:lnTo>
                <a:lnTo>
                  <a:pt x="531" y="1028"/>
                </a:lnTo>
                <a:lnTo>
                  <a:pt x="536" y="1033"/>
                </a:lnTo>
                <a:lnTo>
                  <a:pt x="543" y="1038"/>
                </a:lnTo>
                <a:lnTo>
                  <a:pt x="549" y="1044"/>
                </a:lnTo>
                <a:lnTo>
                  <a:pt x="557" y="1048"/>
                </a:lnTo>
                <a:lnTo>
                  <a:pt x="564" y="1051"/>
                </a:lnTo>
                <a:lnTo>
                  <a:pt x="572" y="1054"/>
                </a:lnTo>
                <a:lnTo>
                  <a:pt x="580" y="1057"/>
                </a:lnTo>
                <a:lnTo>
                  <a:pt x="588" y="1058"/>
                </a:lnTo>
                <a:lnTo>
                  <a:pt x="597" y="1059"/>
                </a:lnTo>
                <a:lnTo>
                  <a:pt x="605" y="1060"/>
                </a:lnTo>
                <a:lnTo>
                  <a:pt x="614" y="1060"/>
                </a:lnTo>
                <a:lnTo>
                  <a:pt x="625" y="1063"/>
                </a:lnTo>
                <a:lnTo>
                  <a:pt x="638" y="1066"/>
                </a:lnTo>
                <a:lnTo>
                  <a:pt x="653" y="1071"/>
                </a:lnTo>
                <a:lnTo>
                  <a:pt x="668" y="1076"/>
                </a:lnTo>
                <a:lnTo>
                  <a:pt x="683" y="1083"/>
                </a:lnTo>
                <a:lnTo>
                  <a:pt x="700" y="1090"/>
                </a:lnTo>
                <a:lnTo>
                  <a:pt x="716" y="1098"/>
                </a:lnTo>
                <a:lnTo>
                  <a:pt x="733" y="1108"/>
                </a:lnTo>
                <a:lnTo>
                  <a:pt x="747" y="1116"/>
                </a:lnTo>
                <a:lnTo>
                  <a:pt x="761" y="1126"/>
                </a:lnTo>
                <a:lnTo>
                  <a:pt x="773" y="1135"/>
                </a:lnTo>
                <a:lnTo>
                  <a:pt x="783" y="1144"/>
                </a:lnTo>
                <a:lnTo>
                  <a:pt x="791" y="1153"/>
                </a:lnTo>
                <a:lnTo>
                  <a:pt x="794" y="1158"/>
                </a:lnTo>
                <a:lnTo>
                  <a:pt x="796" y="1162"/>
                </a:lnTo>
                <a:lnTo>
                  <a:pt x="798" y="1167"/>
                </a:lnTo>
                <a:lnTo>
                  <a:pt x="798" y="1171"/>
                </a:lnTo>
                <a:lnTo>
                  <a:pt x="798" y="1190"/>
                </a:lnTo>
                <a:lnTo>
                  <a:pt x="798" y="1204"/>
                </a:lnTo>
                <a:lnTo>
                  <a:pt x="798" y="1214"/>
                </a:lnTo>
                <a:lnTo>
                  <a:pt x="798" y="1220"/>
                </a:lnTo>
                <a:lnTo>
                  <a:pt x="799" y="1229"/>
                </a:lnTo>
                <a:lnTo>
                  <a:pt x="803" y="1242"/>
                </a:lnTo>
                <a:lnTo>
                  <a:pt x="806" y="1249"/>
                </a:lnTo>
                <a:lnTo>
                  <a:pt x="810" y="1256"/>
                </a:lnTo>
                <a:lnTo>
                  <a:pt x="814" y="1263"/>
                </a:lnTo>
                <a:lnTo>
                  <a:pt x="818" y="1271"/>
                </a:lnTo>
                <a:lnTo>
                  <a:pt x="824" y="1277"/>
                </a:lnTo>
                <a:lnTo>
                  <a:pt x="830" y="1283"/>
                </a:lnTo>
                <a:lnTo>
                  <a:pt x="838" y="1288"/>
                </a:lnTo>
                <a:lnTo>
                  <a:pt x="846" y="1292"/>
                </a:lnTo>
                <a:lnTo>
                  <a:pt x="854" y="1295"/>
                </a:lnTo>
                <a:lnTo>
                  <a:pt x="863" y="1296"/>
                </a:lnTo>
                <a:lnTo>
                  <a:pt x="873" y="1296"/>
                </a:lnTo>
                <a:lnTo>
                  <a:pt x="884" y="1294"/>
                </a:lnTo>
                <a:lnTo>
                  <a:pt x="917" y="1294"/>
                </a:lnTo>
                <a:lnTo>
                  <a:pt x="918" y="1306"/>
                </a:lnTo>
                <a:lnTo>
                  <a:pt x="919" y="1317"/>
                </a:lnTo>
                <a:lnTo>
                  <a:pt x="923" y="1328"/>
                </a:lnTo>
                <a:lnTo>
                  <a:pt x="926" y="1336"/>
                </a:lnTo>
                <a:lnTo>
                  <a:pt x="929" y="1343"/>
                </a:lnTo>
                <a:lnTo>
                  <a:pt x="935" y="1349"/>
                </a:lnTo>
                <a:lnTo>
                  <a:pt x="939" y="1355"/>
                </a:lnTo>
                <a:lnTo>
                  <a:pt x="944" y="1360"/>
                </a:lnTo>
                <a:lnTo>
                  <a:pt x="953" y="1371"/>
                </a:lnTo>
                <a:lnTo>
                  <a:pt x="962" y="1385"/>
                </a:lnTo>
                <a:lnTo>
                  <a:pt x="965" y="1392"/>
                </a:lnTo>
                <a:lnTo>
                  <a:pt x="969" y="1401"/>
                </a:lnTo>
                <a:lnTo>
                  <a:pt x="970" y="1411"/>
                </a:lnTo>
                <a:lnTo>
                  <a:pt x="971" y="1423"/>
                </a:lnTo>
                <a:lnTo>
                  <a:pt x="970" y="1434"/>
                </a:lnTo>
                <a:lnTo>
                  <a:pt x="968" y="1443"/>
                </a:lnTo>
                <a:lnTo>
                  <a:pt x="964" y="1452"/>
                </a:lnTo>
                <a:lnTo>
                  <a:pt x="961" y="1459"/>
                </a:lnTo>
                <a:lnTo>
                  <a:pt x="957" y="1466"/>
                </a:lnTo>
                <a:lnTo>
                  <a:pt x="953" y="1474"/>
                </a:lnTo>
                <a:lnTo>
                  <a:pt x="951" y="1482"/>
                </a:lnTo>
                <a:lnTo>
                  <a:pt x="951" y="1491"/>
                </a:lnTo>
                <a:lnTo>
                  <a:pt x="951" y="1498"/>
                </a:lnTo>
                <a:lnTo>
                  <a:pt x="952" y="1503"/>
                </a:lnTo>
                <a:lnTo>
                  <a:pt x="953" y="1509"/>
                </a:lnTo>
                <a:lnTo>
                  <a:pt x="955" y="1513"/>
                </a:lnTo>
                <a:lnTo>
                  <a:pt x="959" y="1521"/>
                </a:lnTo>
                <a:lnTo>
                  <a:pt x="964" y="1527"/>
                </a:lnTo>
                <a:lnTo>
                  <a:pt x="969" y="1533"/>
                </a:lnTo>
                <a:lnTo>
                  <a:pt x="973" y="1537"/>
                </a:lnTo>
                <a:lnTo>
                  <a:pt x="976" y="1541"/>
                </a:lnTo>
                <a:lnTo>
                  <a:pt x="978" y="1547"/>
                </a:lnTo>
                <a:lnTo>
                  <a:pt x="979" y="1555"/>
                </a:lnTo>
                <a:lnTo>
                  <a:pt x="979" y="1564"/>
                </a:lnTo>
                <a:lnTo>
                  <a:pt x="979" y="1572"/>
                </a:lnTo>
                <a:lnTo>
                  <a:pt x="978" y="1580"/>
                </a:lnTo>
                <a:lnTo>
                  <a:pt x="976" y="1588"/>
                </a:lnTo>
                <a:lnTo>
                  <a:pt x="975" y="1596"/>
                </a:lnTo>
                <a:lnTo>
                  <a:pt x="975" y="1605"/>
                </a:lnTo>
                <a:lnTo>
                  <a:pt x="978" y="1614"/>
                </a:lnTo>
                <a:lnTo>
                  <a:pt x="981" y="1621"/>
                </a:lnTo>
                <a:lnTo>
                  <a:pt x="985" y="1627"/>
                </a:lnTo>
                <a:lnTo>
                  <a:pt x="992" y="1632"/>
                </a:lnTo>
                <a:lnTo>
                  <a:pt x="998" y="1637"/>
                </a:lnTo>
                <a:lnTo>
                  <a:pt x="1016" y="1645"/>
                </a:lnTo>
                <a:lnTo>
                  <a:pt x="1036" y="1653"/>
                </a:lnTo>
                <a:lnTo>
                  <a:pt x="1057" y="1661"/>
                </a:lnTo>
                <a:lnTo>
                  <a:pt x="1077" y="1669"/>
                </a:lnTo>
                <a:lnTo>
                  <a:pt x="1086" y="1673"/>
                </a:lnTo>
                <a:lnTo>
                  <a:pt x="1095" y="1678"/>
                </a:lnTo>
                <a:lnTo>
                  <a:pt x="1104" y="1682"/>
                </a:lnTo>
                <a:lnTo>
                  <a:pt x="1110" y="1688"/>
                </a:lnTo>
                <a:lnTo>
                  <a:pt x="1116" y="1692"/>
                </a:lnTo>
                <a:lnTo>
                  <a:pt x="1124" y="1695"/>
                </a:lnTo>
                <a:lnTo>
                  <a:pt x="1131" y="1698"/>
                </a:lnTo>
                <a:lnTo>
                  <a:pt x="1140" y="1700"/>
                </a:lnTo>
                <a:lnTo>
                  <a:pt x="1149" y="1702"/>
                </a:lnTo>
                <a:lnTo>
                  <a:pt x="1157" y="1705"/>
                </a:lnTo>
                <a:lnTo>
                  <a:pt x="1164" y="1708"/>
                </a:lnTo>
                <a:lnTo>
                  <a:pt x="1170" y="1713"/>
                </a:lnTo>
                <a:lnTo>
                  <a:pt x="1176" y="1721"/>
                </a:lnTo>
                <a:lnTo>
                  <a:pt x="1181" y="1729"/>
                </a:lnTo>
                <a:lnTo>
                  <a:pt x="1185" y="1739"/>
                </a:lnTo>
                <a:lnTo>
                  <a:pt x="1187" y="1749"/>
                </a:lnTo>
                <a:lnTo>
                  <a:pt x="1189" y="1772"/>
                </a:lnTo>
                <a:lnTo>
                  <a:pt x="1192" y="1794"/>
                </a:lnTo>
                <a:lnTo>
                  <a:pt x="1193" y="1805"/>
                </a:lnTo>
                <a:lnTo>
                  <a:pt x="1195" y="1815"/>
                </a:lnTo>
                <a:lnTo>
                  <a:pt x="1198" y="1825"/>
                </a:lnTo>
                <a:lnTo>
                  <a:pt x="1204" y="1832"/>
                </a:lnTo>
                <a:lnTo>
                  <a:pt x="1207" y="1836"/>
                </a:lnTo>
                <a:lnTo>
                  <a:pt x="1210" y="1839"/>
                </a:lnTo>
                <a:lnTo>
                  <a:pt x="1214" y="1842"/>
                </a:lnTo>
                <a:lnTo>
                  <a:pt x="1219" y="1844"/>
                </a:lnTo>
                <a:lnTo>
                  <a:pt x="1224" y="1846"/>
                </a:lnTo>
                <a:lnTo>
                  <a:pt x="1229" y="1847"/>
                </a:lnTo>
                <a:lnTo>
                  <a:pt x="1236" y="1848"/>
                </a:lnTo>
                <a:lnTo>
                  <a:pt x="1243" y="1848"/>
                </a:lnTo>
                <a:lnTo>
                  <a:pt x="1243" y="1864"/>
                </a:lnTo>
                <a:lnTo>
                  <a:pt x="1243" y="1879"/>
                </a:lnTo>
                <a:lnTo>
                  <a:pt x="1243" y="1891"/>
                </a:lnTo>
                <a:lnTo>
                  <a:pt x="1243" y="1904"/>
                </a:lnTo>
                <a:lnTo>
                  <a:pt x="1243" y="1921"/>
                </a:lnTo>
                <a:lnTo>
                  <a:pt x="1243" y="1942"/>
                </a:lnTo>
                <a:lnTo>
                  <a:pt x="1243" y="1961"/>
                </a:lnTo>
                <a:lnTo>
                  <a:pt x="1243" y="1971"/>
                </a:lnTo>
                <a:lnTo>
                  <a:pt x="1232" y="1974"/>
                </a:lnTo>
                <a:lnTo>
                  <a:pt x="1221" y="1979"/>
                </a:lnTo>
                <a:lnTo>
                  <a:pt x="1208" y="1985"/>
                </a:lnTo>
                <a:lnTo>
                  <a:pt x="1196" y="1994"/>
                </a:lnTo>
                <a:lnTo>
                  <a:pt x="1183" y="2003"/>
                </a:lnTo>
                <a:lnTo>
                  <a:pt x="1170" y="2013"/>
                </a:lnTo>
                <a:lnTo>
                  <a:pt x="1157" y="2023"/>
                </a:lnTo>
                <a:lnTo>
                  <a:pt x="1143" y="2034"/>
                </a:lnTo>
                <a:lnTo>
                  <a:pt x="1131" y="2047"/>
                </a:lnTo>
                <a:lnTo>
                  <a:pt x="1120" y="2059"/>
                </a:lnTo>
                <a:lnTo>
                  <a:pt x="1109" y="2070"/>
                </a:lnTo>
                <a:lnTo>
                  <a:pt x="1101" y="2082"/>
                </a:lnTo>
                <a:lnTo>
                  <a:pt x="1094" y="2094"/>
                </a:lnTo>
                <a:lnTo>
                  <a:pt x="1088" y="2106"/>
                </a:lnTo>
                <a:lnTo>
                  <a:pt x="1085" y="2116"/>
                </a:lnTo>
                <a:lnTo>
                  <a:pt x="1084" y="2125"/>
                </a:lnTo>
                <a:lnTo>
                  <a:pt x="1084" y="2128"/>
                </a:lnTo>
                <a:lnTo>
                  <a:pt x="1086" y="2130"/>
                </a:lnTo>
                <a:lnTo>
                  <a:pt x="1088" y="2132"/>
                </a:lnTo>
                <a:lnTo>
                  <a:pt x="1092" y="2133"/>
                </a:lnTo>
                <a:lnTo>
                  <a:pt x="1101" y="2137"/>
                </a:lnTo>
                <a:lnTo>
                  <a:pt x="1110" y="2139"/>
                </a:lnTo>
                <a:lnTo>
                  <a:pt x="1131" y="2142"/>
                </a:lnTo>
                <a:lnTo>
                  <a:pt x="1143" y="2144"/>
                </a:lnTo>
                <a:lnTo>
                  <a:pt x="1151" y="2145"/>
                </a:lnTo>
                <a:lnTo>
                  <a:pt x="1158" y="2147"/>
                </a:lnTo>
                <a:lnTo>
                  <a:pt x="1163" y="2150"/>
                </a:lnTo>
                <a:lnTo>
                  <a:pt x="1169" y="2153"/>
                </a:lnTo>
                <a:lnTo>
                  <a:pt x="1180" y="2161"/>
                </a:lnTo>
                <a:lnTo>
                  <a:pt x="1189" y="2170"/>
                </a:lnTo>
                <a:lnTo>
                  <a:pt x="1200" y="2178"/>
                </a:lnTo>
                <a:lnTo>
                  <a:pt x="1210" y="2186"/>
                </a:lnTo>
                <a:lnTo>
                  <a:pt x="1216" y="2190"/>
                </a:lnTo>
                <a:lnTo>
                  <a:pt x="1222" y="2193"/>
                </a:lnTo>
                <a:lnTo>
                  <a:pt x="1229" y="2197"/>
                </a:lnTo>
                <a:lnTo>
                  <a:pt x="1237" y="2199"/>
                </a:lnTo>
                <a:lnTo>
                  <a:pt x="1248" y="2203"/>
                </a:lnTo>
                <a:lnTo>
                  <a:pt x="1258" y="2208"/>
                </a:lnTo>
                <a:lnTo>
                  <a:pt x="1267" y="2214"/>
                </a:lnTo>
                <a:lnTo>
                  <a:pt x="1277" y="2220"/>
                </a:lnTo>
                <a:lnTo>
                  <a:pt x="1296" y="2234"/>
                </a:lnTo>
                <a:lnTo>
                  <a:pt x="1312" y="2248"/>
                </a:lnTo>
                <a:lnTo>
                  <a:pt x="1327" y="2262"/>
                </a:lnTo>
                <a:lnTo>
                  <a:pt x="1340" y="2275"/>
                </a:lnTo>
                <a:lnTo>
                  <a:pt x="1352" y="2285"/>
                </a:lnTo>
                <a:lnTo>
                  <a:pt x="1363" y="2292"/>
                </a:lnTo>
                <a:lnTo>
                  <a:pt x="1370" y="2276"/>
                </a:lnTo>
                <a:lnTo>
                  <a:pt x="1377" y="2261"/>
                </a:lnTo>
                <a:lnTo>
                  <a:pt x="1385" y="2248"/>
                </a:lnTo>
                <a:lnTo>
                  <a:pt x="1394" y="2235"/>
                </a:lnTo>
                <a:lnTo>
                  <a:pt x="1401" y="2223"/>
                </a:lnTo>
                <a:lnTo>
                  <a:pt x="1410" y="2210"/>
                </a:lnTo>
                <a:lnTo>
                  <a:pt x="1419" y="2198"/>
                </a:lnTo>
                <a:lnTo>
                  <a:pt x="1429" y="2187"/>
                </a:lnTo>
                <a:lnTo>
                  <a:pt x="1439" y="2160"/>
                </a:lnTo>
                <a:lnTo>
                  <a:pt x="1449" y="2138"/>
                </a:lnTo>
                <a:lnTo>
                  <a:pt x="1459" y="2116"/>
                </a:lnTo>
                <a:lnTo>
                  <a:pt x="1468" y="2088"/>
                </a:lnTo>
                <a:lnTo>
                  <a:pt x="1472" y="2082"/>
                </a:lnTo>
                <a:lnTo>
                  <a:pt x="1476" y="2076"/>
                </a:lnTo>
                <a:lnTo>
                  <a:pt x="1480" y="2070"/>
                </a:lnTo>
                <a:lnTo>
                  <a:pt x="1485" y="2065"/>
                </a:lnTo>
                <a:lnTo>
                  <a:pt x="1496" y="2055"/>
                </a:lnTo>
                <a:lnTo>
                  <a:pt x="1507" y="2046"/>
                </a:lnTo>
                <a:lnTo>
                  <a:pt x="1518" y="2036"/>
                </a:lnTo>
                <a:lnTo>
                  <a:pt x="1527" y="2026"/>
                </a:lnTo>
                <a:lnTo>
                  <a:pt x="1530" y="2021"/>
                </a:lnTo>
                <a:lnTo>
                  <a:pt x="1533" y="2015"/>
                </a:lnTo>
                <a:lnTo>
                  <a:pt x="1534" y="2009"/>
                </a:lnTo>
                <a:lnTo>
                  <a:pt x="1535" y="2002"/>
                </a:lnTo>
                <a:lnTo>
                  <a:pt x="1535" y="1993"/>
                </a:lnTo>
                <a:lnTo>
                  <a:pt x="1534" y="1984"/>
                </a:lnTo>
                <a:lnTo>
                  <a:pt x="1532" y="1975"/>
                </a:lnTo>
                <a:lnTo>
                  <a:pt x="1530" y="1966"/>
                </a:lnTo>
                <a:lnTo>
                  <a:pt x="1524" y="1950"/>
                </a:lnTo>
                <a:lnTo>
                  <a:pt x="1519" y="1934"/>
                </a:lnTo>
                <a:lnTo>
                  <a:pt x="1512" y="1918"/>
                </a:lnTo>
                <a:lnTo>
                  <a:pt x="1507" y="1904"/>
                </a:lnTo>
                <a:lnTo>
                  <a:pt x="1504" y="1891"/>
                </a:lnTo>
                <a:lnTo>
                  <a:pt x="1502" y="1879"/>
                </a:lnTo>
                <a:lnTo>
                  <a:pt x="1502" y="1873"/>
                </a:lnTo>
                <a:lnTo>
                  <a:pt x="1504" y="1867"/>
                </a:lnTo>
                <a:lnTo>
                  <a:pt x="1506" y="1861"/>
                </a:lnTo>
                <a:lnTo>
                  <a:pt x="1508" y="1855"/>
                </a:lnTo>
                <a:lnTo>
                  <a:pt x="1514" y="1843"/>
                </a:lnTo>
                <a:lnTo>
                  <a:pt x="1523" y="1830"/>
                </a:lnTo>
                <a:lnTo>
                  <a:pt x="1534" y="1817"/>
                </a:lnTo>
                <a:lnTo>
                  <a:pt x="1547" y="1805"/>
                </a:lnTo>
                <a:lnTo>
                  <a:pt x="1561" y="1793"/>
                </a:lnTo>
                <a:lnTo>
                  <a:pt x="1576" y="1782"/>
                </a:lnTo>
                <a:lnTo>
                  <a:pt x="1591" y="1772"/>
                </a:lnTo>
                <a:lnTo>
                  <a:pt x="1608" y="1761"/>
                </a:lnTo>
                <a:lnTo>
                  <a:pt x="1623" y="1753"/>
                </a:lnTo>
                <a:lnTo>
                  <a:pt x="1640" y="1745"/>
                </a:lnTo>
                <a:lnTo>
                  <a:pt x="1655" y="1739"/>
                </a:lnTo>
                <a:lnTo>
                  <a:pt x="1669" y="1735"/>
                </a:lnTo>
                <a:lnTo>
                  <a:pt x="1682" y="1732"/>
                </a:lnTo>
                <a:lnTo>
                  <a:pt x="1695" y="1731"/>
                </a:lnTo>
                <a:lnTo>
                  <a:pt x="1699" y="1731"/>
                </a:lnTo>
                <a:lnTo>
                  <a:pt x="1702" y="1729"/>
                </a:lnTo>
                <a:lnTo>
                  <a:pt x="1706" y="1727"/>
                </a:lnTo>
                <a:lnTo>
                  <a:pt x="1709" y="1725"/>
                </a:lnTo>
                <a:lnTo>
                  <a:pt x="1717" y="1718"/>
                </a:lnTo>
                <a:lnTo>
                  <a:pt x="1724" y="1709"/>
                </a:lnTo>
                <a:lnTo>
                  <a:pt x="1733" y="1701"/>
                </a:lnTo>
                <a:lnTo>
                  <a:pt x="1743" y="1694"/>
                </a:lnTo>
                <a:lnTo>
                  <a:pt x="1748" y="1692"/>
                </a:lnTo>
                <a:lnTo>
                  <a:pt x="1754" y="1690"/>
                </a:lnTo>
                <a:lnTo>
                  <a:pt x="1760" y="1688"/>
                </a:lnTo>
                <a:lnTo>
                  <a:pt x="1768" y="1688"/>
                </a:lnTo>
                <a:lnTo>
                  <a:pt x="1779" y="1684"/>
                </a:lnTo>
                <a:lnTo>
                  <a:pt x="1789" y="1682"/>
                </a:lnTo>
                <a:lnTo>
                  <a:pt x="1798" y="1681"/>
                </a:lnTo>
                <a:lnTo>
                  <a:pt x="1807" y="1680"/>
                </a:lnTo>
                <a:lnTo>
                  <a:pt x="1820" y="1681"/>
                </a:lnTo>
                <a:lnTo>
                  <a:pt x="1834" y="1682"/>
                </a:lnTo>
                <a:lnTo>
                  <a:pt x="1854" y="1681"/>
                </a:lnTo>
                <a:lnTo>
                  <a:pt x="1868" y="1679"/>
                </a:lnTo>
                <a:lnTo>
                  <a:pt x="1874" y="1678"/>
                </a:lnTo>
                <a:lnTo>
                  <a:pt x="1878" y="1676"/>
                </a:lnTo>
                <a:lnTo>
                  <a:pt x="1882" y="1673"/>
                </a:lnTo>
                <a:lnTo>
                  <a:pt x="1885" y="1670"/>
                </a:lnTo>
                <a:lnTo>
                  <a:pt x="1890" y="1663"/>
                </a:lnTo>
                <a:lnTo>
                  <a:pt x="1893" y="1653"/>
                </a:lnTo>
                <a:lnTo>
                  <a:pt x="1897" y="1641"/>
                </a:lnTo>
                <a:lnTo>
                  <a:pt x="1901" y="1626"/>
                </a:lnTo>
                <a:lnTo>
                  <a:pt x="1927" y="1571"/>
                </a:lnTo>
                <a:lnTo>
                  <a:pt x="1939" y="1553"/>
                </a:lnTo>
                <a:lnTo>
                  <a:pt x="1949" y="1535"/>
                </a:lnTo>
                <a:lnTo>
                  <a:pt x="1959" y="1518"/>
                </a:lnTo>
                <a:lnTo>
                  <a:pt x="1967" y="1500"/>
                </a:lnTo>
                <a:lnTo>
                  <a:pt x="1972" y="1480"/>
                </a:lnTo>
                <a:lnTo>
                  <a:pt x="1977" y="1460"/>
                </a:lnTo>
                <a:lnTo>
                  <a:pt x="1980" y="1437"/>
                </a:lnTo>
                <a:lnTo>
                  <a:pt x="1980" y="1411"/>
                </a:lnTo>
                <a:lnTo>
                  <a:pt x="1981" y="1405"/>
                </a:lnTo>
                <a:lnTo>
                  <a:pt x="1982" y="1400"/>
                </a:lnTo>
                <a:lnTo>
                  <a:pt x="1983" y="1395"/>
                </a:lnTo>
                <a:lnTo>
                  <a:pt x="1986" y="1391"/>
                </a:lnTo>
                <a:lnTo>
                  <a:pt x="1991" y="1382"/>
                </a:lnTo>
                <a:lnTo>
                  <a:pt x="1997" y="1372"/>
                </a:lnTo>
                <a:lnTo>
                  <a:pt x="2003" y="1364"/>
                </a:lnTo>
                <a:lnTo>
                  <a:pt x="2009" y="1354"/>
                </a:lnTo>
                <a:lnTo>
                  <a:pt x="2011" y="1349"/>
                </a:lnTo>
                <a:lnTo>
                  <a:pt x="2012" y="1343"/>
                </a:lnTo>
                <a:lnTo>
                  <a:pt x="2013" y="1337"/>
                </a:lnTo>
                <a:lnTo>
                  <a:pt x="2014" y="1331"/>
                </a:lnTo>
                <a:lnTo>
                  <a:pt x="2014" y="1307"/>
                </a:lnTo>
                <a:lnTo>
                  <a:pt x="2014" y="1288"/>
                </a:lnTo>
                <a:lnTo>
                  <a:pt x="2014" y="1271"/>
                </a:lnTo>
                <a:lnTo>
                  <a:pt x="2014" y="1250"/>
                </a:lnTo>
                <a:lnTo>
                  <a:pt x="2011" y="1223"/>
                </a:lnTo>
                <a:lnTo>
                  <a:pt x="2004" y="1185"/>
                </a:lnTo>
                <a:lnTo>
                  <a:pt x="2000" y="1165"/>
                </a:lnTo>
                <a:lnTo>
                  <a:pt x="1997" y="1145"/>
                </a:lnTo>
                <a:lnTo>
                  <a:pt x="1994" y="1129"/>
                </a:lnTo>
                <a:lnTo>
                  <a:pt x="1993" y="1115"/>
                </a:lnTo>
                <a:lnTo>
                  <a:pt x="1994" y="1108"/>
                </a:lnTo>
                <a:lnTo>
                  <a:pt x="1997" y="1102"/>
                </a:lnTo>
                <a:lnTo>
                  <a:pt x="1999" y="1096"/>
                </a:lnTo>
                <a:lnTo>
                  <a:pt x="2002" y="1090"/>
                </a:lnTo>
                <a:lnTo>
                  <a:pt x="2006" y="1085"/>
                </a:lnTo>
                <a:lnTo>
                  <a:pt x="2012" y="1081"/>
                </a:lnTo>
                <a:lnTo>
                  <a:pt x="2017" y="1077"/>
                </a:lnTo>
                <a:lnTo>
                  <a:pt x="2023" y="1073"/>
                </a:lnTo>
                <a:lnTo>
                  <a:pt x="2035" y="1067"/>
                </a:lnTo>
                <a:lnTo>
                  <a:pt x="2047" y="1063"/>
                </a:lnTo>
                <a:lnTo>
                  <a:pt x="2058" y="1060"/>
                </a:lnTo>
                <a:lnTo>
                  <a:pt x="2067" y="1060"/>
                </a:lnTo>
                <a:lnTo>
                  <a:pt x="2067" y="1046"/>
                </a:lnTo>
                <a:lnTo>
                  <a:pt x="2069" y="1032"/>
                </a:lnTo>
                <a:lnTo>
                  <a:pt x="2071" y="1020"/>
                </a:lnTo>
                <a:lnTo>
                  <a:pt x="2073" y="1009"/>
                </a:lnTo>
                <a:lnTo>
                  <a:pt x="2078" y="999"/>
                </a:lnTo>
                <a:lnTo>
                  <a:pt x="2081" y="990"/>
                </a:lnTo>
                <a:lnTo>
                  <a:pt x="2087" y="980"/>
                </a:lnTo>
                <a:lnTo>
                  <a:pt x="2092" y="972"/>
                </a:lnTo>
                <a:lnTo>
                  <a:pt x="2104" y="956"/>
                </a:lnTo>
                <a:lnTo>
                  <a:pt x="2117" y="943"/>
                </a:lnTo>
                <a:lnTo>
                  <a:pt x="2132" y="929"/>
                </a:lnTo>
                <a:lnTo>
                  <a:pt x="2147" y="917"/>
                </a:lnTo>
                <a:lnTo>
                  <a:pt x="2161" y="904"/>
                </a:lnTo>
                <a:lnTo>
                  <a:pt x="2175" y="891"/>
                </a:lnTo>
                <a:lnTo>
                  <a:pt x="2183" y="885"/>
                </a:lnTo>
                <a:lnTo>
                  <a:pt x="2190" y="877"/>
                </a:lnTo>
                <a:lnTo>
                  <a:pt x="2195" y="869"/>
                </a:lnTo>
                <a:lnTo>
                  <a:pt x="2202" y="861"/>
                </a:lnTo>
                <a:lnTo>
                  <a:pt x="2206" y="852"/>
                </a:lnTo>
                <a:lnTo>
                  <a:pt x="2212" y="843"/>
                </a:lnTo>
                <a:lnTo>
                  <a:pt x="2216" y="833"/>
                </a:lnTo>
                <a:lnTo>
                  <a:pt x="2219" y="822"/>
                </a:lnTo>
                <a:lnTo>
                  <a:pt x="2223" y="810"/>
                </a:lnTo>
                <a:lnTo>
                  <a:pt x="2225" y="798"/>
                </a:lnTo>
                <a:lnTo>
                  <a:pt x="2226" y="784"/>
                </a:lnTo>
                <a:lnTo>
                  <a:pt x="2226" y="770"/>
                </a:lnTo>
                <a:lnTo>
                  <a:pt x="2225" y="752"/>
                </a:lnTo>
                <a:lnTo>
                  <a:pt x="2222" y="732"/>
                </a:lnTo>
                <a:lnTo>
                  <a:pt x="2217" y="711"/>
                </a:lnTo>
                <a:lnTo>
                  <a:pt x="2212" y="689"/>
                </a:lnTo>
                <a:lnTo>
                  <a:pt x="2205" y="668"/>
                </a:lnTo>
                <a:lnTo>
                  <a:pt x="2199" y="649"/>
                </a:lnTo>
                <a:lnTo>
                  <a:pt x="2192" y="633"/>
                </a:lnTo>
                <a:lnTo>
                  <a:pt x="2186" y="622"/>
                </a:lnTo>
                <a:lnTo>
                  <a:pt x="2182" y="614"/>
                </a:lnTo>
                <a:lnTo>
                  <a:pt x="2178" y="608"/>
                </a:lnTo>
                <a:lnTo>
                  <a:pt x="2173" y="604"/>
                </a:lnTo>
                <a:lnTo>
                  <a:pt x="2168" y="601"/>
                </a:lnTo>
                <a:lnTo>
                  <a:pt x="2163" y="600"/>
                </a:lnTo>
                <a:lnTo>
                  <a:pt x="2157" y="599"/>
                </a:lnTo>
                <a:lnTo>
                  <a:pt x="2151" y="600"/>
                </a:lnTo>
                <a:lnTo>
                  <a:pt x="2146" y="601"/>
                </a:lnTo>
                <a:lnTo>
                  <a:pt x="2134" y="603"/>
                </a:lnTo>
                <a:lnTo>
                  <a:pt x="2122" y="605"/>
                </a:lnTo>
                <a:lnTo>
                  <a:pt x="2116" y="605"/>
                </a:lnTo>
                <a:lnTo>
                  <a:pt x="2111" y="604"/>
                </a:lnTo>
                <a:lnTo>
                  <a:pt x="2105" y="602"/>
                </a:lnTo>
                <a:lnTo>
                  <a:pt x="2100" y="597"/>
                </a:lnTo>
                <a:lnTo>
                  <a:pt x="2089" y="590"/>
                </a:lnTo>
                <a:lnTo>
                  <a:pt x="2079" y="582"/>
                </a:lnTo>
                <a:lnTo>
                  <a:pt x="2069" y="573"/>
                </a:lnTo>
                <a:lnTo>
                  <a:pt x="2059" y="563"/>
                </a:lnTo>
                <a:lnTo>
                  <a:pt x="2039" y="540"/>
                </a:lnTo>
                <a:lnTo>
                  <a:pt x="2021" y="518"/>
                </a:lnTo>
                <a:lnTo>
                  <a:pt x="2010" y="507"/>
                </a:lnTo>
                <a:lnTo>
                  <a:pt x="2000" y="497"/>
                </a:lnTo>
                <a:lnTo>
                  <a:pt x="1989" y="488"/>
                </a:lnTo>
                <a:lnTo>
                  <a:pt x="1977" y="478"/>
                </a:lnTo>
                <a:lnTo>
                  <a:pt x="1965" y="471"/>
                </a:lnTo>
                <a:lnTo>
                  <a:pt x="1950" y="466"/>
                </a:lnTo>
                <a:lnTo>
                  <a:pt x="1944" y="464"/>
                </a:lnTo>
                <a:lnTo>
                  <a:pt x="1936" y="463"/>
                </a:lnTo>
                <a:lnTo>
                  <a:pt x="1928" y="462"/>
                </a:lnTo>
                <a:lnTo>
                  <a:pt x="1921" y="462"/>
                </a:lnTo>
                <a:lnTo>
                  <a:pt x="1898" y="462"/>
                </a:lnTo>
                <a:lnTo>
                  <a:pt x="1878" y="462"/>
                </a:lnTo>
                <a:lnTo>
                  <a:pt x="1860" y="462"/>
                </a:lnTo>
                <a:lnTo>
                  <a:pt x="1841" y="462"/>
                </a:lnTo>
                <a:lnTo>
                  <a:pt x="1826" y="461"/>
                </a:lnTo>
                <a:lnTo>
                  <a:pt x="1814" y="460"/>
                </a:lnTo>
                <a:lnTo>
                  <a:pt x="1802" y="458"/>
                </a:lnTo>
                <a:lnTo>
                  <a:pt x="1791" y="456"/>
                </a:lnTo>
                <a:lnTo>
                  <a:pt x="1780" y="453"/>
                </a:lnTo>
                <a:lnTo>
                  <a:pt x="1768" y="451"/>
                </a:lnTo>
                <a:lnTo>
                  <a:pt x="1755" y="450"/>
                </a:lnTo>
                <a:lnTo>
                  <a:pt x="1742" y="450"/>
                </a:lnTo>
                <a:lnTo>
                  <a:pt x="1725" y="450"/>
                </a:lnTo>
                <a:lnTo>
                  <a:pt x="1713" y="452"/>
                </a:lnTo>
                <a:lnTo>
                  <a:pt x="1703" y="454"/>
                </a:lnTo>
                <a:lnTo>
                  <a:pt x="1696" y="458"/>
                </a:lnTo>
                <a:lnTo>
                  <a:pt x="1689" y="462"/>
                </a:lnTo>
                <a:lnTo>
                  <a:pt x="1685" y="467"/>
                </a:lnTo>
                <a:lnTo>
                  <a:pt x="1679" y="473"/>
                </a:lnTo>
                <a:lnTo>
                  <a:pt x="1675" y="480"/>
                </a:lnTo>
                <a:lnTo>
                  <a:pt x="1672" y="471"/>
                </a:lnTo>
                <a:lnTo>
                  <a:pt x="1669" y="462"/>
                </a:lnTo>
                <a:lnTo>
                  <a:pt x="1669" y="454"/>
                </a:lnTo>
                <a:lnTo>
                  <a:pt x="1670" y="447"/>
                </a:lnTo>
                <a:lnTo>
                  <a:pt x="1673" y="436"/>
                </a:lnTo>
                <a:lnTo>
                  <a:pt x="1675" y="430"/>
                </a:lnTo>
                <a:lnTo>
                  <a:pt x="1675" y="426"/>
                </a:lnTo>
                <a:lnTo>
                  <a:pt x="1673" y="421"/>
                </a:lnTo>
                <a:lnTo>
                  <a:pt x="1670" y="417"/>
                </a:lnTo>
                <a:lnTo>
                  <a:pt x="1668" y="413"/>
                </a:lnTo>
                <a:lnTo>
                  <a:pt x="1664" y="406"/>
                </a:lnTo>
                <a:lnTo>
                  <a:pt x="1662" y="400"/>
                </a:lnTo>
                <a:lnTo>
                  <a:pt x="1655" y="400"/>
                </a:lnTo>
                <a:lnTo>
                  <a:pt x="1648" y="398"/>
                </a:lnTo>
                <a:lnTo>
                  <a:pt x="1643" y="396"/>
                </a:lnTo>
                <a:lnTo>
                  <a:pt x="1636" y="394"/>
                </a:lnTo>
                <a:lnTo>
                  <a:pt x="1624" y="387"/>
                </a:lnTo>
                <a:lnTo>
                  <a:pt x="1612" y="379"/>
                </a:lnTo>
                <a:lnTo>
                  <a:pt x="1596" y="363"/>
                </a:lnTo>
                <a:lnTo>
                  <a:pt x="1588" y="357"/>
                </a:lnTo>
                <a:lnTo>
                  <a:pt x="1581" y="359"/>
                </a:lnTo>
                <a:lnTo>
                  <a:pt x="1574" y="360"/>
                </a:lnTo>
                <a:lnTo>
                  <a:pt x="1567" y="361"/>
                </a:lnTo>
                <a:lnTo>
                  <a:pt x="1560" y="362"/>
                </a:lnTo>
                <a:lnTo>
                  <a:pt x="1546" y="361"/>
                </a:lnTo>
                <a:lnTo>
                  <a:pt x="1534" y="358"/>
                </a:lnTo>
                <a:lnTo>
                  <a:pt x="1523" y="354"/>
                </a:lnTo>
                <a:lnTo>
                  <a:pt x="1512" y="348"/>
                </a:lnTo>
                <a:lnTo>
                  <a:pt x="1504" y="341"/>
                </a:lnTo>
                <a:lnTo>
                  <a:pt x="1496" y="333"/>
                </a:lnTo>
                <a:lnTo>
                  <a:pt x="1468" y="333"/>
                </a:lnTo>
                <a:lnTo>
                  <a:pt x="1468" y="337"/>
                </a:lnTo>
                <a:lnTo>
                  <a:pt x="1466" y="342"/>
                </a:lnTo>
                <a:lnTo>
                  <a:pt x="1463" y="349"/>
                </a:lnTo>
                <a:lnTo>
                  <a:pt x="1459" y="357"/>
                </a:lnTo>
                <a:lnTo>
                  <a:pt x="1446" y="373"/>
                </a:lnTo>
                <a:lnTo>
                  <a:pt x="1433" y="390"/>
                </a:lnTo>
                <a:lnTo>
                  <a:pt x="1426" y="398"/>
                </a:lnTo>
                <a:lnTo>
                  <a:pt x="1419" y="404"/>
                </a:lnTo>
                <a:lnTo>
                  <a:pt x="1411" y="409"/>
                </a:lnTo>
                <a:lnTo>
                  <a:pt x="1405" y="413"/>
                </a:lnTo>
                <a:lnTo>
                  <a:pt x="1401" y="414"/>
                </a:lnTo>
                <a:lnTo>
                  <a:pt x="1398" y="415"/>
                </a:lnTo>
                <a:lnTo>
                  <a:pt x="1395" y="415"/>
                </a:lnTo>
                <a:lnTo>
                  <a:pt x="1392" y="414"/>
                </a:lnTo>
                <a:lnTo>
                  <a:pt x="1389" y="413"/>
                </a:lnTo>
                <a:lnTo>
                  <a:pt x="1387" y="412"/>
                </a:lnTo>
                <a:lnTo>
                  <a:pt x="1385" y="409"/>
                </a:lnTo>
                <a:lnTo>
                  <a:pt x="1383" y="406"/>
                </a:lnTo>
                <a:lnTo>
                  <a:pt x="1367" y="406"/>
                </a:lnTo>
                <a:lnTo>
                  <a:pt x="1352" y="406"/>
                </a:lnTo>
                <a:lnTo>
                  <a:pt x="1338" y="405"/>
                </a:lnTo>
                <a:lnTo>
                  <a:pt x="1325" y="402"/>
                </a:lnTo>
                <a:lnTo>
                  <a:pt x="1318" y="401"/>
                </a:lnTo>
                <a:lnTo>
                  <a:pt x="1312" y="399"/>
                </a:lnTo>
                <a:lnTo>
                  <a:pt x="1308" y="396"/>
                </a:lnTo>
                <a:lnTo>
                  <a:pt x="1304" y="393"/>
                </a:lnTo>
                <a:lnTo>
                  <a:pt x="1300" y="390"/>
                </a:lnTo>
                <a:lnTo>
                  <a:pt x="1298" y="386"/>
                </a:lnTo>
                <a:lnTo>
                  <a:pt x="1297" y="381"/>
                </a:lnTo>
                <a:lnTo>
                  <a:pt x="1296" y="375"/>
                </a:lnTo>
                <a:lnTo>
                  <a:pt x="1270" y="375"/>
                </a:lnTo>
                <a:lnTo>
                  <a:pt x="1259" y="380"/>
                </a:lnTo>
                <a:lnTo>
                  <a:pt x="1247" y="384"/>
                </a:lnTo>
                <a:lnTo>
                  <a:pt x="1240" y="384"/>
                </a:lnTo>
                <a:lnTo>
                  <a:pt x="1235" y="384"/>
                </a:lnTo>
                <a:lnTo>
                  <a:pt x="1228" y="384"/>
                </a:lnTo>
                <a:lnTo>
                  <a:pt x="1224" y="382"/>
                </a:lnTo>
                <a:lnTo>
                  <a:pt x="1283" y="333"/>
                </a:lnTo>
                <a:lnTo>
                  <a:pt x="1286" y="321"/>
                </a:lnTo>
                <a:lnTo>
                  <a:pt x="1289" y="309"/>
                </a:lnTo>
                <a:lnTo>
                  <a:pt x="1294" y="299"/>
                </a:lnTo>
                <a:lnTo>
                  <a:pt x="1299" y="290"/>
                </a:lnTo>
                <a:lnTo>
                  <a:pt x="1305" y="282"/>
                </a:lnTo>
                <a:lnTo>
                  <a:pt x="1310" y="274"/>
                </a:lnTo>
                <a:lnTo>
                  <a:pt x="1317" y="268"/>
                </a:lnTo>
                <a:lnTo>
                  <a:pt x="1323" y="260"/>
                </a:lnTo>
                <a:lnTo>
                  <a:pt x="1349" y="240"/>
                </a:lnTo>
                <a:lnTo>
                  <a:pt x="1370" y="222"/>
                </a:lnTo>
                <a:lnTo>
                  <a:pt x="1362" y="217"/>
                </a:lnTo>
                <a:lnTo>
                  <a:pt x="1356" y="213"/>
                </a:lnTo>
                <a:lnTo>
                  <a:pt x="1352" y="210"/>
                </a:lnTo>
                <a:lnTo>
                  <a:pt x="1349" y="205"/>
                </a:lnTo>
                <a:lnTo>
                  <a:pt x="1345" y="201"/>
                </a:lnTo>
                <a:lnTo>
                  <a:pt x="1344" y="196"/>
                </a:lnTo>
                <a:lnTo>
                  <a:pt x="1343" y="191"/>
                </a:lnTo>
                <a:lnTo>
                  <a:pt x="1343" y="184"/>
                </a:lnTo>
                <a:lnTo>
                  <a:pt x="1338" y="184"/>
                </a:lnTo>
                <a:lnTo>
                  <a:pt x="1333" y="183"/>
                </a:lnTo>
                <a:lnTo>
                  <a:pt x="1330" y="182"/>
                </a:lnTo>
                <a:lnTo>
                  <a:pt x="1326" y="179"/>
                </a:lnTo>
                <a:lnTo>
                  <a:pt x="1320" y="174"/>
                </a:lnTo>
                <a:lnTo>
                  <a:pt x="1315" y="166"/>
                </a:lnTo>
                <a:lnTo>
                  <a:pt x="1310" y="157"/>
                </a:lnTo>
                <a:lnTo>
                  <a:pt x="1307" y="146"/>
                </a:lnTo>
                <a:lnTo>
                  <a:pt x="1305" y="135"/>
                </a:lnTo>
                <a:lnTo>
                  <a:pt x="1301" y="124"/>
                </a:lnTo>
                <a:lnTo>
                  <a:pt x="1298" y="100"/>
                </a:lnTo>
                <a:lnTo>
                  <a:pt x="1293" y="78"/>
                </a:lnTo>
                <a:lnTo>
                  <a:pt x="1291" y="68"/>
                </a:lnTo>
                <a:lnTo>
                  <a:pt x="1286" y="60"/>
                </a:lnTo>
                <a:lnTo>
                  <a:pt x="1282" y="54"/>
                </a:lnTo>
                <a:lnTo>
                  <a:pt x="1276" y="49"/>
                </a:lnTo>
                <a:lnTo>
                  <a:pt x="1264" y="71"/>
                </a:lnTo>
                <a:lnTo>
                  <a:pt x="1240" y="109"/>
                </a:lnTo>
                <a:lnTo>
                  <a:pt x="1227" y="128"/>
                </a:lnTo>
                <a:lnTo>
                  <a:pt x="1214" y="144"/>
                </a:lnTo>
                <a:lnTo>
                  <a:pt x="1207" y="150"/>
                </a:lnTo>
                <a:lnTo>
                  <a:pt x="1200" y="156"/>
                </a:lnTo>
                <a:lnTo>
                  <a:pt x="1195" y="159"/>
                </a:lnTo>
                <a:lnTo>
                  <a:pt x="1189" y="160"/>
                </a:lnTo>
                <a:lnTo>
                  <a:pt x="1124" y="135"/>
                </a:lnTo>
                <a:lnTo>
                  <a:pt x="1113" y="139"/>
                </a:lnTo>
                <a:lnTo>
                  <a:pt x="1102" y="142"/>
                </a:lnTo>
                <a:lnTo>
                  <a:pt x="1088" y="144"/>
                </a:lnTo>
                <a:lnTo>
                  <a:pt x="1075" y="146"/>
                </a:lnTo>
                <a:lnTo>
                  <a:pt x="1047" y="147"/>
                </a:lnTo>
                <a:lnTo>
                  <a:pt x="1017" y="147"/>
                </a:lnTo>
                <a:lnTo>
                  <a:pt x="1016" y="152"/>
                </a:lnTo>
                <a:lnTo>
                  <a:pt x="1015" y="157"/>
                </a:lnTo>
                <a:lnTo>
                  <a:pt x="1013" y="161"/>
                </a:lnTo>
                <a:lnTo>
                  <a:pt x="1009" y="165"/>
                </a:lnTo>
                <a:lnTo>
                  <a:pt x="1006" y="168"/>
                </a:lnTo>
                <a:lnTo>
                  <a:pt x="1003" y="170"/>
                </a:lnTo>
                <a:lnTo>
                  <a:pt x="1000" y="172"/>
                </a:lnTo>
                <a:lnTo>
                  <a:pt x="997" y="172"/>
                </a:lnTo>
                <a:lnTo>
                  <a:pt x="992" y="173"/>
                </a:lnTo>
                <a:lnTo>
                  <a:pt x="987" y="175"/>
                </a:lnTo>
                <a:lnTo>
                  <a:pt x="985" y="175"/>
                </a:lnTo>
                <a:lnTo>
                  <a:pt x="982" y="175"/>
                </a:lnTo>
                <a:lnTo>
                  <a:pt x="980" y="174"/>
                </a:lnTo>
                <a:lnTo>
                  <a:pt x="978" y="172"/>
                </a:lnTo>
                <a:lnTo>
                  <a:pt x="976" y="176"/>
                </a:lnTo>
                <a:lnTo>
                  <a:pt x="972" y="179"/>
                </a:lnTo>
                <a:lnTo>
                  <a:pt x="967" y="183"/>
                </a:lnTo>
                <a:lnTo>
                  <a:pt x="960" y="187"/>
                </a:lnTo>
                <a:lnTo>
                  <a:pt x="941" y="194"/>
                </a:lnTo>
                <a:lnTo>
                  <a:pt x="920" y="200"/>
                </a:lnTo>
                <a:lnTo>
                  <a:pt x="879" y="212"/>
                </a:lnTo>
                <a:lnTo>
                  <a:pt x="858" y="216"/>
                </a:lnTo>
                <a:lnTo>
                  <a:pt x="851" y="215"/>
                </a:lnTo>
                <a:lnTo>
                  <a:pt x="846" y="213"/>
                </a:lnTo>
                <a:lnTo>
                  <a:pt x="839" y="208"/>
                </a:lnTo>
                <a:lnTo>
                  <a:pt x="834" y="203"/>
                </a:lnTo>
                <a:lnTo>
                  <a:pt x="827" y="197"/>
                </a:lnTo>
                <a:lnTo>
                  <a:pt x="822" y="191"/>
                </a:lnTo>
                <a:lnTo>
                  <a:pt x="817" y="184"/>
                </a:lnTo>
                <a:lnTo>
                  <a:pt x="812" y="176"/>
                </a:lnTo>
                <a:lnTo>
                  <a:pt x="803" y="161"/>
                </a:lnTo>
                <a:lnTo>
                  <a:pt x="796" y="145"/>
                </a:lnTo>
                <a:lnTo>
                  <a:pt x="793" y="132"/>
                </a:lnTo>
                <a:lnTo>
                  <a:pt x="791" y="123"/>
                </a:lnTo>
                <a:lnTo>
                  <a:pt x="792" y="116"/>
                </a:lnTo>
                <a:lnTo>
                  <a:pt x="794" y="109"/>
                </a:lnTo>
                <a:lnTo>
                  <a:pt x="798" y="103"/>
                </a:lnTo>
                <a:lnTo>
                  <a:pt x="801" y="95"/>
                </a:lnTo>
                <a:lnTo>
                  <a:pt x="805" y="88"/>
                </a:lnTo>
                <a:lnTo>
                  <a:pt x="808" y="81"/>
                </a:lnTo>
                <a:lnTo>
                  <a:pt x="811" y="74"/>
                </a:lnTo>
                <a:lnTo>
                  <a:pt x="811" y="67"/>
                </a:lnTo>
                <a:lnTo>
                  <a:pt x="811" y="53"/>
                </a:lnTo>
                <a:lnTo>
                  <a:pt x="808" y="39"/>
                </a:lnTo>
                <a:lnTo>
                  <a:pt x="806" y="33"/>
                </a:lnTo>
                <a:lnTo>
                  <a:pt x="804" y="28"/>
                </a:lnTo>
                <a:lnTo>
                  <a:pt x="801" y="24"/>
                </a:lnTo>
                <a:lnTo>
                  <a:pt x="798" y="20"/>
                </a:lnTo>
                <a:lnTo>
                  <a:pt x="794" y="16"/>
                </a:lnTo>
                <a:lnTo>
                  <a:pt x="789" y="12"/>
                </a:lnTo>
                <a:lnTo>
                  <a:pt x="783" y="9"/>
                </a:lnTo>
                <a:lnTo>
                  <a:pt x="778" y="7"/>
                </a:lnTo>
                <a:lnTo>
                  <a:pt x="762" y="3"/>
                </a:lnTo>
                <a:lnTo>
                  <a:pt x="745" y="0"/>
                </a:lnTo>
                <a:lnTo>
                  <a:pt x="739" y="10"/>
                </a:lnTo>
                <a:lnTo>
                  <a:pt x="733" y="21"/>
                </a:lnTo>
                <a:lnTo>
                  <a:pt x="729" y="23"/>
                </a:lnTo>
                <a:lnTo>
                  <a:pt x="727" y="25"/>
                </a:lnTo>
                <a:lnTo>
                  <a:pt x="725" y="26"/>
                </a:lnTo>
                <a:lnTo>
                  <a:pt x="722" y="27"/>
                </a:lnTo>
                <a:lnTo>
                  <a:pt x="717" y="27"/>
                </a:lnTo>
                <a:lnTo>
                  <a:pt x="714" y="27"/>
                </a:lnTo>
                <a:lnTo>
                  <a:pt x="710" y="26"/>
                </a:lnTo>
                <a:lnTo>
                  <a:pt x="705" y="24"/>
                </a:lnTo>
                <a:lnTo>
                  <a:pt x="703" y="28"/>
                </a:lnTo>
                <a:lnTo>
                  <a:pt x="700" y="31"/>
                </a:lnTo>
                <a:lnTo>
                  <a:pt x="695" y="35"/>
                </a:lnTo>
                <a:lnTo>
                  <a:pt x="690" y="39"/>
                </a:lnTo>
                <a:lnTo>
                  <a:pt x="677" y="47"/>
                </a:lnTo>
                <a:lnTo>
                  <a:pt x="662" y="55"/>
                </a:lnTo>
                <a:lnTo>
                  <a:pt x="648" y="63"/>
                </a:lnTo>
                <a:lnTo>
                  <a:pt x="637" y="71"/>
                </a:lnTo>
                <a:lnTo>
                  <a:pt x="632" y="75"/>
                </a:lnTo>
                <a:lnTo>
                  <a:pt x="628" y="79"/>
                </a:lnTo>
                <a:lnTo>
                  <a:pt x="626" y="82"/>
                </a:lnTo>
                <a:lnTo>
                  <a:pt x="625" y="86"/>
                </a:lnTo>
                <a:lnTo>
                  <a:pt x="612" y="79"/>
                </a:lnTo>
                <a:lnTo>
                  <a:pt x="589" y="70"/>
                </a:lnTo>
                <a:lnTo>
                  <a:pt x="566" y="62"/>
                </a:lnTo>
                <a:lnTo>
                  <a:pt x="552" y="55"/>
                </a:lnTo>
                <a:lnTo>
                  <a:pt x="525" y="55"/>
                </a:lnTo>
                <a:lnTo>
                  <a:pt x="525" y="99"/>
                </a:lnTo>
                <a:lnTo>
                  <a:pt x="535" y="114"/>
                </a:lnTo>
                <a:lnTo>
                  <a:pt x="552" y="137"/>
                </a:lnTo>
                <a:lnTo>
                  <a:pt x="566" y="160"/>
                </a:lnTo>
                <a:lnTo>
                  <a:pt x="572" y="172"/>
                </a:lnTo>
                <a:lnTo>
                  <a:pt x="571" y="178"/>
                </a:lnTo>
                <a:lnTo>
                  <a:pt x="569" y="185"/>
                </a:lnTo>
                <a:lnTo>
                  <a:pt x="566" y="191"/>
                </a:lnTo>
                <a:lnTo>
                  <a:pt x="560" y="198"/>
                </a:lnTo>
                <a:lnTo>
                  <a:pt x="555" y="205"/>
                </a:lnTo>
                <a:lnTo>
                  <a:pt x="548" y="213"/>
                </a:lnTo>
                <a:lnTo>
                  <a:pt x="541" y="220"/>
                </a:lnTo>
                <a:lnTo>
                  <a:pt x="532" y="227"/>
                </a:lnTo>
                <a:lnTo>
                  <a:pt x="523" y="233"/>
                </a:lnTo>
                <a:lnTo>
                  <a:pt x="513" y="239"/>
                </a:lnTo>
                <a:lnTo>
                  <a:pt x="503" y="244"/>
                </a:lnTo>
                <a:lnTo>
                  <a:pt x="493" y="249"/>
                </a:lnTo>
                <a:lnTo>
                  <a:pt x="483" y="253"/>
                </a:lnTo>
                <a:lnTo>
                  <a:pt x="472" y="256"/>
                </a:lnTo>
                <a:lnTo>
                  <a:pt x="463" y="257"/>
                </a:lnTo>
                <a:lnTo>
                  <a:pt x="453" y="258"/>
                </a:lnTo>
                <a:lnTo>
                  <a:pt x="446" y="258"/>
                </a:lnTo>
                <a:lnTo>
                  <a:pt x="440" y="256"/>
                </a:lnTo>
                <a:lnTo>
                  <a:pt x="433" y="254"/>
                </a:lnTo>
                <a:lnTo>
                  <a:pt x="426" y="252"/>
                </a:lnTo>
                <a:lnTo>
                  <a:pt x="413" y="245"/>
                </a:lnTo>
                <a:lnTo>
                  <a:pt x="401" y="235"/>
                </a:lnTo>
                <a:lnTo>
                  <a:pt x="389" y="224"/>
                </a:lnTo>
                <a:lnTo>
                  <a:pt x="378" y="212"/>
                </a:lnTo>
                <a:lnTo>
                  <a:pt x="368" y="198"/>
                </a:lnTo>
                <a:lnTo>
                  <a:pt x="359" y="184"/>
                </a:lnTo>
                <a:lnTo>
                  <a:pt x="330" y="190"/>
                </a:lnTo>
                <a:lnTo>
                  <a:pt x="286" y="197"/>
                </a:lnTo>
                <a:lnTo>
                  <a:pt x="263" y="201"/>
                </a:lnTo>
                <a:lnTo>
                  <a:pt x="244" y="206"/>
                </a:lnTo>
                <a:lnTo>
                  <a:pt x="238" y="208"/>
                </a:lnTo>
                <a:lnTo>
                  <a:pt x="231" y="211"/>
                </a:lnTo>
                <a:lnTo>
                  <a:pt x="228" y="213"/>
                </a:lnTo>
                <a:lnTo>
                  <a:pt x="227" y="216"/>
                </a:lnTo>
                <a:lnTo>
                  <a:pt x="227" y="220"/>
                </a:lnTo>
                <a:lnTo>
                  <a:pt x="229" y="224"/>
                </a:lnTo>
                <a:lnTo>
                  <a:pt x="231" y="227"/>
                </a:lnTo>
                <a:lnTo>
                  <a:pt x="235" y="230"/>
                </a:lnTo>
                <a:lnTo>
                  <a:pt x="243" y="235"/>
                </a:lnTo>
                <a:lnTo>
                  <a:pt x="253" y="240"/>
                </a:lnTo>
                <a:lnTo>
                  <a:pt x="253" y="258"/>
                </a:lnTo>
                <a:lnTo>
                  <a:pt x="241" y="262"/>
                </a:lnTo>
                <a:lnTo>
                  <a:pt x="221" y="268"/>
                </a:lnTo>
                <a:lnTo>
                  <a:pt x="210" y="272"/>
                </a:lnTo>
                <a:lnTo>
                  <a:pt x="201" y="278"/>
                </a:lnTo>
                <a:lnTo>
                  <a:pt x="198" y="281"/>
                </a:lnTo>
                <a:lnTo>
                  <a:pt x="196" y="285"/>
                </a:lnTo>
                <a:lnTo>
                  <a:pt x="194" y="290"/>
                </a:lnTo>
                <a:lnTo>
                  <a:pt x="194" y="295"/>
                </a:lnTo>
                <a:lnTo>
                  <a:pt x="194" y="302"/>
                </a:lnTo>
                <a:lnTo>
                  <a:pt x="196" y="307"/>
                </a:lnTo>
                <a:lnTo>
                  <a:pt x="198" y="311"/>
                </a:lnTo>
                <a:lnTo>
                  <a:pt x="201" y="314"/>
                </a:lnTo>
                <a:lnTo>
                  <a:pt x="210" y="321"/>
                </a:lnTo>
                <a:lnTo>
                  <a:pt x="220" y="327"/>
                </a:lnTo>
                <a:lnTo>
                  <a:pt x="224" y="330"/>
                </a:lnTo>
                <a:lnTo>
                  <a:pt x="230" y="333"/>
                </a:lnTo>
                <a:lnTo>
                  <a:pt x="234" y="337"/>
                </a:lnTo>
                <a:lnTo>
                  <a:pt x="239" y="342"/>
                </a:lnTo>
                <a:lnTo>
                  <a:pt x="242" y="348"/>
                </a:lnTo>
                <a:lnTo>
                  <a:pt x="244" y="356"/>
                </a:lnTo>
                <a:lnTo>
                  <a:pt x="246" y="365"/>
                </a:lnTo>
                <a:lnTo>
                  <a:pt x="246" y="375"/>
                </a:lnTo>
                <a:lnTo>
                  <a:pt x="246" y="388"/>
                </a:lnTo>
                <a:lnTo>
                  <a:pt x="245" y="400"/>
                </a:lnTo>
                <a:lnTo>
                  <a:pt x="243" y="412"/>
                </a:lnTo>
                <a:lnTo>
                  <a:pt x="241" y="423"/>
                </a:lnTo>
                <a:lnTo>
                  <a:pt x="236" y="446"/>
                </a:lnTo>
                <a:lnTo>
                  <a:pt x="230" y="468"/>
                </a:lnTo>
                <a:lnTo>
                  <a:pt x="223" y="490"/>
                </a:lnTo>
                <a:lnTo>
                  <a:pt x="219" y="512"/>
                </a:lnTo>
                <a:lnTo>
                  <a:pt x="217" y="524"/>
                </a:lnTo>
                <a:lnTo>
                  <a:pt x="214" y="535"/>
                </a:lnTo>
                <a:lnTo>
                  <a:pt x="213" y="548"/>
                </a:lnTo>
                <a:lnTo>
                  <a:pt x="213" y="560"/>
                </a:lnTo>
                <a:lnTo>
                  <a:pt x="194" y="560"/>
                </a:lnTo>
                <a:lnTo>
                  <a:pt x="188" y="557"/>
                </a:lnTo>
                <a:lnTo>
                  <a:pt x="184" y="554"/>
                </a:lnTo>
                <a:lnTo>
                  <a:pt x="183" y="553"/>
                </a:lnTo>
                <a:lnTo>
                  <a:pt x="182" y="552"/>
                </a:lnTo>
                <a:lnTo>
                  <a:pt x="180" y="550"/>
                </a:lnTo>
                <a:lnTo>
                  <a:pt x="180" y="548"/>
                </a:lnTo>
                <a:lnTo>
                  <a:pt x="168" y="554"/>
                </a:lnTo>
                <a:lnTo>
                  <a:pt x="157" y="559"/>
                </a:lnTo>
                <a:lnTo>
                  <a:pt x="147" y="562"/>
                </a:lnTo>
                <a:lnTo>
                  <a:pt x="138" y="564"/>
                </a:lnTo>
                <a:lnTo>
                  <a:pt x="119" y="566"/>
                </a:lnTo>
                <a:lnTo>
                  <a:pt x="100" y="567"/>
                </a:lnTo>
                <a:lnTo>
                  <a:pt x="96" y="567"/>
                </a:lnTo>
                <a:lnTo>
                  <a:pt x="93" y="569"/>
                </a:lnTo>
                <a:lnTo>
                  <a:pt x="90" y="573"/>
                </a:lnTo>
                <a:lnTo>
                  <a:pt x="88" y="576"/>
                </a:lnTo>
                <a:lnTo>
                  <a:pt x="85" y="584"/>
                </a:lnTo>
                <a:lnTo>
                  <a:pt x="81" y="591"/>
                </a:lnTo>
                <a:lnTo>
                  <a:pt x="65" y="607"/>
                </a:lnTo>
                <a:lnTo>
                  <a:pt x="51" y="624"/>
                </a:lnTo>
                <a:lnTo>
                  <a:pt x="38" y="643"/>
                </a:lnTo>
                <a:lnTo>
                  <a:pt x="26" y="665"/>
                </a:lnTo>
                <a:lnTo>
                  <a:pt x="20" y="676"/>
                </a:lnTo>
                <a:lnTo>
                  <a:pt x="16" y="687"/>
                </a:lnTo>
                <a:lnTo>
                  <a:pt x="11" y="699"/>
                </a:lnTo>
                <a:lnTo>
                  <a:pt x="7" y="711"/>
                </a:lnTo>
                <a:lnTo>
                  <a:pt x="5" y="723"/>
                </a:lnTo>
                <a:lnTo>
                  <a:pt x="3" y="734"/>
                </a:lnTo>
                <a:lnTo>
                  <a:pt x="1" y="746"/>
                </a:lnTo>
                <a:lnTo>
                  <a:pt x="0" y="757"/>
                </a:lnTo>
                <a:lnTo>
                  <a:pt x="1" y="767"/>
                </a:lnTo>
                <a:lnTo>
                  <a:pt x="4" y="777"/>
                </a:lnTo>
                <a:lnTo>
                  <a:pt x="7" y="787"/>
                </a:lnTo>
                <a:lnTo>
                  <a:pt x="11" y="799"/>
                </a:lnTo>
                <a:lnTo>
                  <a:pt x="17" y="811"/>
                </a:lnTo>
                <a:lnTo>
                  <a:pt x="22" y="824"/>
                </a:lnTo>
                <a:lnTo>
                  <a:pt x="30" y="836"/>
                </a:lnTo>
                <a:lnTo>
                  <a:pt x="38" y="848"/>
                </a:lnTo>
                <a:lnTo>
                  <a:pt x="46" y="859"/>
                </a:lnTo>
                <a:lnTo>
                  <a:pt x="56" y="870"/>
                </a:lnTo>
                <a:lnTo>
                  <a:pt x="66" y="880"/>
                </a:lnTo>
                <a:lnTo>
                  <a:pt x="76" y="889"/>
                </a:lnTo>
                <a:lnTo>
                  <a:pt x="87" y="896"/>
                </a:lnTo>
                <a:lnTo>
                  <a:pt x="98" y="901"/>
                </a:lnTo>
                <a:lnTo>
                  <a:pt x="104" y="903"/>
                </a:lnTo>
                <a:lnTo>
                  <a:pt x="109" y="904"/>
                </a:lnTo>
                <a:lnTo>
                  <a:pt x="115" y="905"/>
                </a:lnTo>
                <a:lnTo>
                  <a:pt x="120" y="905"/>
                </a:lnTo>
                <a:lnTo>
                  <a:pt x="130" y="904"/>
                </a:lnTo>
                <a:lnTo>
                  <a:pt x="138" y="902"/>
                </a:lnTo>
                <a:lnTo>
                  <a:pt x="146" y="898"/>
                </a:lnTo>
                <a:lnTo>
                  <a:pt x="153" y="893"/>
                </a:lnTo>
                <a:lnTo>
                  <a:pt x="161" y="889"/>
                </a:lnTo>
                <a:lnTo>
                  <a:pt x="168" y="885"/>
                </a:lnTo>
                <a:lnTo>
                  <a:pt x="177" y="882"/>
                </a:lnTo>
                <a:lnTo>
                  <a:pt x="187" y="881"/>
                </a:lnTo>
                <a:lnTo>
                  <a:pt x="189" y="903"/>
                </a:lnTo>
                <a:lnTo>
                  <a:pt x="190" y="934"/>
                </a:lnTo>
                <a:lnTo>
                  <a:pt x="190" y="942"/>
                </a:lnTo>
                <a:lnTo>
                  <a:pt x="191" y="949"/>
                </a:lnTo>
                <a:lnTo>
                  <a:pt x="194" y="956"/>
                </a:lnTo>
                <a:lnTo>
                  <a:pt x="196" y="961"/>
                </a:lnTo>
                <a:lnTo>
                  <a:pt x="199" y="966"/>
                </a:lnTo>
                <a:lnTo>
                  <a:pt x="202" y="970"/>
                </a:lnTo>
                <a:lnTo>
                  <a:pt x="208" y="972"/>
                </a:lnTo>
                <a:lnTo>
                  <a:pt x="213" y="973"/>
                </a:lnTo>
                <a:lnTo>
                  <a:pt x="233" y="973"/>
                </a:lnTo>
              </a:path>
            </a:pathLst>
          </a:custGeom>
          <a:solidFill>
            <a:srgbClr val="29713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058" name="Freeform 10"/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5813425" y="2454276"/>
            <a:ext cx="69850" cy="49213"/>
          </a:xfrm>
          <a:custGeom>
            <a:avLst/>
            <a:gdLst>
              <a:gd name="T0" fmla="*/ 94 w 161"/>
              <a:gd name="T1" fmla="*/ 0 h 93"/>
              <a:gd name="T2" fmla="*/ 107 w 161"/>
              <a:gd name="T3" fmla="*/ 18 h 93"/>
              <a:gd name="T4" fmla="*/ 112 w 161"/>
              <a:gd name="T5" fmla="*/ 12 h 93"/>
              <a:gd name="T6" fmla="*/ 117 w 161"/>
              <a:gd name="T7" fmla="*/ 8 h 93"/>
              <a:gd name="T8" fmla="*/ 122 w 161"/>
              <a:gd name="T9" fmla="*/ 5 h 93"/>
              <a:gd name="T10" fmla="*/ 127 w 161"/>
              <a:gd name="T11" fmla="*/ 3 h 93"/>
              <a:gd name="T12" fmla="*/ 137 w 161"/>
              <a:gd name="T13" fmla="*/ 1 h 93"/>
              <a:gd name="T14" fmla="*/ 148 w 161"/>
              <a:gd name="T15" fmla="*/ 0 h 93"/>
              <a:gd name="T16" fmla="*/ 151 w 161"/>
              <a:gd name="T17" fmla="*/ 0 h 93"/>
              <a:gd name="T18" fmla="*/ 161 w 161"/>
              <a:gd name="T19" fmla="*/ 0 h 93"/>
              <a:gd name="T20" fmla="*/ 161 w 161"/>
              <a:gd name="T21" fmla="*/ 92 h 93"/>
              <a:gd name="T22" fmla="*/ 155 w 161"/>
              <a:gd name="T23" fmla="*/ 93 h 93"/>
              <a:gd name="T24" fmla="*/ 150 w 161"/>
              <a:gd name="T25" fmla="*/ 93 h 93"/>
              <a:gd name="T26" fmla="*/ 145 w 161"/>
              <a:gd name="T27" fmla="*/ 92 h 93"/>
              <a:gd name="T28" fmla="*/ 140 w 161"/>
              <a:gd name="T29" fmla="*/ 91 h 93"/>
              <a:gd name="T30" fmla="*/ 129 w 161"/>
              <a:gd name="T31" fmla="*/ 88 h 93"/>
              <a:gd name="T32" fmla="*/ 120 w 161"/>
              <a:gd name="T33" fmla="*/ 82 h 93"/>
              <a:gd name="T34" fmla="*/ 111 w 161"/>
              <a:gd name="T35" fmla="*/ 75 h 93"/>
              <a:gd name="T36" fmla="*/ 104 w 161"/>
              <a:gd name="T37" fmla="*/ 67 h 93"/>
              <a:gd name="T38" fmla="*/ 97 w 161"/>
              <a:gd name="T39" fmla="*/ 59 h 93"/>
              <a:gd name="T40" fmla="*/ 94 w 161"/>
              <a:gd name="T41" fmla="*/ 49 h 93"/>
              <a:gd name="T42" fmla="*/ 92 w 161"/>
              <a:gd name="T43" fmla="*/ 50 h 93"/>
              <a:gd name="T44" fmla="*/ 89 w 161"/>
              <a:gd name="T45" fmla="*/ 51 h 93"/>
              <a:gd name="T46" fmla="*/ 86 w 161"/>
              <a:gd name="T47" fmla="*/ 51 h 93"/>
              <a:gd name="T48" fmla="*/ 84 w 161"/>
              <a:gd name="T49" fmla="*/ 51 h 93"/>
              <a:gd name="T50" fmla="*/ 78 w 161"/>
              <a:gd name="T51" fmla="*/ 50 h 93"/>
              <a:gd name="T52" fmla="*/ 74 w 161"/>
              <a:gd name="T53" fmla="*/ 49 h 93"/>
              <a:gd name="T54" fmla="*/ 65 w 161"/>
              <a:gd name="T55" fmla="*/ 48 h 93"/>
              <a:gd name="T56" fmla="*/ 55 w 161"/>
              <a:gd name="T57" fmla="*/ 45 h 93"/>
              <a:gd name="T58" fmla="*/ 44 w 161"/>
              <a:gd name="T59" fmla="*/ 40 h 93"/>
              <a:gd name="T60" fmla="*/ 32 w 161"/>
              <a:gd name="T61" fmla="*/ 34 h 93"/>
              <a:gd name="T62" fmla="*/ 21 w 161"/>
              <a:gd name="T63" fmla="*/ 26 h 93"/>
              <a:gd name="T64" fmla="*/ 12 w 161"/>
              <a:gd name="T65" fmla="*/ 18 h 93"/>
              <a:gd name="T66" fmla="*/ 8 w 161"/>
              <a:gd name="T67" fmla="*/ 14 h 93"/>
              <a:gd name="T68" fmla="*/ 5 w 161"/>
              <a:gd name="T69" fmla="*/ 9 h 93"/>
              <a:gd name="T70" fmla="*/ 3 w 161"/>
              <a:gd name="T71" fmla="*/ 5 h 93"/>
              <a:gd name="T72" fmla="*/ 0 w 161"/>
              <a:gd name="T73" fmla="*/ 0 h 93"/>
              <a:gd name="T74" fmla="*/ 94 w 161"/>
              <a:gd name="T75" fmla="*/ 0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61" h="93">
                <a:moveTo>
                  <a:pt x="94" y="0"/>
                </a:moveTo>
                <a:lnTo>
                  <a:pt x="107" y="18"/>
                </a:lnTo>
                <a:lnTo>
                  <a:pt x="112" y="12"/>
                </a:lnTo>
                <a:lnTo>
                  <a:pt x="117" y="8"/>
                </a:lnTo>
                <a:lnTo>
                  <a:pt x="122" y="5"/>
                </a:lnTo>
                <a:lnTo>
                  <a:pt x="127" y="3"/>
                </a:lnTo>
                <a:lnTo>
                  <a:pt x="137" y="1"/>
                </a:lnTo>
                <a:lnTo>
                  <a:pt x="148" y="0"/>
                </a:lnTo>
                <a:lnTo>
                  <a:pt x="151" y="0"/>
                </a:lnTo>
                <a:lnTo>
                  <a:pt x="161" y="0"/>
                </a:lnTo>
                <a:lnTo>
                  <a:pt x="161" y="92"/>
                </a:lnTo>
                <a:lnTo>
                  <a:pt x="155" y="93"/>
                </a:lnTo>
                <a:lnTo>
                  <a:pt x="150" y="93"/>
                </a:lnTo>
                <a:lnTo>
                  <a:pt x="145" y="92"/>
                </a:lnTo>
                <a:lnTo>
                  <a:pt x="140" y="91"/>
                </a:lnTo>
                <a:lnTo>
                  <a:pt x="129" y="88"/>
                </a:lnTo>
                <a:lnTo>
                  <a:pt x="120" y="82"/>
                </a:lnTo>
                <a:lnTo>
                  <a:pt x="111" y="75"/>
                </a:lnTo>
                <a:lnTo>
                  <a:pt x="104" y="67"/>
                </a:lnTo>
                <a:lnTo>
                  <a:pt x="97" y="59"/>
                </a:lnTo>
                <a:lnTo>
                  <a:pt x="94" y="49"/>
                </a:lnTo>
                <a:lnTo>
                  <a:pt x="92" y="50"/>
                </a:lnTo>
                <a:lnTo>
                  <a:pt x="89" y="51"/>
                </a:lnTo>
                <a:lnTo>
                  <a:pt x="86" y="51"/>
                </a:lnTo>
                <a:lnTo>
                  <a:pt x="84" y="51"/>
                </a:lnTo>
                <a:lnTo>
                  <a:pt x="78" y="50"/>
                </a:lnTo>
                <a:lnTo>
                  <a:pt x="74" y="49"/>
                </a:lnTo>
                <a:lnTo>
                  <a:pt x="65" y="48"/>
                </a:lnTo>
                <a:lnTo>
                  <a:pt x="55" y="45"/>
                </a:lnTo>
                <a:lnTo>
                  <a:pt x="44" y="40"/>
                </a:lnTo>
                <a:lnTo>
                  <a:pt x="32" y="34"/>
                </a:lnTo>
                <a:lnTo>
                  <a:pt x="21" y="26"/>
                </a:lnTo>
                <a:lnTo>
                  <a:pt x="12" y="18"/>
                </a:lnTo>
                <a:lnTo>
                  <a:pt x="8" y="14"/>
                </a:lnTo>
                <a:lnTo>
                  <a:pt x="5" y="9"/>
                </a:lnTo>
                <a:lnTo>
                  <a:pt x="3" y="5"/>
                </a:lnTo>
                <a:lnTo>
                  <a:pt x="0" y="0"/>
                </a:lnTo>
                <a:lnTo>
                  <a:pt x="94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059" name="Freeform 11"/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5311775" y="2328864"/>
            <a:ext cx="82550" cy="160337"/>
          </a:xfrm>
          <a:custGeom>
            <a:avLst/>
            <a:gdLst>
              <a:gd name="T0" fmla="*/ 38 w 192"/>
              <a:gd name="T1" fmla="*/ 3 h 307"/>
              <a:gd name="T2" fmla="*/ 37 w 192"/>
              <a:gd name="T3" fmla="*/ 0 h 307"/>
              <a:gd name="T4" fmla="*/ 57 w 192"/>
              <a:gd name="T5" fmla="*/ 3 h 307"/>
              <a:gd name="T6" fmla="*/ 110 w 192"/>
              <a:gd name="T7" fmla="*/ 14 h 307"/>
              <a:gd name="T8" fmla="*/ 155 w 192"/>
              <a:gd name="T9" fmla="*/ 25 h 307"/>
              <a:gd name="T10" fmla="*/ 181 w 192"/>
              <a:gd name="T11" fmla="*/ 28 h 307"/>
              <a:gd name="T12" fmla="*/ 192 w 192"/>
              <a:gd name="T13" fmla="*/ 35 h 307"/>
              <a:gd name="T14" fmla="*/ 188 w 192"/>
              <a:gd name="T15" fmla="*/ 47 h 307"/>
              <a:gd name="T16" fmla="*/ 175 w 192"/>
              <a:gd name="T17" fmla="*/ 82 h 307"/>
              <a:gd name="T18" fmla="*/ 158 w 192"/>
              <a:gd name="T19" fmla="*/ 127 h 307"/>
              <a:gd name="T20" fmla="*/ 147 w 192"/>
              <a:gd name="T21" fmla="*/ 165 h 307"/>
              <a:gd name="T22" fmla="*/ 146 w 192"/>
              <a:gd name="T23" fmla="*/ 207 h 307"/>
              <a:gd name="T24" fmla="*/ 144 w 192"/>
              <a:gd name="T25" fmla="*/ 249 h 307"/>
              <a:gd name="T26" fmla="*/ 134 w 192"/>
              <a:gd name="T27" fmla="*/ 277 h 307"/>
              <a:gd name="T28" fmla="*/ 106 w 192"/>
              <a:gd name="T29" fmla="*/ 296 h 307"/>
              <a:gd name="T30" fmla="*/ 83 w 192"/>
              <a:gd name="T31" fmla="*/ 303 h 307"/>
              <a:gd name="T32" fmla="*/ 72 w 192"/>
              <a:gd name="T33" fmla="*/ 307 h 307"/>
              <a:gd name="T34" fmla="*/ 52 w 192"/>
              <a:gd name="T35" fmla="*/ 305 h 307"/>
              <a:gd name="T36" fmla="*/ 32 w 192"/>
              <a:gd name="T37" fmla="*/ 291 h 307"/>
              <a:gd name="T38" fmla="*/ 30 w 192"/>
              <a:gd name="T39" fmla="*/ 277 h 307"/>
              <a:gd name="T40" fmla="*/ 22 w 192"/>
              <a:gd name="T41" fmla="*/ 257 h 307"/>
              <a:gd name="T42" fmla="*/ 10 w 192"/>
              <a:gd name="T43" fmla="*/ 231 h 307"/>
              <a:gd name="T44" fmla="*/ 2 w 192"/>
              <a:gd name="T45" fmla="*/ 211 h 307"/>
              <a:gd name="T46" fmla="*/ 0 w 192"/>
              <a:gd name="T47" fmla="*/ 197 h 307"/>
              <a:gd name="T48" fmla="*/ 0 w 192"/>
              <a:gd name="T49" fmla="*/ 180 h 307"/>
              <a:gd name="T50" fmla="*/ 2 w 192"/>
              <a:gd name="T51" fmla="*/ 165 h 307"/>
              <a:gd name="T52" fmla="*/ 11 w 192"/>
              <a:gd name="T53" fmla="*/ 145 h 307"/>
              <a:gd name="T54" fmla="*/ 33 w 192"/>
              <a:gd name="T55" fmla="*/ 109 h 307"/>
              <a:gd name="T56" fmla="*/ 48 w 192"/>
              <a:gd name="T57" fmla="*/ 81 h 307"/>
              <a:gd name="T58" fmla="*/ 52 w 192"/>
              <a:gd name="T59" fmla="*/ 62 h 307"/>
              <a:gd name="T60" fmla="*/ 53 w 192"/>
              <a:gd name="T61" fmla="*/ 41 h 307"/>
              <a:gd name="T62" fmla="*/ 55 w 192"/>
              <a:gd name="T63" fmla="*/ 30 h 307"/>
              <a:gd name="T64" fmla="*/ 57 w 192"/>
              <a:gd name="T65" fmla="*/ 26 h 307"/>
              <a:gd name="T66" fmla="*/ 60 w 192"/>
              <a:gd name="T67" fmla="*/ 22 h 307"/>
              <a:gd name="T68" fmla="*/ 44 w 192"/>
              <a:gd name="T69" fmla="*/ 7 h 3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92" h="307">
                <a:moveTo>
                  <a:pt x="44" y="7"/>
                </a:moveTo>
                <a:lnTo>
                  <a:pt x="38" y="3"/>
                </a:lnTo>
                <a:lnTo>
                  <a:pt x="35" y="1"/>
                </a:lnTo>
                <a:lnTo>
                  <a:pt x="37" y="0"/>
                </a:lnTo>
                <a:lnTo>
                  <a:pt x="41" y="0"/>
                </a:lnTo>
                <a:lnTo>
                  <a:pt x="57" y="3"/>
                </a:lnTo>
                <a:lnTo>
                  <a:pt x="82" y="8"/>
                </a:lnTo>
                <a:lnTo>
                  <a:pt x="110" y="14"/>
                </a:lnTo>
                <a:lnTo>
                  <a:pt x="141" y="22"/>
                </a:lnTo>
                <a:lnTo>
                  <a:pt x="155" y="25"/>
                </a:lnTo>
                <a:lnTo>
                  <a:pt x="169" y="27"/>
                </a:lnTo>
                <a:lnTo>
                  <a:pt x="181" y="28"/>
                </a:lnTo>
                <a:lnTo>
                  <a:pt x="192" y="29"/>
                </a:lnTo>
                <a:lnTo>
                  <a:pt x="192" y="35"/>
                </a:lnTo>
                <a:lnTo>
                  <a:pt x="192" y="41"/>
                </a:lnTo>
                <a:lnTo>
                  <a:pt x="188" y="47"/>
                </a:lnTo>
                <a:lnTo>
                  <a:pt x="183" y="61"/>
                </a:lnTo>
                <a:lnTo>
                  <a:pt x="175" y="82"/>
                </a:lnTo>
                <a:lnTo>
                  <a:pt x="167" y="104"/>
                </a:lnTo>
                <a:lnTo>
                  <a:pt x="158" y="127"/>
                </a:lnTo>
                <a:lnTo>
                  <a:pt x="152" y="148"/>
                </a:lnTo>
                <a:lnTo>
                  <a:pt x="147" y="165"/>
                </a:lnTo>
                <a:lnTo>
                  <a:pt x="146" y="176"/>
                </a:lnTo>
                <a:lnTo>
                  <a:pt x="146" y="207"/>
                </a:lnTo>
                <a:lnTo>
                  <a:pt x="146" y="234"/>
                </a:lnTo>
                <a:lnTo>
                  <a:pt x="144" y="249"/>
                </a:lnTo>
                <a:lnTo>
                  <a:pt x="141" y="263"/>
                </a:lnTo>
                <a:lnTo>
                  <a:pt x="134" y="277"/>
                </a:lnTo>
                <a:lnTo>
                  <a:pt x="127" y="294"/>
                </a:lnTo>
                <a:lnTo>
                  <a:pt x="106" y="296"/>
                </a:lnTo>
                <a:lnTo>
                  <a:pt x="91" y="300"/>
                </a:lnTo>
                <a:lnTo>
                  <a:pt x="83" y="303"/>
                </a:lnTo>
                <a:lnTo>
                  <a:pt x="77" y="306"/>
                </a:lnTo>
                <a:lnTo>
                  <a:pt x="72" y="307"/>
                </a:lnTo>
                <a:lnTo>
                  <a:pt x="64" y="307"/>
                </a:lnTo>
                <a:lnTo>
                  <a:pt x="52" y="305"/>
                </a:lnTo>
                <a:lnTo>
                  <a:pt x="33" y="300"/>
                </a:lnTo>
                <a:lnTo>
                  <a:pt x="32" y="291"/>
                </a:lnTo>
                <a:lnTo>
                  <a:pt x="32" y="284"/>
                </a:lnTo>
                <a:lnTo>
                  <a:pt x="30" y="277"/>
                </a:lnTo>
                <a:lnTo>
                  <a:pt x="28" y="270"/>
                </a:lnTo>
                <a:lnTo>
                  <a:pt x="22" y="257"/>
                </a:lnTo>
                <a:lnTo>
                  <a:pt x="17" y="244"/>
                </a:lnTo>
                <a:lnTo>
                  <a:pt x="10" y="231"/>
                </a:lnTo>
                <a:lnTo>
                  <a:pt x="5" y="218"/>
                </a:lnTo>
                <a:lnTo>
                  <a:pt x="2" y="211"/>
                </a:lnTo>
                <a:lnTo>
                  <a:pt x="1" y="204"/>
                </a:lnTo>
                <a:lnTo>
                  <a:pt x="0" y="197"/>
                </a:lnTo>
                <a:lnTo>
                  <a:pt x="0" y="189"/>
                </a:lnTo>
                <a:lnTo>
                  <a:pt x="0" y="180"/>
                </a:lnTo>
                <a:lnTo>
                  <a:pt x="1" y="173"/>
                </a:lnTo>
                <a:lnTo>
                  <a:pt x="2" y="165"/>
                </a:lnTo>
                <a:lnTo>
                  <a:pt x="5" y="158"/>
                </a:lnTo>
                <a:lnTo>
                  <a:pt x="11" y="145"/>
                </a:lnTo>
                <a:lnTo>
                  <a:pt x="18" y="133"/>
                </a:lnTo>
                <a:lnTo>
                  <a:pt x="33" y="109"/>
                </a:lnTo>
                <a:lnTo>
                  <a:pt x="46" y="90"/>
                </a:lnTo>
                <a:lnTo>
                  <a:pt x="48" y="81"/>
                </a:lnTo>
                <a:lnTo>
                  <a:pt x="50" y="72"/>
                </a:lnTo>
                <a:lnTo>
                  <a:pt x="52" y="62"/>
                </a:lnTo>
                <a:lnTo>
                  <a:pt x="53" y="53"/>
                </a:lnTo>
                <a:lnTo>
                  <a:pt x="53" y="41"/>
                </a:lnTo>
                <a:lnTo>
                  <a:pt x="54" y="34"/>
                </a:lnTo>
                <a:lnTo>
                  <a:pt x="55" y="30"/>
                </a:lnTo>
                <a:lnTo>
                  <a:pt x="56" y="28"/>
                </a:lnTo>
                <a:lnTo>
                  <a:pt x="57" y="26"/>
                </a:lnTo>
                <a:lnTo>
                  <a:pt x="58" y="25"/>
                </a:lnTo>
                <a:lnTo>
                  <a:pt x="60" y="22"/>
                </a:lnTo>
                <a:lnTo>
                  <a:pt x="60" y="16"/>
                </a:lnTo>
                <a:lnTo>
                  <a:pt x="44" y="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060" name="Freeform 12"/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5392738" y="1814514"/>
            <a:ext cx="171450" cy="269875"/>
          </a:xfrm>
          <a:custGeom>
            <a:avLst/>
            <a:gdLst>
              <a:gd name="T0" fmla="*/ 26 w 398"/>
              <a:gd name="T1" fmla="*/ 2 h 518"/>
              <a:gd name="T2" fmla="*/ 95 w 398"/>
              <a:gd name="T3" fmla="*/ 13 h 518"/>
              <a:gd name="T4" fmla="*/ 116 w 398"/>
              <a:gd name="T5" fmla="*/ 23 h 518"/>
              <a:gd name="T6" fmla="*/ 80 w 398"/>
              <a:gd name="T7" fmla="*/ 47 h 518"/>
              <a:gd name="T8" fmla="*/ 64 w 398"/>
              <a:gd name="T9" fmla="*/ 62 h 518"/>
              <a:gd name="T10" fmla="*/ 77 w 398"/>
              <a:gd name="T11" fmla="*/ 69 h 518"/>
              <a:gd name="T12" fmla="*/ 167 w 398"/>
              <a:gd name="T13" fmla="*/ 79 h 518"/>
              <a:gd name="T14" fmla="*/ 210 w 398"/>
              <a:gd name="T15" fmla="*/ 109 h 518"/>
              <a:gd name="T16" fmla="*/ 154 w 398"/>
              <a:gd name="T17" fmla="*/ 127 h 518"/>
              <a:gd name="T18" fmla="*/ 147 w 398"/>
              <a:gd name="T19" fmla="*/ 138 h 518"/>
              <a:gd name="T20" fmla="*/ 191 w 398"/>
              <a:gd name="T21" fmla="*/ 143 h 518"/>
              <a:gd name="T22" fmla="*/ 211 w 398"/>
              <a:gd name="T23" fmla="*/ 156 h 518"/>
              <a:gd name="T24" fmla="*/ 243 w 398"/>
              <a:gd name="T25" fmla="*/ 191 h 518"/>
              <a:gd name="T26" fmla="*/ 258 w 398"/>
              <a:gd name="T27" fmla="*/ 212 h 518"/>
              <a:gd name="T28" fmla="*/ 260 w 398"/>
              <a:gd name="T29" fmla="*/ 237 h 518"/>
              <a:gd name="T30" fmla="*/ 272 w 398"/>
              <a:gd name="T31" fmla="*/ 254 h 518"/>
              <a:gd name="T32" fmla="*/ 286 w 398"/>
              <a:gd name="T33" fmla="*/ 279 h 518"/>
              <a:gd name="T34" fmla="*/ 306 w 398"/>
              <a:gd name="T35" fmla="*/ 297 h 518"/>
              <a:gd name="T36" fmla="*/ 327 w 398"/>
              <a:gd name="T37" fmla="*/ 320 h 518"/>
              <a:gd name="T38" fmla="*/ 346 w 398"/>
              <a:gd name="T39" fmla="*/ 337 h 518"/>
              <a:gd name="T40" fmla="*/ 370 w 398"/>
              <a:gd name="T41" fmla="*/ 341 h 518"/>
              <a:gd name="T42" fmla="*/ 396 w 398"/>
              <a:gd name="T43" fmla="*/ 365 h 518"/>
              <a:gd name="T44" fmla="*/ 395 w 398"/>
              <a:gd name="T45" fmla="*/ 395 h 518"/>
              <a:gd name="T46" fmla="*/ 382 w 398"/>
              <a:gd name="T47" fmla="*/ 404 h 518"/>
              <a:gd name="T48" fmla="*/ 367 w 398"/>
              <a:gd name="T49" fmla="*/ 415 h 518"/>
              <a:gd name="T50" fmla="*/ 368 w 398"/>
              <a:gd name="T51" fmla="*/ 426 h 518"/>
              <a:gd name="T52" fmla="*/ 376 w 398"/>
              <a:gd name="T53" fmla="*/ 443 h 518"/>
              <a:gd name="T54" fmla="*/ 359 w 398"/>
              <a:gd name="T55" fmla="*/ 463 h 518"/>
              <a:gd name="T56" fmla="*/ 146 w 398"/>
              <a:gd name="T57" fmla="*/ 500 h 518"/>
              <a:gd name="T58" fmla="*/ 68 w 398"/>
              <a:gd name="T59" fmla="*/ 508 h 518"/>
              <a:gd name="T60" fmla="*/ 53 w 398"/>
              <a:gd name="T61" fmla="*/ 518 h 518"/>
              <a:gd name="T62" fmla="*/ 58 w 398"/>
              <a:gd name="T63" fmla="*/ 493 h 518"/>
              <a:gd name="T64" fmla="*/ 71 w 398"/>
              <a:gd name="T65" fmla="*/ 476 h 518"/>
              <a:gd name="T66" fmla="*/ 114 w 398"/>
              <a:gd name="T67" fmla="*/ 458 h 518"/>
              <a:gd name="T68" fmla="*/ 172 w 398"/>
              <a:gd name="T69" fmla="*/ 439 h 518"/>
              <a:gd name="T70" fmla="*/ 179 w 398"/>
              <a:gd name="T71" fmla="*/ 426 h 518"/>
              <a:gd name="T72" fmla="*/ 171 w 398"/>
              <a:gd name="T73" fmla="*/ 434 h 518"/>
              <a:gd name="T74" fmla="*/ 111 w 398"/>
              <a:gd name="T75" fmla="*/ 432 h 518"/>
              <a:gd name="T76" fmla="*/ 76 w 398"/>
              <a:gd name="T77" fmla="*/ 420 h 518"/>
              <a:gd name="T78" fmla="*/ 77 w 398"/>
              <a:gd name="T79" fmla="*/ 402 h 518"/>
              <a:gd name="T80" fmla="*/ 95 w 398"/>
              <a:gd name="T81" fmla="*/ 391 h 518"/>
              <a:gd name="T82" fmla="*/ 87 w 398"/>
              <a:gd name="T83" fmla="*/ 352 h 518"/>
              <a:gd name="T84" fmla="*/ 105 w 398"/>
              <a:gd name="T85" fmla="*/ 329 h 518"/>
              <a:gd name="T86" fmla="*/ 154 w 398"/>
              <a:gd name="T87" fmla="*/ 309 h 518"/>
              <a:gd name="T88" fmla="*/ 172 w 398"/>
              <a:gd name="T89" fmla="*/ 291 h 518"/>
              <a:gd name="T90" fmla="*/ 148 w 398"/>
              <a:gd name="T91" fmla="*/ 271 h 518"/>
              <a:gd name="T92" fmla="*/ 139 w 398"/>
              <a:gd name="T93" fmla="*/ 247 h 518"/>
              <a:gd name="T94" fmla="*/ 94 w 398"/>
              <a:gd name="T95" fmla="*/ 239 h 518"/>
              <a:gd name="T96" fmla="*/ 80 w 398"/>
              <a:gd name="T97" fmla="*/ 216 h 518"/>
              <a:gd name="T98" fmla="*/ 90 w 398"/>
              <a:gd name="T99" fmla="*/ 192 h 518"/>
              <a:gd name="T100" fmla="*/ 100 w 398"/>
              <a:gd name="T101" fmla="*/ 168 h 518"/>
              <a:gd name="T102" fmla="*/ 73 w 398"/>
              <a:gd name="T103" fmla="*/ 186 h 518"/>
              <a:gd name="T104" fmla="*/ 22 w 398"/>
              <a:gd name="T105" fmla="*/ 162 h 518"/>
              <a:gd name="T106" fmla="*/ 20 w 398"/>
              <a:gd name="T107" fmla="*/ 142 h 518"/>
              <a:gd name="T108" fmla="*/ 14 w 398"/>
              <a:gd name="T109" fmla="*/ 131 h 518"/>
              <a:gd name="T110" fmla="*/ 20 w 398"/>
              <a:gd name="T111" fmla="*/ 63 h 518"/>
              <a:gd name="T112" fmla="*/ 19 w 398"/>
              <a:gd name="T113" fmla="*/ 49 h 518"/>
              <a:gd name="T114" fmla="*/ 4 w 398"/>
              <a:gd name="T115" fmla="*/ 40 h 518"/>
              <a:gd name="T116" fmla="*/ 20 w 398"/>
              <a:gd name="T117" fmla="*/ 19 h 518"/>
              <a:gd name="T118" fmla="*/ 3 w 398"/>
              <a:gd name="T119" fmla="*/ 9 h 5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98" h="518">
                <a:moveTo>
                  <a:pt x="0" y="1"/>
                </a:moveTo>
                <a:lnTo>
                  <a:pt x="6" y="0"/>
                </a:lnTo>
                <a:lnTo>
                  <a:pt x="15" y="1"/>
                </a:lnTo>
                <a:lnTo>
                  <a:pt x="26" y="2"/>
                </a:lnTo>
                <a:lnTo>
                  <a:pt x="39" y="5"/>
                </a:lnTo>
                <a:lnTo>
                  <a:pt x="56" y="8"/>
                </a:lnTo>
                <a:lnTo>
                  <a:pt x="75" y="11"/>
                </a:lnTo>
                <a:lnTo>
                  <a:pt x="95" y="13"/>
                </a:lnTo>
                <a:lnTo>
                  <a:pt x="120" y="13"/>
                </a:lnTo>
                <a:lnTo>
                  <a:pt x="120" y="17"/>
                </a:lnTo>
                <a:lnTo>
                  <a:pt x="118" y="20"/>
                </a:lnTo>
                <a:lnTo>
                  <a:pt x="116" y="23"/>
                </a:lnTo>
                <a:lnTo>
                  <a:pt x="114" y="26"/>
                </a:lnTo>
                <a:lnTo>
                  <a:pt x="107" y="32"/>
                </a:lnTo>
                <a:lnTo>
                  <a:pt x="99" y="37"/>
                </a:lnTo>
                <a:lnTo>
                  <a:pt x="80" y="47"/>
                </a:lnTo>
                <a:lnTo>
                  <a:pt x="66" y="57"/>
                </a:lnTo>
                <a:lnTo>
                  <a:pt x="65" y="59"/>
                </a:lnTo>
                <a:lnTo>
                  <a:pt x="64" y="61"/>
                </a:lnTo>
                <a:lnTo>
                  <a:pt x="64" y="62"/>
                </a:lnTo>
                <a:lnTo>
                  <a:pt x="65" y="64"/>
                </a:lnTo>
                <a:lnTo>
                  <a:pt x="68" y="66"/>
                </a:lnTo>
                <a:lnTo>
                  <a:pt x="71" y="67"/>
                </a:lnTo>
                <a:lnTo>
                  <a:pt x="77" y="69"/>
                </a:lnTo>
                <a:lnTo>
                  <a:pt x="84" y="70"/>
                </a:lnTo>
                <a:lnTo>
                  <a:pt x="103" y="73"/>
                </a:lnTo>
                <a:lnTo>
                  <a:pt x="131" y="76"/>
                </a:lnTo>
                <a:lnTo>
                  <a:pt x="167" y="79"/>
                </a:lnTo>
                <a:lnTo>
                  <a:pt x="213" y="81"/>
                </a:lnTo>
                <a:lnTo>
                  <a:pt x="213" y="91"/>
                </a:lnTo>
                <a:lnTo>
                  <a:pt x="213" y="105"/>
                </a:lnTo>
                <a:lnTo>
                  <a:pt x="210" y="109"/>
                </a:lnTo>
                <a:lnTo>
                  <a:pt x="202" y="112"/>
                </a:lnTo>
                <a:lnTo>
                  <a:pt x="191" y="116"/>
                </a:lnTo>
                <a:lnTo>
                  <a:pt x="179" y="120"/>
                </a:lnTo>
                <a:lnTo>
                  <a:pt x="154" y="127"/>
                </a:lnTo>
                <a:lnTo>
                  <a:pt x="139" y="130"/>
                </a:lnTo>
                <a:lnTo>
                  <a:pt x="142" y="133"/>
                </a:lnTo>
                <a:lnTo>
                  <a:pt x="144" y="136"/>
                </a:lnTo>
                <a:lnTo>
                  <a:pt x="147" y="138"/>
                </a:lnTo>
                <a:lnTo>
                  <a:pt x="150" y="140"/>
                </a:lnTo>
                <a:lnTo>
                  <a:pt x="160" y="142"/>
                </a:lnTo>
                <a:lnTo>
                  <a:pt x="170" y="143"/>
                </a:lnTo>
                <a:lnTo>
                  <a:pt x="191" y="143"/>
                </a:lnTo>
                <a:lnTo>
                  <a:pt x="206" y="142"/>
                </a:lnTo>
                <a:lnTo>
                  <a:pt x="206" y="147"/>
                </a:lnTo>
                <a:lnTo>
                  <a:pt x="208" y="152"/>
                </a:lnTo>
                <a:lnTo>
                  <a:pt x="211" y="156"/>
                </a:lnTo>
                <a:lnTo>
                  <a:pt x="214" y="161"/>
                </a:lnTo>
                <a:lnTo>
                  <a:pt x="223" y="172"/>
                </a:lnTo>
                <a:lnTo>
                  <a:pt x="233" y="182"/>
                </a:lnTo>
                <a:lnTo>
                  <a:pt x="243" y="191"/>
                </a:lnTo>
                <a:lnTo>
                  <a:pt x="250" y="200"/>
                </a:lnTo>
                <a:lnTo>
                  <a:pt x="254" y="205"/>
                </a:lnTo>
                <a:lnTo>
                  <a:pt x="257" y="209"/>
                </a:lnTo>
                <a:lnTo>
                  <a:pt x="258" y="212"/>
                </a:lnTo>
                <a:lnTo>
                  <a:pt x="259" y="216"/>
                </a:lnTo>
                <a:lnTo>
                  <a:pt x="259" y="223"/>
                </a:lnTo>
                <a:lnTo>
                  <a:pt x="260" y="232"/>
                </a:lnTo>
                <a:lnTo>
                  <a:pt x="260" y="237"/>
                </a:lnTo>
                <a:lnTo>
                  <a:pt x="262" y="241"/>
                </a:lnTo>
                <a:lnTo>
                  <a:pt x="263" y="244"/>
                </a:lnTo>
                <a:lnTo>
                  <a:pt x="266" y="247"/>
                </a:lnTo>
                <a:lnTo>
                  <a:pt x="272" y="254"/>
                </a:lnTo>
                <a:lnTo>
                  <a:pt x="277" y="261"/>
                </a:lnTo>
                <a:lnTo>
                  <a:pt x="280" y="267"/>
                </a:lnTo>
                <a:lnTo>
                  <a:pt x="283" y="273"/>
                </a:lnTo>
                <a:lnTo>
                  <a:pt x="286" y="279"/>
                </a:lnTo>
                <a:lnTo>
                  <a:pt x="291" y="284"/>
                </a:lnTo>
                <a:lnTo>
                  <a:pt x="297" y="288"/>
                </a:lnTo>
                <a:lnTo>
                  <a:pt x="305" y="291"/>
                </a:lnTo>
                <a:lnTo>
                  <a:pt x="306" y="297"/>
                </a:lnTo>
                <a:lnTo>
                  <a:pt x="310" y="304"/>
                </a:lnTo>
                <a:lnTo>
                  <a:pt x="315" y="310"/>
                </a:lnTo>
                <a:lnTo>
                  <a:pt x="320" y="316"/>
                </a:lnTo>
                <a:lnTo>
                  <a:pt x="327" y="320"/>
                </a:lnTo>
                <a:lnTo>
                  <a:pt x="334" y="324"/>
                </a:lnTo>
                <a:lnTo>
                  <a:pt x="340" y="326"/>
                </a:lnTo>
                <a:lnTo>
                  <a:pt x="346" y="327"/>
                </a:lnTo>
                <a:lnTo>
                  <a:pt x="346" y="337"/>
                </a:lnTo>
                <a:lnTo>
                  <a:pt x="346" y="346"/>
                </a:lnTo>
                <a:lnTo>
                  <a:pt x="355" y="343"/>
                </a:lnTo>
                <a:lnTo>
                  <a:pt x="363" y="341"/>
                </a:lnTo>
                <a:lnTo>
                  <a:pt x="370" y="341"/>
                </a:lnTo>
                <a:lnTo>
                  <a:pt x="376" y="342"/>
                </a:lnTo>
                <a:lnTo>
                  <a:pt x="389" y="347"/>
                </a:lnTo>
                <a:lnTo>
                  <a:pt x="398" y="352"/>
                </a:lnTo>
                <a:lnTo>
                  <a:pt x="396" y="365"/>
                </a:lnTo>
                <a:lnTo>
                  <a:pt x="394" y="376"/>
                </a:lnTo>
                <a:lnTo>
                  <a:pt x="393" y="382"/>
                </a:lnTo>
                <a:lnTo>
                  <a:pt x="393" y="389"/>
                </a:lnTo>
                <a:lnTo>
                  <a:pt x="395" y="395"/>
                </a:lnTo>
                <a:lnTo>
                  <a:pt x="398" y="401"/>
                </a:lnTo>
                <a:lnTo>
                  <a:pt x="393" y="402"/>
                </a:lnTo>
                <a:lnTo>
                  <a:pt x="387" y="403"/>
                </a:lnTo>
                <a:lnTo>
                  <a:pt x="382" y="404"/>
                </a:lnTo>
                <a:lnTo>
                  <a:pt x="376" y="406"/>
                </a:lnTo>
                <a:lnTo>
                  <a:pt x="372" y="409"/>
                </a:lnTo>
                <a:lnTo>
                  <a:pt x="369" y="412"/>
                </a:lnTo>
                <a:lnTo>
                  <a:pt x="367" y="415"/>
                </a:lnTo>
                <a:lnTo>
                  <a:pt x="365" y="420"/>
                </a:lnTo>
                <a:lnTo>
                  <a:pt x="365" y="422"/>
                </a:lnTo>
                <a:lnTo>
                  <a:pt x="367" y="424"/>
                </a:lnTo>
                <a:lnTo>
                  <a:pt x="368" y="426"/>
                </a:lnTo>
                <a:lnTo>
                  <a:pt x="370" y="429"/>
                </a:lnTo>
                <a:lnTo>
                  <a:pt x="376" y="433"/>
                </a:lnTo>
                <a:lnTo>
                  <a:pt x="385" y="438"/>
                </a:lnTo>
                <a:lnTo>
                  <a:pt x="376" y="443"/>
                </a:lnTo>
                <a:lnTo>
                  <a:pt x="371" y="447"/>
                </a:lnTo>
                <a:lnTo>
                  <a:pt x="367" y="451"/>
                </a:lnTo>
                <a:lnTo>
                  <a:pt x="363" y="455"/>
                </a:lnTo>
                <a:lnTo>
                  <a:pt x="359" y="463"/>
                </a:lnTo>
                <a:lnTo>
                  <a:pt x="352" y="475"/>
                </a:lnTo>
                <a:lnTo>
                  <a:pt x="146" y="475"/>
                </a:lnTo>
                <a:lnTo>
                  <a:pt x="146" y="487"/>
                </a:lnTo>
                <a:lnTo>
                  <a:pt x="146" y="500"/>
                </a:lnTo>
                <a:lnTo>
                  <a:pt x="116" y="501"/>
                </a:lnTo>
                <a:lnTo>
                  <a:pt x="90" y="503"/>
                </a:lnTo>
                <a:lnTo>
                  <a:pt x="78" y="505"/>
                </a:lnTo>
                <a:lnTo>
                  <a:pt x="68" y="508"/>
                </a:lnTo>
                <a:lnTo>
                  <a:pt x="64" y="510"/>
                </a:lnTo>
                <a:lnTo>
                  <a:pt x="59" y="512"/>
                </a:lnTo>
                <a:lnTo>
                  <a:pt x="56" y="515"/>
                </a:lnTo>
                <a:lnTo>
                  <a:pt x="53" y="518"/>
                </a:lnTo>
                <a:lnTo>
                  <a:pt x="54" y="511"/>
                </a:lnTo>
                <a:lnTo>
                  <a:pt x="55" y="505"/>
                </a:lnTo>
                <a:lnTo>
                  <a:pt x="56" y="499"/>
                </a:lnTo>
                <a:lnTo>
                  <a:pt x="58" y="493"/>
                </a:lnTo>
                <a:lnTo>
                  <a:pt x="61" y="488"/>
                </a:lnTo>
                <a:lnTo>
                  <a:pt x="64" y="484"/>
                </a:lnTo>
                <a:lnTo>
                  <a:pt x="68" y="480"/>
                </a:lnTo>
                <a:lnTo>
                  <a:pt x="71" y="476"/>
                </a:lnTo>
                <a:lnTo>
                  <a:pt x="81" y="470"/>
                </a:lnTo>
                <a:lnTo>
                  <a:pt x="91" y="465"/>
                </a:lnTo>
                <a:lnTo>
                  <a:pt x="102" y="462"/>
                </a:lnTo>
                <a:lnTo>
                  <a:pt x="114" y="458"/>
                </a:lnTo>
                <a:lnTo>
                  <a:pt x="136" y="453"/>
                </a:lnTo>
                <a:lnTo>
                  <a:pt x="157" y="448"/>
                </a:lnTo>
                <a:lnTo>
                  <a:pt x="165" y="444"/>
                </a:lnTo>
                <a:lnTo>
                  <a:pt x="172" y="439"/>
                </a:lnTo>
                <a:lnTo>
                  <a:pt x="174" y="436"/>
                </a:lnTo>
                <a:lnTo>
                  <a:pt x="177" y="433"/>
                </a:lnTo>
                <a:lnTo>
                  <a:pt x="179" y="429"/>
                </a:lnTo>
                <a:lnTo>
                  <a:pt x="179" y="426"/>
                </a:lnTo>
                <a:lnTo>
                  <a:pt x="179" y="428"/>
                </a:lnTo>
                <a:lnTo>
                  <a:pt x="177" y="430"/>
                </a:lnTo>
                <a:lnTo>
                  <a:pt x="174" y="432"/>
                </a:lnTo>
                <a:lnTo>
                  <a:pt x="171" y="434"/>
                </a:lnTo>
                <a:lnTo>
                  <a:pt x="162" y="437"/>
                </a:lnTo>
                <a:lnTo>
                  <a:pt x="152" y="438"/>
                </a:lnTo>
                <a:lnTo>
                  <a:pt x="137" y="437"/>
                </a:lnTo>
                <a:lnTo>
                  <a:pt x="111" y="432"/>
                </a:lnTo>
                <a:lnTo>
                  <a:pt x="96" y="429"/>
                </a:lnTo>
                <a:lnTo>
                  <a:pt x="84" y="425"/>
                </a:lnTo>
                <a:lnTo>
                  <a:pt x="80" y="423"/>
                </a:lnTo>
                <a:lnTo>
                  <a:pt x="76" y="420"/>
                </a:lnTo>
                <a:lnTo>
                  <a:pt x="73" y="417"/>
                </a:lnTo>
                <a:lnTo>
                  <a:pt x="73" y="414"/>
                </a:lnTo>
                <a:lnTo>
                  <a:pt x="73" y="407"/>
                </a:lnTo>
                <a:lnTo>
                  <a:pt x="77" y="402"/>
                </a:lnTo>
                <a:lnTo>
                  <a:pt x="80" y="398"/>
                </a:lnTo>
                <a:lnTo>
                  <a:pt x="84" y="395"/>
                </a:lnTo>
                <a:lnTo>
                  <a:pt x="90" y="392"/>
                </a:lnTo>
                <a:lnTo>
                  <a:pt x="95" y="391"/>
                </a:lnTo>
                <a:lnTo>
                  <a:pt x="101" y="390"/>
                </a:lnTo>
                <a:lnTo>
                  <a:pt x="106" y="389"/>
                </a:lnTo>
                <a:lnTo>
                  <a:pt x="106" y="352"/>
                </a:lnTo>
                <a:lnTo>
                  <a:pt x="87" y="352"/>
                </a:lnTo>
                <a:lnTo>
                  <a:pt x="90" y="345"/>
                </a:lnTo>
                <a:lnTo>
                  <a:pt x="94" y="339"/>
                </a:lnTo>
                <a:lnTo>
                  <a:pt x="100" y="334"/>
                </a:lnTo>
                <a:lnTo>
                  <a:pt x="105" y="329"/>
                </a:lnTo>
                <a:lnTo>
                  <a:pt x="117" y="323"/>
                </a:lnTo>
                <a:lnTo>
                  <a:pt x="129" y="319"/>
                </a:lnTo>
                <a:lnTo>
                  <a:pt x="142" y="315"/>
                </a:lnTo>
                <a:lnTo>
                  <a:pt x="154" y="309"/>
                </a:lnTo>
                <a:lnTo>
                  <a:pt x="159" y="306"/>
                </a:lnTo>
                <a:lnTo>
                  <a:pt x="163" y="302"/>
                </a:lnTo>
                <a:lnTo>
                  <a:pt x="169" y="297"/>
                </a:lnTo>
                <a:lnTo>
                  <a:pt x="172" y="291"/>
                </a:lnTo>
                <a:lnTo>
                  <a:pt x="166" y="286"/>
                </a:lnTo>
                <a:lnTo>
                  <a:pt x="159" y="281"/>
                </a:lnTo>
                <a:lnTo>
                  <a:pt x="154" y="277"/>
                </a:lnTo>
                <a:lnTo>
                  <a:pt x="148" y="271"/>
                </a:lnTo>
                <a:lnTo>
                  <a:pt x="145" y="265"/>
                </a:lnTo>
                <a:lnTo>
                  <a:pt x="142" y="260"/>
                </a:lnTo>
                <a:lnTo>
                  <a:pt x="140" y="254"/>
                </a:lnTo>
                <a:lnTo>
                  <a:pt x="139" y="247"/>
                </a:lnTo>
                <a:lnTo>
                  <a:pt x="125" y="247"/>
                </a:lnTo>
                <a:lnTo>
                  <a:pt x="113" y="245"/>
                </a:lnTo>
                <a:lnTo>
                  <a:pt x="103" y="242"/>
                </a:lnTo>
                <a:lnTo>
                  <a:pt x="94" y="239"/>
                </a:lnTo>
                <a:lnTo>
                  <a:pt x="88" y="235"/>
                </a:lnTo>
                <a:lnTo>
                  <a:pt x="83" y="229"/>
                </a:lnTo>
                <a:lnTo>
                  <a:pt x="80" y="224"/>
                </a:lnTo>
                <a:lnTo>
                  <a:pt x="80" y="216"/>
                </a:lnTo>
                <a:lnTo>
                  <a:pt x="80" y="209"/>
                </a:lnTo>
                <a:lnTo>
                  <a:pt x="82" y="203"/>
                </a:lnTo>
                <a:lnTo>
                  <a:pt x="86" y="198"/>
                </a:lnTo>
                <a:lnTo>
                  <a:pt x="90" y="192"/>
                </a:lnTo>
                <a:lnTo>
                  <a:pt x="93" y="186"/>
                </a:lnTo>
                <a:lnTo>
                  <a:pt x="96" y="180"/>
                </a:lnTo>
                <a:lnTo>
                  <a:pt x="99" y="174"/>
                </a:lnTo>
                <a:lnTo>
                  <a:pt x="100" y="168"/>
                </a:lnTo>
                <a:lnTo>
                  <a:pt x="92" y="171"/>
                </a:lnTo>
                <a:lnTo>
                  <a:pt x="86" y="175"/>
                </a:lnTo>
                <a:lnTo>
                  <a:pt x="80" y="180"/>
                </a:lnTo>
                <a:lnTo>
                  <a:pt x="73" y="186"/>
                </a:lnTo>
                <a:lnTo>
                  <a:pt x="64" y="199"/>
                </a:lnTo>
                <a:lnTo>
                  <a:pt x="53" y="210"/>
                </a:lnTo>
                <a:lnTo>
                  <a:pt x="31" y="179"/>
                </a:lnTo>
                <a:lnTo>
                  <a:pt x="22" y="162"/>
                </a:lnTo>
                <a:lnTo>
                  <a:pt x="20" y="157"/>
                </a:lnTo>
                <a:lnTo>
                  <a:pt x="20" y="153"/>
                </a:lnTo>
                <a:lnTo>
                  <a:pt x="20" y="148"/>
                </a:lnTo>
                <a:lnTo>
                  <a:pt x="20" y="142"/>
                </a:lnTo>
                <a:lnTo>
                  <a:pt x="17" y="141"/>
                </a:lnTo>
                <a:lnTo>
                  <a:pt x="16" y="138"/>
                </a:lnTo>
                <a:lnTo>
                  <a:pt x="15" y="135"/>
                </a:lnTo>
                <a:lnTo>
                  <a:pt x="14" y="131"/>
                </a:lnTo>
                <a:lnTo>
                  <a:pt x="14" y="121"/>
                </a:lnTo>
                <a:lnTo>
                  <a:pt x="15" y="110"/>
                </a:lnTo>
                <a:lnTo>
                  <a:pt x="17" y="84"/>
                </a:lnTo>
                <a:lnTo>
                  <a:pt x="20" y="63"/>
                </a:lnTo>
                <a:lnTo>
                  <a:pt x="21" y="59"/>
                </a:lnTo>
                <a:lnTo>
                  <a:pt x="21" y="55"/>
                </a:lnTo>
                <a:lnTo>
                  <a:pt x="20" y="51"/>
                </a:lnTo>
                <a:lnTo>
                  <a:pt x="19" y="49"/>
                </a:lnTo>
                <a:lnTo>
                  <a:pt x="15" y="45"/>
                </a:lnTo>
                <a:lnTo>
                  <a:pt x="11" y="43"/>
                </a:lnTo>
                <a:lnTo>
                  <a:pt x="6" y="41"/>
                </a:lnTo>
                <a:lnTo>
                  <a:pt x="4" y="40"/>
                </a:lnTo>
                <a:lnTo>
                  <a:pt x="3" y="39"/>
                </a:lnTo>
                <a:lnTo>
                  <a:pt x="6" y="37"/>
                </a:lnTo>
                <a:lnTo>
                  <a:pt x="13" y="28"/>
                </a:lnTo>
                <a:lnTo>
                  <a:pt x="20" y="19"/>
                </a:lnTo>
                <a:lnTo>
                  <a:pt x="20" y="13"/>
                </a:lnTo>
                <a:lnTo>
                  <a:pt x="11" y="11"/>
                </a:lnTo>
                <a:lnTo>
                  <a:pt x="5" y="10"/>
                </a:lnTo>
                <a:lnTo>
                  <a:pt x="3" y="9"/>
                </a:lnTo>
                <a:lnTo>
                  <a:pt x="1" y="7"/>
                </a:lnTo>
                <a:lnTo>
                  <a:pt x="0" y="5"/>
                </a:lnTo>
                <a:lnTo>
                  <a:pt x="0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061" name="Freeform 13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5751513" y="2117725"/>
            <a:ext cx="169862" cy="76200"/>
          </a:xfrm>
          <a:custGeom>
            <a:avLst/>
            <a:gdLst>
              <a:gd name="T0" fmla="*/ 190 w 382"/>
              <a:gd name="T1" fmla="*/ 21 h 148"/>
              <a:gd name="T2" fmla="*/ 177 w 382"/>
              <a:gd name="T3" fmla="*/ 31 h 148"/>
              <a:gd name="T4" fmla="*/ 174 w 382"/>
              <a:gd name="T5" fmla="*/ 45 h 148"/>
              <a:gd name="T6" fmla="*/ 168 w 382"/>
              <a:gd name="T7" fmla="*/ 53 h 148"/>
              <a:gd name="T8" fmla="*/ 166 w 382"/>
              <a:gd name="T9" fmla="*/ 61 h 148"/>
              <a:gd name="T10" fmla="*/ 177 w 382"/>
              <a:gd name="T11" fmla="*/ 74 h 148"/>
              <a:gd name="T12" fmla="*/ 155 w 382"/>
              <a:gd name="T13" fmla="*/ 86 h 148"/>
              <a:gd name="T14" fmla="*/ 108 w 382"/>
              <a:gd name="T15" fmla="*/ 96 h 148"/>
              <a:gd name="T16" fmla="*/ 77 w 382"/>
              <a:gd name="T17" fmla="*/ 97 h 148"/>
              <a:gd name="T18" fmla="*/ 52 w 382"/>
              <a:gd name="T19" fmla="*/ 95 h 148"/>
              <a:gd name="T20" fmla="*/ 4 w 382"/>
              <a:gd name="T21" fmla="*/ 111 h 148"/>
              <a:gd name="T22" fmla="*/ 0 w 382"/>
              <a:gd name="T23" fmla="*/ 129 h 148"/>
              <a:gd name="T24" fmla="*/ 4 w 382"/>
              <a:gd name="T25" fmla="*/ 131 h 148"/>
              <a:gd name="T26" fmla="*/ 12 w 382"/>
              <a:gd name="T27" fmla="*/ 131 h 148"/>
              <a:gd name="T28" fmla="*/ 51 w 382"/>
              <a:gd name="T29" fmla="*/ 129 h 148"/>
              <a:gd name="T30" fmla="*/ 114 w 382"/>
              <a:gd name="T31" fmla="*/ 127 h 148"/>
              <a:gd name="T32" fmla="*/ 123 w 382"/>
              <a:gd name="T33" fmla="*/ 134 h 148"/>
              <a:gd name="T34" fmla="*/ 137 w 382"/>
              <a:gd name="T35" fmla="*/ 141 h 148"/>
              <a:gd name="T36" fmla="*/ 159 w 382"/>
              <a:gd name="T37" fmla="*/ 147 h 148"/>
              <a:gd name="T38" fmla="*/ 185 w 382"/>
              <a:gd name="T39" fmla="*/ 148 h 148"/>
              <a:gd name="T40" fmla="*/ 210 w 382"/>
              <a:gd name="T41" fmla="*/ 148 h 148"/>
              <a:gd name="T42" fmla="*/ 233 w 382"/>
              <a:gd name="T43" fmla="*/ 148 h 148"/>
              <a:gd name="T44" fmla="*/ 255 w 382"/>
              <a:gd name="T45" fmla="*/ 148 h 148"/>
              <a:gd name="T46" fmla="*/ 275 w 382"/>
              <a:gd name="T47" fmla="*/ 143 h 148"/>
              <a:gd name="T48" fmla="*/ 301 w 382"/>
              <a:gd name="T49" fmla="*/ 134 h 148"/>
              <a:gd name="T50" fmla="*/ 334 w 382"/>
              <a:gd name="T51" fmla="*/ 121 h 148"/>
              <a:gd name="T52" fmla="*/ 353 w 382"/>
              <a:gd name="T53" fmla="*/ 103 h 148"/>
              <a:gd name="T54" fmla="*/ 372 w 382"/>
              <a:gd name="T55" fmla="*/ 72 h 148"/>
              <a:gd name="T56" fmla="*/ 376 w 382"/>
              <a:gd name="T57" fmla="*/ 52 h 148"/>
              <a:gd name="T58" fmla="*/ 363 w 382"/>
              <a:gd name="T59" fmla="*/ 44 h 148"/>
              <a:gd name="T60" fmla="*/ 357 w 382"/>
              <a:gd name="T61" fmla="*/ 32 h 148"/>
              <a:gd name="T62" fmla="*/ 347 w 382"/>
              <a:gd name="T63" fmla="*/ 22 h 148"/>
              <a:gd name="T64" fmla="*/ 334 w 382"/>
              <a:gd name="T65" fmla="*/ 17 h 148"/>
              <a:gd name="T66" fmla="*/ 319 w 382"/>
              <a:gd name="T67" fmla="*/ 8 h 148"/>
              <a:gd name="T68" fmla="*/ 203 w 382"/>
              <a:gd name="T69" fmla="*/ 18 h 1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82" h="148">
                <a:moveTo>
                  <a:pt x="203" y="18"/>
                </a:moveTo>
                <a:lnTo>
                  <a:pt x="190" y="21"/>
                </a:lnTo>
                <a:lnTo>
                  <a:pt x="177" y="24"/>
                </a:lnTo>
                <a:lnTo>
                  <a:pt x="177" y="31"/>
                </a:lnTo>
                <a:lnTo>
                  <a:pt x="175" y="40"/>
                </a:lnTo>
                <a:lnTo>
                  <a:pt x="174" y="45"/>
                </a:lnTo>
                <a:lnTo>
                  <a:pt x="172" y="49"/>
                </a:lnTo>
                <a:lnTo>
                  <a:pt x="168" y="53"/>
                </a:lnTo>
                <a:lnTo>
                  <a:pt x="164" y="55"/>
                </a:lnTo>
                <a:lnTo>
                  <a:pt x="166" y="61"/>
                </a:lnTo>
                <a:lnTo>
                  <a:pt x="170" y="67"/>
                </a:lnTo>
                <a:lnTo>
                  <a:pt x="177" y="74"/>
                </a:lnTo>
                <a:lnTo>
                  <a:pt x="184" y="80"/>
                </a:lnTo>
                <a:lnTo>
                  <a:pt x="155" y="86"/>
                </a:lnTo>
                <a:lnTo>
                  <a:pt x="125" y="93"/>
                </a:lnTo>
                <a:lnTo>
                  <a:pt x="108" y="96"/>
                </a:lnTo>
                <a:lnTo>
                  <a:pt x="88" y="97"/>
                </a:lnTo>
                <a:lnTo>
                  <a:pt x="77" y="97"/>
                </a:lnTo>
                <a:lnTo>
                  <a:pt x="65" y="96"/>
                </a:lnTo>
                <a:lnTo>
                  <a:pt x="52" y="95"/>
                </a:lnTo>
                <a:lnTo>
                  <a:pt x="38" y="93"/>
                </a:lnTo>
                <a:lnTo>
                  <a:pt x="4" y="111"/>
                </a:lnTo>
                <a:lnTo>
                  <a:pt x="1" y="122"/>
                </a:lnTo>
                <a:lnTo>
                  <a:pt x="0" y="129"/>
                </a:lnTo>
                <a:lnTo>
                  <a:pt x="1" y="130"/>
                </a:lnTo>
                <a:lnTo>
                  <a:pt x="4" y="131"/>
                </a:lnTo>
                <a:lnTo>
                  <a:pt x="7" y="131"/>
                </a:lnTo>
                <a:lnTo>
                  <a:pt x="12" y="131"/>
                </a:lnTo>
                <a:lnTo>
                  <a:pt x="28" y="131"/>
                </a:lnTo>
                <a:lnTo>
                  <a:pt x="51" y="129"/>
                </a:lnTo>
                <a:lnTo>
                  <a:pt x="110" y="123"/>
                </a:lnTo>
                <a:lnTo>
                  <a:pt x="114" y="127"/>
                </a:lnTo>
                <a:lnTo>
                  <a:pt x="119" y="131"/>
                </a:lnTo>
                <a:lnTo>
                  <a:pt x="123" y="134"/>
                </a:lnTo>
                <a:lnTo>
                  <a:pt x="128" y="137"/>
                </a:lnTo>
                <a:lnTo>
                  <a:pt x="137" y="141"/>
                </a:lnTo>
                <a:lnTo>
                  <a:pt x="148" y="144"/>
                </a:lnTo>
                <a:lnTo>
                  <a:pt x="159" y="147"/>
                </a:lnTo>
                <a:lnTo>
                  <a:pt x="172" y="148"/>
                </a:lnTo>
                <a:lnTo>
                  <a:pt x="185" y="148"/>
                </a:lnTo>
                <a:lnTo>
                  <a:pt x="197" y="148"/>
                </a:lnTo>
                <a:lnTo>
                  <a:pt x="210" y="148"/>
                </a:lnTo>
                <a:lnTo>
                  <a:pt x="222" y="148"/>
                </a:lnTo>
                <a:lnTo>
                  <a:pt x="233" y="148"/>
                </a:lnTo>
                <a:lnTo>
                  <a:pt x="243" y="148"/>
                </a:lnTo>
                <a:lnTo>
                  <a:pt x="255" y="148"/>
                </a:lnTo>
                <a:lnTo>
                  <a:pt x="265" y="145"/>
                </a:lnTo>
                <a:lnTo>
                  <a:pt x="275" y="143"/>
                </a:lnTo>
                <a:lnTo>
                  <a:pt x="284" y="140"/>
                </a:lnTo>
                <a:lnTo>
                  <a:pt x="301" y="134"/>
                </a:lnTo>
                <a:lnTo>
                  <a:pt x="323" y="129"/>
                </a:lnTo>
                <a:lnTo>
                  <a:pt x="334" y="121"/>
                </a:lnTo>
                <a:lnTo>
                  <a:pt x="344" y="113"/>
                </a:lnTo>
                <a:lnTo>
                  <a:pt x="353" y="103"/>
                </a:lnTo>
                <a:lnTo>
                  <a:pt x="360" y="93"/>
                </a:lnTo>
                <a:lnTo>
                  <a:pt x="372" y="72"/>
                </a:lnTo>
                <a:lnTo>
                  <a:pt x="382" y="55"/>
                </a:lnTo>
                <a:lnTo>
                  <a:pt x="376" y="52"/>
                </a:lnTo>
                <a:lnTo>
                  <a:pt x="367" y="47"/>
                </a:lnTo>
                <a:lnTo>
                  <a:pt x="363" y="44"/>
                </a:lnTo>
                <a:lnTo>
                  <a:pt x="359" y="39"/>
                </a:lnTo>
                <a:lnTo>
                  <a:pt x="357" y="32"/>
                </a:lnTo>
                <a:lnTo>
                  <a:pt x="356" y="24"/>
                </a:lnTo>
                <a:lnTo>
                  <a:pt x="347" y="22"/>
                </a:lnTo>
                <a:lnTo>
                  <a:pt x="341" y="20"/>
                </a:lnTo>
                <a:lnTo>
                  <a:pt x="334" y="17"/>
                </a:lnTo>
                <a:lnTo>
                  <a:pt x="330" y="14"/>
                </a:lnTo>
                <a:lnTo>
                  <a:pt x="319" y="8"/>
                </a:lnTo>
                <a:lnTo>
                  <a:pt x="303" y="0"/>
                </a:lnTo>
                <a:lnTo>
                  <a:pt x="203" y="1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062" name="Freeform 14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7243763" y="1966914"/>
            <a:ext cx="1281112" cy="1038225"/>
          </a:xfrm>
          <a:custGeom>
            <a:avLst/>
            <a:gdLst>
              <a:gd name="T0" fmla="*/ 373 w 2936"/>
              <a:gd name="T1" fmla="*/ 1071 h 1983"/>
              <a:gd name="T2" fmla="*/ 385 w 2936"/>
              <a:gd name="T3" fmla="*/ 1182 h 1983"/>
              <a:gd name="T4" fmla="*/ 478 w 2936"/>
              <a:gd name="T5" fmla="*/ 1358 h 1983"/>
              <a:gd name="T6" fmla="*/ 768 w 2936"/>
              <a:gd name="T7" fmla="*/ 1492 h 1983"/>
              <a:gd name="T8" fmla="*/ 1036 w 2936"/>
              <a:gd name="T9" fmla="*/ 1552 h 1983"/>
              <a:gd name="T10" fmla="*/ 1124 w 2936"/>
              <a:gd name="T11" fmla="*/ 1529 h 1983"/>
              <a:gd name="T12" fmla="*/ 1401 w 2936"/>
              <a:gd name="T13" fmla="*/ 1448 h 1983"/>
              <a:gd name="T14" fmla="*/ 1547 w 2936"/>
              <a:gd name="T15" fmla="*/ 1542 h 1983"/>
              <a:gd name="T16" fmla="*/ 1577 w 2936"/>
              <a:gd name="T17" fmla="*/ 1697 h 1983"/>
              <a:gd name="T18" fmla="*/ 1607 w 2936"/>
              <a:gd name="T19" fmla="*/ 1773 h 1983"/>
              <a:gd name="T20" fmla="*/ 1706 w 2936"/>
              <a:gd name="T21" fmla="*/ 1912 h 1983"/>
              <a:gd name="T22" fmla="*/ 1842 w 2936"/>
              <a:gd name="T23" fmla="*/ 1859 h 1983"/>
              <a:gd name="T24" fmla="*/ 2072 w 2936"/>
              <a:gd name="T25" fmla="*/ 1854 h 1983"/>
              <a:gd name="T26" fmla="*/ 2265 w 2936"/>
              <a:gd name="T27" fmla="*/ 1983 h 1983"/>
              <a:gd name="T28" fmla="*/ 2357 w 2936"/>
              <a:gd name="T29" fmla="*/ 1910 h 1983"/>
              <a:gd name="T30" fmla="*/ 2457 w 2936"/>
              <a:gd name="T31" fmla="*/ 1866 h 1983"/>
              <a:gd name="T32" fmla="*/ 2546 w 2936"/>
              <a:gd name="T33" fmla="*/ 1826 h 1983"/>
              <a:gd name="T34" fmla="*/ 2683 w 2936"/>
              <a:gd name="T35" fmla="*/ 1732 h 1983"/>
              <a:gd name="T36" fmla="*/ 2719 w 2936"/>
              <a:gd name="T37" fmla="*/ 1616 h 1983"/>
              <a:gd name="T38" fmla="*/ 2794 w 2936"/>
              <a:gd name="T39" fmla="*/ 1420 h 1983"/>
              <a:gd name="T40" fmla="*/ 2705 w 2936"/>
              <a:gd name="T41" fmla="*/ 1375 h 1983"/>
              <a:gd name="T42" fmla="*/ 2640 w 2936"/>
              <a:gd name="T43" fmla="*/ 1273 h 1983"/>
              <a:gd name="T44" fmla="*/ 2669 w 2936"/>
              <a:gd name="T45" fmla="*/ 1227 h 1983"/>
              <a:gd name="T46" fmla="*/ 2532 w 2936"/>
              <a:gd name="T47" fmla="*/ 1061 h 1983"/>
              <a:gd name="T48" fmla="*/ 2583 w 2936"/>
              <a:gd name="T49" fmla="*/ 993 h 1983"/>
              <a:gd name="T50" fmla="*/ 2453 w 2936"/>
              <a:gd name="T51" fmla="*/ 962 h 1983"/>
              <a:gd name="T52" fmla="*/ 2333 w 2936"/>
              <a:gd name="T53" fmla="*/ 887 h 1983"/>
              <a:gd name="T54" fmla="*/ 2368 w 2936"/>
              <a:gd name="T55" fmla="*/ 836 h 1983"/>
              <a:gd name="T56" fmla="*/ 2443 w 2936"/>
              <a:gd name="T57" fmla="*/ 756 h 1983"/>
              <a:gd name="T58" fmla="*/ 2496 w 2936"/>
              <a:gd name="T59" fmla="*/ 780 h 1983"/>
              <a:gd name="T60" fmla="*/ 2532 w 2936"/>
              <a:gd name="T61" fmla="*/ 853 h 1983"/>
              <a:gd name="T62" fmla="*/ 2689 w 2936"/>
              <a:gd name="T63" fmla="*/ 763 h 1983"/>
              <a:gd name="T64" fmla="*/ 2828 w 2936"/>
              <a:gd name="T65" fmla="*/ 673 h 1983"/>
              <a:gd name="T66" fmla="*/ 2886 w 2936"/>
              <a:gd name="T67" fmla="*/ 564 h 1983"/>
              <a:gd name="T68" fmla="*/ 2928 w 2936"/>
              <a:gd name="T69" fmla="*/ 494 h 1983"/>
              <a:gd name="T70" fmla="*/ 2893 w 2936"/>
              <a:gd name="T71" fmla="*/ 307 h 1983"/>
              <a:gd name="T72" fmla="*/ 2722 w 2936"/>
              <a:gd name="T73" fmla="*/ 341 h 1983"/>
              <a:gd name="T74" fmla="*/ 2461 w 2936"/>
              <a:gd name="T75" fmla="*/ 205 h 1983"/>
              <a:gd name="T76" fmla="*/ 2300 w 2936"/>
              <a:gd name="T77" fmla="*/ 89 h 1983"/>
              <a:gd name="T78" fmla="*/ 1980 w 2936"/>
              <a:gd name="T79" fmla="*/ 53 h 1983"/>
              <a:gd name="T80" fmla="*/ 2007 w 2936"/>
              <a:gd name="T81" fmla="*/ 155 h 1983"/>
              <a:gd name="T82" fmla="*/ 1952 w 2936"/>
              <a:gd name="T83" fmla="*/ 227 h 1983"/>
              <a:gd name="T84" fmla="*/ 2025 w 2936"/>
              <a:gd name="T85" fmla="*/ 350 h 1983"/>
              <a:gd name="T86" fmla="*/ 2146 w 2936"/>
              <a:gd name="T87" fmla="*/ 370 h 1983"/>
              <a:gd name="T88" fmla="*/ 2041 w 2936"/>
              <a:gd name="T89" fmla="*/ 455 h 1983"/>
              <a:gd name="T90" fmla="*/ 1891 w 2936"/>
              <a:gd name="T91" fmla="*/ 570 h 1983"/>
              <a:gd name="T92" fmla="*/ 1630 w 2936"/>
              <a:gd name="T93" fmla="*/ 713 h 1983"/>
              <a:gd name="T94" fmla="*/ 1228 w 2936"/>
              <a:gd name="T95" fmla="*/ 659 h 1983"/>
              <a:gd name="T96" fmla="*/ 1036 w 2936"/>
              <a:gd name="T97" fmla="*/ 560 h 1983"/>
              <a:gd name="T98" fmla="*/ 752 w 2936"/>
              <a:gd name="T99" fmla="*/ 495 h 1983"/>
              <a:gd name="T100" fmla="*/ 686 w 2936"/>
              <a:gd name="T101" fmla="*/ 379 h 1983"/>
              <a:gd name="T102" fmla="*/ 512 w 2936"/>
              <a:gd name="T103" fmla="*/ 299 h 1983"/>
              <a:gd name="T104" fmla="*/ 430 w 2936"/>
              <a:gd name="T105" fmla="*/ 311 h 1983"/>
              <a:gd name="T106" fmla="*/ 423 w 2936"/>
              <a:gd name="T107" fmla="*/ 388 h 1983"/>
              <a:gd name="T108" fmla="*/ 305 w 2936"/>
              <a:gd name="T109" fmla="*/ 382 h 1983"/>
              <a:gd name="T110" fmla="*/ 227 w 2936"/>
              <a:gd name="T111" fmla="*/ 507 h 1983"/>
              <a:gd name="T112" fmla="*/ 260 w 2936"/>
              <a:gd name="T113" fmla="*/ 595 h 1983"/>
              <a:gd name="T114" fmla="*/ 252 w 2936"/>
              <a:gd name="T115" fmla="*/ 716 h 1983"/>
              <a:gd name="T116" fmla="*/ 118 w 2936"/>
              <a:gd name="T117" fmla="*/ 781 h 1983"/>
              <a:gd name="T118" fmla="*/ 40 w 2936"/>
              <a:gd name="T119" fmla="*/ 894 h 19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936" h="1983">
                <a:moveTo>
                  <a:pt x="98" y="954"/>
                </a:moveTo>
                <a:lnTo>
                  <a:pt x="129" y="989"/>
                </a:lnTo>
                <a:lnTo>
                  <a:pt x="157" y="1017"/>
                </a:lnTo>
                <a:lnTo>
                  <a:pt x="170" y="1029"/>
                </a:lnTo>
                <a:lnTo>
                  <a:pt x="182" y="1041"/>
                </a:lnTo>
                <a:lnTo>
                  <a:pt x="194" y="1050"/>
                </a:lnTo>
                <a:lnTo>
                  <a:pt x="205" y="1059"/>
                </a:lnTo>
                <a:lnTo>
                  <a:pt x="216" y="1066"/>
                </a:lnTo>
                <a:lnTo>
                  <a:pt x="227" y="1072"/>
                </a:lnTo>
                <a:lnTo>
                  <a:pt x="238" y="1076"/>
                </a:lnTo>
                <a:lnTo>
                  <a:pt x="248" y="1080"/>
                </a:lnTo>
                <a:lnTo>
                  <a:pt x="259" y="1082"/>
                </a:lnTo>
                <a:lnTo>
                  <a:pt x="270" y="1084"/>
                </a:lnTo>
                <a:lnTo>
                  <a:pt x="281" y="1084"/>
                </a:lnTo>
                <a:lnTo>
                  <a:pt x="292" y="1084"/>
                </a:lnTo>
                <a:lnTo>
                  <a:pt x="364" y="1065"/>
                </a:lnTo>
                <a:lnTo>
                  <a:pt x="373" y="1071"/>
                </a:lnTo>
                <a:lnTo>
                  <a:pt x="383" y="1079"/>
                </a:lnTo>
                <a:lnTo>
                  <a:pt x="393" y="1090"/>
                </a:lnTo>
                <a:lnTo>
                  <a:pt x="401" y="1102"/>
                </a:lnTo>
                <a:lnTo>
                  <a:pt x="410" y="1114"/>
                </a:lnTo>
                <a:lnTo>
                  <a:pt x="418" y="1127"/>
                </a:lnTo>
                <a:lnTo>
                  <a:pt x="420" y="1133"/>
                </a:lnTo>
                <a:lnTo>
                  <a:pt x="422" y="1139"/>
                </a:lnTo>
                <a:lnTo>
                  <a:pt x="423" y="1145"/>
                </a:lnTo>
                <a:lnTo>
                  <a:pt x="425" y="1151"/>
                </a:lnTo>
                <a:lnTo>
                  <a:pt x="423" y="1157"/>
                </a:lnTo>
                <a:lnTo>
                  <a:pt x="420" y="1162"/>
                </a:lnTo>
                <a:lnTo>
                  <a:pt x="416" y="1167"/>
                </a:lnTo>
                <a:lnTo>
                  <a:pt x="409" y="1172"/>
                </a:lnTo>
                <a:lnTo>
                  <a:pt x="403" y="1176"/>
                </a:lnTo>
                <a:lnTo>
                  <a:pt x="396" y="1179"/>
                </a:lnTo>
                <a:lnTo>
                  <a:pt x="390" y="1182"/>
                </a:lnTo>
                <a:lnTo>
                  <a:pt x="385" y="1182"/>
                </a:lnTo>
                <a:lnTo>
                  <a:pt x="399" y="1200"/>
                </a:lnTo>
                <a:lnTo>
                  <a:pt x="412" y="1217"/>
                </a:lnTo>
                <a:lnTo>
                  <a:pt x="419" y="1226"/>
                </a:lnTo>
                <a:lnTo>
                  <a:pt x="423" y="1235"/>
                </a:lnTo>
                <a:lnTo>
                  <a:pt x="428" y="1245"/>
                </a:lnTo>
                <a:lnTo>
                  <a:pt x="431" y="1256"/>
                </a:lnTo>
                <a:lnTo>
                  <a:pt x="385" y="1256"/>
                </a:lnTo>
                <a:lnTo>
                  <a:pt x="385" y="1287"/>
                </a:lnTo>
                <a:lnTo>
                  <a:pt x="390" y="1300"/>
                </a:lnTo>
                <a:lnTo>
                  <a:pt x="397" y="1311"/>
                </a:lnTo>
                <a:lnTo>
                  <a:pt x="405" y="1321"/>
                </a:lnTo>
                <a:lnTo>
                  <a:pt x="414" y="1328"/>
                </a:lnTo>
                <a:lnTo>
                  <a:pt x="423" y="1335"/>
                </a:lnTo>
                <a:lnTo>
                  <a:pt x="434" y="1340"/>
                </a:lnTo>
                <a:lnTo>
                  <a:pt x="444" y="1345"/>
                </a:lnTo>
                <a:lnTo>
                  <a:pt x="456" y="1349"/>
                </a:lnTo>
                <a:lnTo>
                  <a:pt x="478" y="1358"/>
                </a:lnTo>
                <a:lnTo>
                  <a:pt x="500" y="1367"/>
                </a:lnTo>
                <a:lnTo>
                  <a:pt x="510" y="1373"/>
                </a:lnTo>
                <a:lnTo>
                  <a:pt x="520" y="1381"/>
                </a:lnTo>
                <a:lnTo>
                  <a:pt x="529" y="1389"/>
                </a:lnTo>
                <a:lnTo>
                  <a:pt x="538" y="1398"/>
                </a:lnTo>
                <a:lnTo>
                  <a:pt x="617" y="1404"/>
                </a:lnTo>
                <a:lnTo>
                  <a:pt x="620" y="1408"/>
                </a:lnTo>
                <a:lnTo>
                  <a:pt x="623" y="1411"/>
                </a:lnTo>
                <a:lnTo>
                  <a:pt x="628" y="1414"/>
                </a:lnTo>
                <a:lnTo>
                  <a:pt x="633" y="1417"/>
                </a:lnTo>
                <a:lnTo>
                  <a:pt x="644" y="1422"/>
                </a:lnTo>
                <a:lnTo>
                  <a:pt x="656" y="1427"/>
                </a:lnTo>
                <a:lnTo>
                  <a:pt x="678" y="1436"/>
                </a:lnTo>
                <a:lnTo>
                  <a:pt x="690" y="1441"/>
                </a:lnTo>
                <a:lnTo>
                  <a:pt x="723" y="1462"/>
                </a:lnTo>
                <a:lnTo>
                  <a:pt x="754" y="1481"/>
                </a:lnTo>
                <a:lnTo>
                  <a:pt x="768" y="1492"/>
                </a:lnTo>
                <a:lnTo>
                  <a:pt x="784" y="1501"/>
                </a:lnTo>
                <a:lnTo>
                  <a:pt x="798" y="1509"/>
                </a:lnTo>
                <a:lnTo>
                  <a:pt x="814" y="1517"/>
                </a:lnTo>
                <a:lnTo>
                  <a:pt x="830" y="1525"/>
                </a:lnTo>
                <a:lnTo>
                  <a:pt x="847" y="1531"/>
                </a:lnTo>
                <a:lnTo>
                  <a:pt x="866" y="1537"/>
                </a:lnTo>
                <a:lnTo>
                  <a:pt x="886" y="1543"/>
                </a:lnTo>
                <a:lnTo>
                  <a:pt x="907" y="1547"/>
                </a:lnTo>
                <a:lnTo>
                  <a:pt x="930" y="1550"/>
                </a:lnTo>
                <a:lnTo>
                  <a:pt x="955" y="1552"/>
                </a:lnTo>
                <a:lnTo>
                  <a:pt x="982" y="1552"/>
                </a:lnTo>
                <a:lnTo>
                  <a:pt x="982" y="1521"/>
                </a:lnTo>
                <a:lnTo>
                  <a:pt x="1015" y="1521"/>
                </a:lnTo>
                <a:lnTo>
                  <a:pt x="1021" y="1532"/>
                </a:lnTo>
                <a:lnTo>
                  <a:pt x="1025" y="1539"/>
                </a:lnTo>
                <a:lnTo>
                  <a:pt x="1031" y="1545"/>
                </a:lnTo>
                <a:lnTo>
                  <a:pt x="1036" y="1552"/>
                </a:lnTo>
                <a:lnTo>
                  <a:pt x="1042" y="1552"/>
                </a:lnTo>
                <a:lnTo>
                  <a:pt x="1046" y="1551"/>
                </a:lnTo>
                <a:lnTo>
                  <a:pt x="1050" y="1548"/>
                </a:lnTo>
                <a:lnTo>
                  <a:pt x="1054" y="1546"/>
                </a:lnTo>
                <a:lnTo>
                  <a:pt x="1058" y="1538"/>
                </a:lnTo>
                <a:lnTo>
                  <a:pt x="1062" y="1530"/>
                </a:lnTo>
                <a:lnTo>
                  <a:pt x="1066" y="1522"/>
                </a:lnTo>
                <a:lnTo>
                  <a:pt x="1071" y="1516"/>
                </a:lnTo>
                <a:lnTo>
                  <a:pt x="1075" y="1513"/>
                </a:lnTo>
                <a:lnTo>
                  <a:pt x="1078" y="1511"/>
                </a:lnTo>
                <a:lnTo>
                  <a:pt x="1083" y="1510"/>
                </a:lnTo>
                <a:lnTo>
                  <a:pt x="1089" y="1509"/>
                </a:lnTo>
                <a:lnTo>
                  <a:pt x="1092" y="1512"/>
                </a:lnTo>
                <a:lnTo>
                  <a:pt x="1096" y="1516"/>
                </a:lnTo>
                <a:lnTo>
                  <a:pt x="1102" y="1519"/>
                </a:lnTo>
                <a:lnTo>
                  <a:pt x="1109" y="1522"/>
                </a:lnTo>
                <a:lnTo>
                  <a:pt x="1124" y="1529"/>
                </a:lnTo>
                <a:lnTo>
                  <a:pt x="1142" y="1534"/>
                </a:lnTo>
                <a:lnTo>
                  <a:pt x="1159" y="1539"/>
                </a:lnTo>
                <a:lnTo>
                  <a:pt x="1178" y="1543"/>
                </a:lnTo>
                <a:lnTo>
                  <a:pt x="1194" y="1546"/>
                </a:lnTo>
                <a:lnTo>
                  <a:pt x="1208" y="1546"/>
                </a:lnTo>
                <a:lnTo>
                  <a:pt x="1217" y="1535"/>
                </a:lnTo>
                <a:lnTo>
                  <a:pt x="1227" y="1526"/>
                </a:lnTo>
                <a:lnTo>
                  <a:pt x="1236" y="1518"/>
                </a:lnTo>
                <a:lnTo>
                  <a:pt x="1247" y="1510"/>
                </a:lnTo>
                <a:lnTo>
                  <a:pt x="1258" y="1502"/>
                </a:lnTo>
                <a:lnTo>
                  <a:pt x="1269" y="1496"/>
                </a:lnTo>
                <a:lnTo>
                  <a:pt x="1280" y="1489"/>
                </a:lnTo>
                <a:lnTo>
                  <a:pt x="1292" y="1482"/>
                </a:lnTo>
                <a:lnTo>
                  <a:pt x="1317" y="1472"/>
                </a:lnTo>
                <a:lnTo>
                  <a:pt x="1344" y="1463"/>
                </a:lnTo>
                <a:lnTo>
                  <a:pt x="1372" y="1455"/>
                </a:lnTo>
                <a:lnTo>
                  <a:pt x="1401" y="1448"/>
                </a:lnTo>
                <a:lnTo>
                  <a:pt x="1408" y="1456"/>
                </a:lnTo>
                <a:lnTo>
                  <a:pt x="1418" y="1465"/>
                </a:lnTo>
                <a:lnTo>
                  <a:pt x="1431" y="1476"/>
                </a:lnTo>
                <a:lnTo>
                  <a:pt x="1446" y="1487"/>
                </a:lnTo>
                <a:lnTo>
                  <a:pt x="1453" y="1492"/>
                </a:lnTo>
                <a:lnTo>
                  <a:pt x="1461" y="1496"/>
                </a:lnTo>
                <a:lnTo>
                  <a:pt x="1469" y="1499"/>
                </a:lnTo>
                <a:lnTo>
                  <a:pt x="1475" y="1502"/>
                </a:lnTo>
                <a:lnTo>
                  <a:pt x="1483" y="1504"/>
                </a:lnTo>
                <a:lnTo>
                  <a:pt x="1490" y="1505"/>
                </a:lnTo>
                <a:lnTo>
                  <a:pt x="1495" y="1505"/>
                </a:lnTo>
                <a:lnTo>
                  <a:pt x="1501" y="1503"/>
                </a:lnTo>
                <a:lnTo>
                  <a:pt x="1512" y="1510"/>
                </a:lnTo>
                <a:lnTo>
                  <a:pt x="1521" y="1518"/>
                </a:lnTo>
                <a:lnTo>
                  <a:pt x="1530" y="1526"/>
                </a:lnTo>
                <a:lnTo>
                  <a:pt x="1538" y="1534"/>
                </a:lnTo>
                <a:lnTo>
                  <a:pt x="1547" y="1542"/>
                </a:lnTo>
                <a:lnTo>
                  <a:pt x="1555" y="1547"/>
                </a:lnTo>
                <a:lnTo>
                  <a:pt x="1561" y="1550"/>
                </a:lnTo>
                <a:lnTo>
                  <a:pt x="1566" y="1551"/>
                </a:lnTo>
                <a:lnTo>
                  <a:pt x="1573" y="1552"/>
                </a:lnTo>
                <a:lnTo>
                  <a:pt x="1581" y="1552"/>
                </a:lnTo>
                <a:lnTo>
                  <a:pt x="1586" y="1578"/>
                </a:lnTo>
                <a:lnTo>
                  <a:pt x="1593" y="1602"/>
                </a:lnTo>
                <a:lnTo>
                  <a:pt x="1596" y="1613"/>
                </a:lnTo>
                <a:lnTo>
                  <a:pt x="1598" y="1625"/>
                </a:lnTo>
                <a:lnTo>
                  <a:pt x="1599" y="1637"/>
                </a:lnTo>
                <a:lnTo>
                  <a:pt x="1600" y="1650"/>
                </a:lnTo>
                <a:lnTo>
                  <a:pt x="1599" y="1658"/>
                </a:lnTo>
                <a:lnTo>
                  <a:pt x="1598" y="1664"/>
                </a:lnTo>
                <a:lnTo>
                  <a:pt x="1596" y="1670"/>
                </a:lnTo>
                <a:lnTo>
                  <a:pt x="1593" y="1676"/>
                </a:lnTo>
                <a:lnTo>
                  <a:pt x="1585" y="1686"/>
                </a:lnTo>
                <a:lnTo>
                  <a:pt x="1577" y="1697"/>
                </a:lnTo>
                <a:lnTo>
                  <a:pt x="1569" y="1707"/>
                </a:lnTo>
                <a:lnTo>
                  <a:pt x="1561" y="1719"/>
                </a:lnTo>
                <a:lnTo>
                  <a:pt x="1558" y="1724"/>
                </a:lnTo>
                <a:lnTo>
                  <a:pt x="1555" y="1730"/>
                </a:lnTo>
                <a:lnTo>
                  <a:pt x="1554" y="1736"/>
                </a:lnTo>
                <a:lnTo>
                  <a:pt x="1553" y="1743"/>
                </a:lnTo>
                <a:lnTo>
                  <a:pt x="1554" y="1748"/>
                </a:lnTo>
                <a:lnTo>
                  <a:pt x="1555" y="1753"/>
                </a:lnTo>
                <a:lnTo>
                  <a:pt x="1558" y="1756"/>
                </a:lnTo>
                <a:lnTo>
                  <a:pt x="1561" y="1759"/>
                </a:lnTo>
                <a:lnTo>
                  <a:pt x="1565" y="1761"/>
                </a:lnTo>
                <a:lnTo>
                  <a:pt x="1570" y="1764"/>
                </a:lnTo>
                <a:lnTo>
                  <a:pt x="1574" y="1765"/>
                </a:lnTo>
                <a:lnTo>
                  <a:pt x="1580" y="1767"/>
                </a:lnTo>
                <a:lnTo>
                  <a:pt x="1591" y="1769"/>
                </a:lnTo>
                <a:lnTo>
                  <a:pt x="1602" y="1771"/>
                </a:lnTo>
                <a:lnTo>
                  <a:pt x="1607" y="1773"/>
                </a:lnTo>
                <a:lnTo>
                  <a:pt x="1611" y="1775"/>
                </a:lnTo>
                <a:lnTo>
                  <a:pt x="1616" y="1777"/>
                </a:lnTo>
                <a:lnTo>
                  <a:pt x="1620" y="1780"/>
                </a:lnTo>
                <a:lnTo>
                  <a:pt x="1627" y="1787"/>
                </a:lnTo>
                <a:lnTo>
                  <a:pt x="1632" y="1794"/>
                </a:lnTo>
                <a:lnTo>
                  <a:pt x="1636" y="1801"/>
                </a:lnTo>
                <a:lnTo>
                  <a:pt x="1639" y="1807"/>
                </a:lnTo>
                <a:lnTo>
                  <a:pt x="1645" y="1822"/>
                </a:lnTo>
                <a:lnTo>
                  <a:pt x="1653" y="1836"/>
                </a:lnTo>
                <a:lnTo>
                  <a:pt x="1659" y="1848"/>
                </a:lnTo>
                <a:lnTo>
                  <a:pt x="1666" y="1862"/>
                </a:lnTo>
                <a:lnTo>
                  <a:pt x="1674" y="1877"/>
                </a:lnTo>
                <a:lnTo>
                  <a:pt x="1683" y="1890"/>
                </a:lnTo>
                <a:lnTo>
                  <a:pt x="1688" y="1897"/>
                </a:lnTo>
                <a:lnTo>
                  <a:pt x="1694" y="1903"/>
                </a:lnTo>
                <a:lnTo>
                  <a:pt x="1699" y="1908"/>
                </a:lnTo>
                <a:lnTo>
                  <a:pt x="1706" y="1912"/>
                </a:lnTo>
                <a:lnTo>
                  <a:pt x="1712" y="1916"/>
                </a:lnTo>
                <a:lnTo>
                  <a:pt x="1719" y="1919"/>
                </a:lnTo>
                <a:lnTo>
                  <a:pt x="1726" y="1921"/>
                </a:lnTo>
                <a:lnTo>
                  <a:pt x="1733" y="1921"/>
                </a:lnTo>
                <a:lnTo>
                  <a:pt x="1741" y="1921"/>
                </a:lnTo>
                <a:lnTo>
                  <a:pt x="1752" y="1918"/>
                </a:lnTo>
                <a:lnTo>
                  <a:pt x="1762" y="1916"/>
                </a:lnTo>
                <a:lnTo>
                  <a:pt x="1766" y="1915"/>
                </a:lnTo>
                <a:lnTo>
                  <a:pt x="1777" y="1910"/>
                </a:lnTo>
                <a:lnTo>
                  <a:pt x="1787" y="1904"/>
                </a:lnTo>
                <a:lnTo>
                  <a:pt x="1795" y="1898"/>
                </a:lnTo>
                <a:lnTo>
                  <a:pt x="1803" y="1891"/>
                </a:lnTo>
                <a:lnTo>
                  <a:pt x="1809" y="1884"/>
                </a:lnTo>
                <a:lnTo>
                  <a:pt x="1816" y="1878"/>
                </a:lnTo>
                <a:lnTo>
                  <a:pt x="1823" y="1871"/>
                </a:lnTo>
                <a:lnTo>
                  <a:pt x="1833" y="1866"/>
                </a:lnTo>
                <a:lnTo>
                  <a:pt x="1842" y="1859"/>
                </a:lnTo>
                <a:lnTo>
                  <a:pt x="1852" y="1853"/>
                </a:lnTo>
                <a:lnTo>
                  <a:pt x="1863" y="1848"/>
                </a:lnTo>
                <a:lnTo>
                  <a:pt x="1874" y="1844"/>
                </a:lnTo>
                <a:lnTo>
                  <a:pt x="1896" y="1838"/>
                </a:lnTo>
                <a:lnTo>
                  <a:pt x="1919" y="1834"/>
                </a:lnTo>
                <a:lnTo>
                  <a:pt x="1941" y="1831"/>
                </a:lnTo>
                <a:lnTo>
                  <a:pt x="1960" y="1827"/>
                </a:lnTo>
                <a:lnTo>
                  <a:pt x="1968" y="1824"/>
                </a:lnTo>
                <a:lnTo>
                  <a:pt x="1975" y="1821"/>
                </a:lnTo>
                <a:lnTo>
                  <a:pt x="1981" y="1816"/>
                </a:lnTo>
                <a:lnTo>
                  <a:pt x="1986" y="1811"/>
                </a:lnTo>
                <a:lnTo>
                  <a:pt x="1996" y="1820"/>
                </a:lnTo>
                <a:lnTo>
                  <a:pt x="2008" y="1827"/>
                </a:lnTo>
                <a:lnTo>
                  <a:pt x="2019" y="1832"/>
                </a:lnTo>
                <a:lnTo>
                  <a:pt x="2031" y="1837"/>
                </a:lnTo>
                <a:lnTo>
                  <a:pt x="2054" y="1846"/>
                </a:lnTo>
                <a:lnTo>
                  <a:pt x="2072" y="1854"/>
                </a:lnTo>
                <a:lnTo>
                  <a:pt x="2091" y="1869"/>
                </a:lnTo>
                <a:lnTo>
                  <a:pt x="2109" y="1887"/>
                </a:lnTo>
                <a:lnTo>
                  <a:pt x="2119" y="1896"/>
                </a:lnTo>
                <a:lnTo>
                  <a:pt x="2129" y="1903"/>
                </a:lnTo>
                <a:lnTo>
                  <a:pt x="2140" y="1910"/>
                </a:lnTo>
                <a:lnTo>
                  <a:pt x="2152" y="1915"/>
                </a:lnTo>
                <a:lnTo>
                  <a:pt x="2245" y="1921"/>
                </a:lnTo>
                <a:lnTo>
                  <a:pt x="2238" y="1935"/>
                </a:lnTo>
                <a:lnTo>
                  <a:pt x="2232" y="1947"/>
                </a:lnTo>
                <a:lnTo>
                  <a:pt x="2232" y="1953"/>
                </a:lnTo>
                <a:lnTo>
                  <a:pt x="2235" y="1957"/>
                </a:lnTo>
                <a:lnTo>
                  <a:pt x="2238" y="1961"/>
                </a:lnTo>
                <a:lnTo>
                  <a:pt x="2243" y="1965"/>
                </a:lnTo>
                <a:lnTo>
                  <a:pt x="2248" y="1968"/>
                </a:lnTo>
                <a:lnTo>
                  <a:pt x="2254" y="1972"/>
                </a:lnTo>
                <a:lnTo>
                  <a:pt x="2259" y="1977"/>
                </a:lnTo>
                <a:lnTo>
                  <a:pt x="2265" y="1983"/>
                </a:lnTo>
                <a:lnTo>
                  <a:pt x="2266" y="1980"/>
                </a:lnTo>
                <a:lnTo>
                  <a:pt x="2267" y="1972"/>
                </a:lnTo>
                <a:lnTo>
                  <a:pt x="2268" y="1968"/>
                </a:lnTo>
                <a:lnTo>
                  <a:pt x="2267" y="1963"/>
                </a:lnTo>
                <a:lnTo>
                  <a:pt x="2267" y="1957"/>
                </a:lnTo>
                <a:lnTo>
                  <a:pt x="2265" y="1953"/>
                </a:lnTo>
                <a:lnTo>
                  <a:pt x="2275" y="1947"/>
                </a:lnTo>
                <a:lnTo>
                  <a:pt x="2293" y="1935"/>
                </a:lnTo>
                <a:lnTo>
                  <a:pt x="2303" y="1927"/>
                </a:lnTo>
                <a:lnTo>
                  <a:pt x="2313" y="1921"/>
                </a:lnTo>
                <a:lnTo>
                  <a:pt x="2319" y="1919"/>
                </a:lnTo>
                <a:lnTo>
                  <a:pt x="2323" y="1917"/>
                </a:lnTo>
                <a:lnTo>
                  <a:pt x="2327" y="1916"/>
                </a:lnTo>
                <a:lnTo>
                  <a:pt x="2331" y="1915"/>
                </a:lnTo>
                <a:lnTo>
                  <a:pt x="2341" y="1915"/>
                </a:lnTo>
                <a:lnTo>
                  <a:pt x="2349" y="1913"/>
                </a:lnTo>
                <a:lnTo>
                  <a:pt x="2357" y="1910"/>
                </a:lnTo>
                <a:lnTo>
                  <a:pt x="2364" y="1906"/>
                </a:lnTo>
                <a:lnTo>
                  <a:pt x="2370" y="1901"/>
                </a:lnTo>
                <a:lnTo>
                  <a:pt x="2376" y="1895"/>
                </a:lnTo>
                <a:lnTo>
                  <a:pt x="2382" y="1889"/>
                </a:lnTo>
                <a:lnTo>
                  <a:pt x="2388" y="1882"/>
                </a:lnTo>
                <a:lnTo>
                  <a:pt x="2399" y="1867"/>
                </a:lnTo>
                <a:lnTo>
                  <a:pt x="2412" y="1853"/>
                </a:lnTo>
                <a:lnTo>
                  <a:pt x="2418" y="1847"/>
                </a:lnTo>
                <a:lnTo>
                  <a:pt x="2426" y="1840"/>
                </a:lnTo>
                <a:lnTo>
                  <a:pt x="2435" y="1835"/>
                </a:lnTo>
                <a:lnTo>
                  <a:pt x="2444" y="1830"/>
                </a:lnTo>
                <a:lnTo>
                  <a:pt x="2449" y="1838"/>
                </a:lnTo>
                <a:lnTo>
                  <a:pt x="2454" y="1846"/>
                </a:lnTo>
                <a:lnTo>
                  <a:pt x="2455" y="1850"/>
                </a:lnTo>
                <a:lnTo>
                  <a:pt x="2456" y="1854"/>
                </a:lnTo>
                <a:lnTo>
                  <a:pt x="2457" y="1860"/>
                </a:lnTo>
                <a:lnTo>
                  <a:pt x="2457" y="1866"/>
                </a:lnTo>
                <a:lnTo>
                  <a:pt x="2462" y="1860"/>
                </a:lnTo>
                <a:lnTo>
                  <a:pt x="2468" y="1857"/>
                </a:lnTo>
                <a:lnTo>
                  <a:pt x="2474" y="1855"/>
                </a:lnTo>
                <a:lnTo>
                  <a:pt x="2481" y="1855"/>
                </a:lnTo>
                <a:lnTo>
                  <a:pt x="2487" y="1856"/>
                </a:lnTo>
                <a:lnTo>
                  <a:pt x="2493" y="1858"/>
                </a:lnTo>
                <a:lnTo>
                  <a:pt x="2499" y="1862"/>
                </a:lnTo>
                <a:lnTo>
                  <a:pt x="2504" y="1866"/>
                </a:lnTo>
                <a:lnTo>
                  <a:pt x="2505" y="1856"/>
                </a:lnTo>
                <a:lnTo>
                  <a:pt x="2507" y="1847"/>
                </a:lnTo>
                <a:lnTo>
                  <a:pt x="2511" y="1841"/>
                </a:lnTo>
                <a:lnTo>
                  <a:pt x="2514" y="1836"/>
                </a:lnTo>
                <a:lnTo>
                  <a:pt x="2517" y="1832"/>
                </a:lnTo>
                <a:lnTo>
                  <a:pt x="2522" y="1829"/>
                </a:lnTo>
                <a:lnTo>
                  <a:pt x="2527" y="1828"/>
                </a:lnTo>
                <a:lnTo>
                  <a:pt x="2533" y="1827"/>
                </a:lnTo>
                <a:lnTo>
                  <a:pt x="2546" y="1826"/>
                </a:lnTo>
                <a:lnTo>
                  <a:pt x="2561" y="1827"/>
                </a:lnTo>
                <a:lnTo>
                  <a:pt x="2569" y="1827"/>
                </a:lnTo>
                <a:lnTo>
                  <a:pt x="2578" y="1826"/>
                </a:lnTo>
                <a:lnTo>
                  <a:pt x="2588" y="1825"/>
                </a:lnTo>
                <a:lnTo>
                  <a:pt x="2596" y="1824"/>
                </a:lnTo>
                <a:lnTo>
                  <a:pt x="2604" y="1821"/>
                </a:lnTo>
                <a:lnTo>
                  <a:pt x="2611" y="1816"/>
                </a:lnTo>
                <a:lnTo>
                  <a:pt x="2616" y="1810"/>
                </a:lnTo>
                <a:lnTo>
                  <a:pt x="2622" y="1804"/>
                </a:lnTo>
                <a:lnTo>
                  <a:pt x="2633" y="1790"/>
                </a:lnTo>
                <a:lnTo>
                  <a:pt x="2642" y="1774"/>
                </a:lnTo>
                <a:lnTo>
                  <a:pt x="2648" y="1766"/>
                </a:lnTo>
                <a:lnTo>
                  <a:pt x="2653" y="1758"/>
                </a:lnTo>
                <a:lnTo>
                  <a:pt x="2660" y="1750"/>
                </a:lnTo>
                <a:lnTo>
                  <a:pt x="2667" y="1743"/>
                </a:lnTo>
                <a:lnTo>
                  <a:pt x="2674" y="1737"/>
                </a:lnTo>
                <a:lnTo>
                  <a:pt x="2683" y="1732"/>
                </a:lnTo>
                <a:lnTo>
                  <a:pt x="2693" y="1728"/>
                </a:lnTo>
                <a:lnTo>
                  <a:pt x="2703" y="1725"/>
                </a:lnTo>
                <a:lnTo>
                  <a:pt x="2704" y="1716"/>
                </a:lnTo>
                <a:lnTo>
                  <a:pt x="2706" y="1707"/>
                </a:lnTo>
                <a:lnTo>
                  <a:pt x="2711" y="1699"/>
                </a:lnTo>
                <a:lnTo>
                  <a:pt x="2715" y="1691"/>
                </a:lnTo>
                <a:lnTo>
                  <a:pt x="2726" y="1677"/>
                </a:lnTo>
                <a:lnTo>
                  <a:pt x="2737" y="1663"/>
                </a:lnTo>
                <a:lnTo>
                  <a:pt x="2733" y="1658"/>
                </a:lnTo>
                <a:lnTo>
                  <a:pt x="2730" y="1651"/>
                </a:lnTo>
                <a:lnTo>
                  <a:pt x="2729" y="1645"/>
                </a:lnTo>
                <a:lnTo>
                  <a:pt x="2729" y="1638"/>
                </a:lnTo>
                <a:lnTo>
                  <a:pt x="2728" y="1631"/>
                </a:lnTo>
                <a:lnTo>
                  <a:pt x="2726" y="1625"/>
                </a:lnTo>
                <a:lnTo>
                  <a:pt x="2725" y="1622"/>
                </a:lnTo>
                <a:lnTo>
                  <a:pt x="2723" y="1619"/>
                </a:lnTo>
                <a:lnTo>
                  <a:pt x="2719" y="1616"/>
                </a:lnTo>
                <a:lnTo>
                  <a:pt x="2716" y="1614"/>
                </a:lnTo>
                <a:lnTo>
                  <a:pt x="2728" y="1602"/>
                </a:lnTo>
                <a:lnTo>
                  <a:pt x="2739" y="1588"/>
                </a:lnTo>
                <a:lnTo>
                  <a:pt x="2750" y="1573"/>
                </a:lnTo>
                <a:lnTo>
                  <a:pt x="2760" y="1558"/>
                </a:lnTo>
                <a:lnTo>
                  <a:pt x="2780" y="1521"/>
                </a:lnTo>
                <a:lnTo>
                  <a:pt x="2803" y="1478"/>
                </a:lnTo>
                <a:lnTo>
                  <a:pt x="2798" y="1475"/>
                </a:lnTo>
                <a:lnTo>
                  <a:pt x="2796" y="1471"/>
                </a:lnTo>
                <a:lnTo>
                  <a:pt x="2795" y="1467"/>
                </a:lnTo>
                <a:lnTo>
                  <a:pt x="2794" y="1462"/>
                </a:lnTo>
                <a:lnTo>
                  <a:pt x="2795" y="1451"/>
                </a:lnTo>
                <a:lnTo>
                  <a:pt x="2796" y="1441"/>
                </a:lnTo>
                <a:lnTo>
                  <a:pt x="2790" y="1428"/>
                </a:lnTo>
                <a:lnTo>
                  <a:pt x="2790" y="1426"/>
                </a:lnTo>
                <a:lnTo>
                  <a:pt x="2792" y="1423"/>
                </a:lnTo>
                <a:lnTo>
                  <a:pt x="2794" y="1420"/>
                </a:lnTo>
                <a:lnTo>
                  <a:pt x="2797" y="1417"/>
                </a:lnTo>
                <a:lnTo>
                  <a:pt x="2801" y="1414"/>
                </a:lnTo>
                <a:lnTo>
                  <a:pt x="2804" y="1412"/>
                </a:lnTo>
                <a:lnTo>
                  <a:pt x="2807" y="1411"/>
                </a:lnTo>
                <a:lnTo>
                  <a:pt x="2809" y="1410"/>
                </a:lnTo>
                <a:lnTo>
                  <a:pt x="2809" y="1386"/>
                </a:lnTo>
                <a:lnTo>
                  <a:pt x="2801" y="1389"/>
                </a:lnTo>
                <a:lnTo>
                  <a:pt x="2793" y="1391"/>
                </a:lnTo>
                <a:lnTo>
                  <a:pt x="2785" y="1393"/>
                </a:lnTo>
                <a:lnTo>
                  <a:pt x="2778" y="1394"/>
                </a:lnTo>
                <a:lnTo>
                  <a:pt x="2763" y="1395"/>
                </a:lnTo>
                <a:lnTo>
                  <a:pt x="2750" y="1394"/>
                </a:lnTo>
                <a:lnTo>
                  <a:pt x="2738" y="1392"/>
                </a:lnTo>
                <a:lnTo>
                  <a:pt x="2725" y="1389"/>
                </a:lnTo>
                <a:lnTo>
                  <a:pt x="2711" y="1384"/>
                </a:lnTo>
                <a:lnTo>
                  <a:pt x="2696" y="1380"/>
                </a:lnTo>
                <a:lnTo>
                  <a:pt x="2705" y="1375"/>
                </a:lnTo>
                <a:lnTo>
                  <a:pt x="2713" y="1369"/>
                </a:lnTo>
                <a:lnTo>
                  <a:pt x="2719" y="1363"/>
                </a:lnTo>
                <a:lnTo>
                  <a:pt x="2726" y="1356"/>
                </a:lnTo>
                <a:lnTo>
                  <a:pt x="2737" y="1342"/>
                </a:lnTo>
                <a:lnTo>
                  <a:pt x="2750" y="1324"/>
                </a:lnTo>
                <a:lnTo>
                  <a:pt x="2730" y="1316"/>
                </a:lnTo>
                <a:lnTo>
                  <a:pt x="2712" y="1310"/>
                </a:lnTo>
                <a:lnTo>
                  <a:pt x="2695" y="1305"/>
                </a:lnTo>
                <a:lnTo>
                  <a:pt x="2679" y="1300"/>
                </a:lnTo>
                <a:lnTo>
                  <a:pt x="2662" y="1294"/>
                </a:lnTo>
                <a:lnTo>
                  <a:pt x="2647" y="1287"/>
                </a:lnTo>
                <a:lnTo>
                  <a:pt x="2639" y="1282"/>
                </a:lnTo>
                <a:lnTo>
                  <a:pt x="2632" y="1277"/>
                </a:lnTo>
                <a:lnTo>
                  <a:pt x="2624" y="1270"/>
                </a:lnTo>
                <a:lnTo>
                  <a:pt x="2617" y="1262"/>
                </a:lnTo>
                <a:lnTo>
                  <a:pt x="2626" y="1268"/>
                </a:lnTo>
                <a:lnTo>
                  <a:pt x="2640" y="1273"/>
                </a:lnTo>
                <a:lnTo>
                  <a:pt x="2657" y="1278"/>
                </a:lnTo>
                <a:lnTo>
                  <a:pt x="2675" y="1283"/>
                </a:lnTo>
                <a:lnTo>
                  <a:pt x="2715" y="1293"/>
                </a:lnTo>
                <a:lnTo>
                  <a:pt x="2750" y="1299"/>
                </a:lnTo>
                <a:lnTo>
                  <a:pt x="2749" y="1293"/>
                </a:lnTo>
                <a:lnTo>
                  <a:pt x="2746" y="1288"/>
                </a:lnTo>
                <a:lnTo>
                  <a:pt x="2742" y="1283"/>
                </a:lnTo>
                <a:lnTo>
                  <a:pt x="2737" y="1279"/>
                </a:lnTo>
                <a:lnTo>
                  <a:pt x="2725" y="1272"/>
                </a:lnTo>
                <a:lnTo>
                  <a:pt x="2709" y="1266"/>
                </a:lnTo>
                <a:lnTo>
                  <a:pt x="2695" y="1259"/>
                </a:lnTo>
                <a:lnTo>
                  <a:pt x="2682" y="1252"/>
                </a:lnTo>
                <a:lnTo>
                  <a:pt x="2678" y="1248"/>
                </a:lnTo>
                <a:lnTo>
                  <a:pt x="2673" y="1244"/>
                </a:lnTo>
                <a:lnTo>
                  <a:pt x="2671" y="1238"/>
                </a:lnTo>
                <a:lnTo>
                  <a:pt x="2670" y="1232"/>
                </a:lnTo>
                <a:lnTo>
                  <a:pt x="2669" y="1227"/>
                </a:lnTo>
                <a:lnTo>
                  <a:pt x="2668" y="1224"/>
                </a:lnTo>
                <a:lnTo>
                  <a:pt x="2666" y="1220"/>
                </a:lnTo>
                <a:lnTo>
                  <a:pt x="2662" y="1217"/>
                </a:lnTo>
                <a:lnTo>
                  <a:pt x="2656" y="1212"/>
                </a:lnTo>
                <a:lnTo>
                  <a:pt x="2650" y="1208"/>
                </a:lnTo>
                <a:lnTo>
                  <a:pt x="2626" y="1186"/>
                </a:lnTo>
                <a:lnTo>
                  <a:pt x="2581" y="1145"/>
                </a:lnTo>
                <a:lnTo>
                  <a:pt x="2557" y="1124"/>
                </a:lnTo>
                <a:lnTo>
                  <a:pt x="2537" y="1105"/>
                </a:lnTo>
                <a:lnTo>
                  <a:pt x="2523" y="1090"/>
                </a:lnTo>
                <a:lnTo>
                  <a:pt x="2517" y="1084"/>
                </a:lnTo>
                <a:lnTo>
                  <a:pt x="2517" y="1078"/>
                </a:lnTo>
                <a:lnTo>
                  <a:pt x="2520" y="1074"/>
                </a:lnTo>
                <a:lnTo>
                  <a:pt x="2522" y="1070"/>
                </a:lnTo>
                <a:lnTo>
                  <a:pt x="2525" y="1068"/>
                </a:lnTo>
                <a:lnTo>
                  <a:pt x="2528" y="1065"/>
                </a:lnTo>
                <a:lnTo>
                  <a:pt x="2532" y="1061"/>
                </a:lnTo>
                <a:lnTo>
                  <a:pt x="2534" y="1055"/>
                </a:lnTo>
                <a:lnTo>
                  <a:pt x="2537" y="1047"/>
                </a:lnTo>
                <a:lnTo>
                  <a:pt x="2535" y="1046"/>
                </a:lnTo>
                <a:lnTo>
                  <a:pt x="2530" y="1043"/>
                </a:lnTo>
                <a:lnTo>
                  <a:pt x="2528" y="1042"/>
                </a:lnTo>
                <a:lnTo>
                  <a:pt x="2526" y="1039"/>
                </a:lnTo>
                <a:lnTo>
                  <a:pt x="2524" y="1036"/>
                </a:lnTo>
                <a:lnTo>
                  <a:pt x="2524" y="1034"/>
                </a:lnTo>
                <a:lnTo>
                  <a:pt x="2557" y="1034"/>
                </a:lnTo>
                <a:lnTo>
                  <a:pt x="2558" y="1028"/>
                </a:lnTo>
                <a:lnTo>
                  <a:pt x="2559" y="1022"/>
                </a:lnTo>
                <a:lnTo>
                  <a:pt x="2561" y="1016"/>
                </a:lnTo>
                <a:lnTo>
                  <a:pt x="2565" y="1011"/>
                </a:lnTo>
                <a:lnTo>
                  <a:pt x="2569" y="1006"/>
                </a:lnTo>
                <a:lnTo>
                  <a:pt x="2573" y="1002"/>
                </a:lnTo>
                <a:lnTo>
                  <a:pt x="2578" y="997"/>
                </a:lnTo>
                <a:lnTo>
                  <a:pt x="2583" y="993"/>
                </a:lnTo>
                <a:lnTo>
                  <a:pt x="2607" y="977"/>
                </a:lnTo>
                <a:lnTo>
                  <a:pt x="2630" y="960"/>
                </a:lnTo>
                <a:lnTo>
                  <a:pt x="2617" y="958"/>
                </a:lnTo>
                <a:lnTo>
                  <a:pt x="2603" y="954"/>
                </a:lnTo>
                <a:lnTo>
                  <a:pt x="2590" y="949"/>
                </a:lnTo>
                <a:lnTo>
                  <a:pt x="2577" y="944"/>
                </a:lnTo>
                <a:lnTo>
                  <a:pt x="2563" y="938"/>
                </a:lnTo>
                <a:lnTo>
                  <a:pt x="2552" y="932"/>
                </a:lnTo>
                <a:lnTo>
                  <a:pt x="2544" y="924"/>
                </a:lnTo>
                <a:lnTo>
                  <a:pt x="2537" y="917"/>
                </a:lnTo>
                <a:lnTo>
                  <a:pt x="2498" y="917"/>
                </a:lnTo>
                <a:lnTo>
                  <a:pt x="2498" y="926"/>
                </a:lnTo>
                <a:lnTo>
                  <a:pt x="2498" y="938"/>
                </a:lnTo>
                <a:lnTo>
                  <a:pt x="2498" y="950"/>
                </a:lnTo>
                <a:lnTo>
                  <a:pt x="2498" y="967"/>
                </a:lnTo>
                <a:lnTo>
                  <a:pt x="2457" y="967"/>
                </a:lnTo>
                <a:lnTo>
                  <a:pt x="2453" y="962"/>
                </a:lnTo>
                <a:lnTo>
                  <a:pt x="2449" y="956"/>
                </a:lnTo>
                <a:lnTo>
                  <a:pt x="2447" y="949"/>
                </a:lnTo>
                <a:lnTo>
                  <a:pt x="2444" y="942"/>
                </a:lnTo>
                <a:lnTo>
                  <a:pt x="2442" y="936"/>
                </a:lnTo>
                <a:lnTo>
                  <a:pt x="2438" y="928"/>
                </a:lnTo>
                <a:lnTo>
                  <a:pt x="2435" y="922"/>
                </a:lnTo>
                <a:lnTo>
                  <a:pt x="2431" y="917"/>
                </a:lnTo>
                <a:lnTo>
                  <a:pt x="2426" y="914"/>
                </a:lnTo>
                <a:lnTo>
                  <a:pt x="2421" y="911"/>
                </a:lnTo>
                <a:lnTo>
                  <a:pt x="2413" y="909"/>
                </a:lnTo>
                <a:lnTo>
                  <a:pt x="2404" y="907"/>
                </a:lnTo>
                <a:lnTo>
                  <a:pt x="2387" y="903"/>
                </a:lnTo>
                <a:lnTo>
                  <a:pt x="2367" y="899"/>
                </a:lnTo>
                <a:lnTo>
                  <a:pt x="2357" y="897"/>
                </a:lnTo>
                <a:lnTo>
                  <a:pt x="2348" y="894"/>
                </a:lnTo>
                <a:lnTo>
                  <a:pt x="2339" y="890"/>
                </a:lnTo>
                <a:lnTo>
                  <a:pt x="2333" y="887"/>
                </a:lnTo>
                <a:lnTo>
                  <a:pt x="2326" y="882"/>
                </a:lnTo>
                <a:lnTo>
                  <a:pt x="2322" y="876"/>
                </a:lnTo>
                <a:lnTo>
                  <a:pt x="2320" y="872"/>
                </a:lnTo>
                <a:lnTo>
                  <a:pt x="2319" y="869"/>
                </a:lnTo>
                <a:lnTo>
                  <a:pt x="2319" y="866"/>
                </a:lnTo>
                <a:lnTo>
                  <a:pt x="2317" y="862"/>
                </a:lnTo>
                <a:lnTo>
                  <a:pt x="2319" y="858"/>
                </a:lnTo>
                <a:lnTo>
                  <a:pt x="2319" y="855"/>
                </a:lnTo>
                <a:lnTo>
                  <a:pt x="2321" y="853"/>
                </a:lnTo>
                <a:lnTo>
                  <a:pt x="2322" y="850"/>
                </a:lnTo>
                <a:lnTo>
                  <a:pt x="2327" y="846"/>
                </a:lnTo>
                <a:lnTo>
                  <a:pt x="2334" y="843"/>
                </a:lnTo>
                <a:lnTo>
                  <a:pt x="2341" y="840"/>
                </a:lnTo>
                <a:lnTo>
                  <a:pt x="2348" y="839"/>
                </a:lnTo>
                <a:lnTo>
                  <a:pt x="2357" y="838"/>
                </a:lnTo>
                <a:lnTo>
                  <a:pt x="2365" y="837"/>
                </a:lnTo>
                <a:lnTo>
                  <a:pt x="2368" y="836"/>
                </a:lnTo>
                <a:lnTo>
                  <a:pt x="2372" y="833"/>
                </a:lnTo>
                <a:lnTo>
                  <a:pt x="2378" y="828"/>
                </a:lnTo>
                <a:lnTo>
                  <a:pt x="2383" y="822"/>
                </a:lnTo>
                <a:lnTo>
                  <a:pt x="2393" y="811"/>
                </a:lnTo>
                <a:lnTo>
                  <a:pt x="2398" y="806"/>
                </a:lnTo>
                <a:lnTo>
                  <a:pt x="2410" y="798"/>
                </a:lnTo>
                <a:lnTo>
                  <a:pt x="2423" y="789"/>
                </a:lnTo>
                <a:lnTo>
                  <a:pt x="2428" y="783"/>
                </a:lnTo>
                <a:lnTo>
                  <a:pt x="2433" y="776"/>
                </a:lnTo>
                <a:lnTo>
                  <a:pt x="2435" y="773"/>
                </a:lnTo>
                <a:lnTo>
                  <a:pt x="2436" y="768"/>
                </a:lnTo>
                <a:lnTo>
                  <a:pt x="2437" y="763"/>
                </a:lnTo>
                <a:lnTo>
                  <a:pt x="2437" y="757"/>
                </a:lnTo>
                <a:lnTo>
                  <a:pt x="2438" y="758"/>
                </a:lnTo>
                <a:lnTo>
                  <a:pt x="2439" y="758"/>
                </a:lnTo>
                <a:lnTo>
                  <a:pt x="2442" y="757"/>
                </a:lnTo>
                <a:lnTo>
                  <a:pt x="2443" y="756"/>
                </a:lnTo>
                <a:lnTo>
                  <a:pt x="2445" y="752"/>
                </a:lnTo>
                <a:lnTo>
                  <a:pt x="2448" y="747"/>
                </a:lnTo>
                <a:lnTo>
                  <a:pt x="2451" y="742"/>
                </a:lnTo>
                <a:lnTo>
                  <a:pt x="2455" y="737"/>
                </a:lnTo>
                <a:lnTo>
                  <a:pt x="2457" y="735"/>
                </a:lnTo>
                <a:lnTo>
                  <a:pt x="2459" y="734"/>
                </a:lnTo>
                <a:lnTo>
                  <a:pt x="2461" y="733"/>
                </a:lnTo>
                <a:lnTo>
                  <a:pt x="2464" y="733"/>
                </a:lnTo>
                <a:lnTo>
                  <a:pt x="2471" y="733"/>
                </a:lnTo>
                <a:lnTo>
                  <a:pt x="2478" y="735"/>
                </a:lnTo>
                <a:lnTo>
                  <a:pt x="2484" y="737"/>
                </a:lnTo>
                <a:lnTo>
                  <a:pt x="2491" y="741"/>
                </a:lnTo>
                <a:lnTo>
                  <a:pt x="2503" y="751"/>
                </a:lnTo>
                <a:lnTo>
                  <a:pt x="2517" y="764"/>
                </a:lnTo>
                <a:lnTo>
                  <a:pt x="2511" y="769"/>
                </a:lnTo>
                <a:lnTo>
                  <a:pt x="2504" y="775"/>
                </a:lnTo>
                <a:lnTo>
                  <a:pt x="2496" y="780"/>
                </a:lnTo>
                <a:lnTo>
                  <a:pt x="2491" y="782"/>
                </a:lnTo>
                <a:lnTo>
                  <a:pt x="2493" y="789"/>
                </a:lnTo>
                <a:lnTo>
                  <a:pt x="2496" y="795"/>
                </a:lnTo>
                <a:lnTo>
                  <a:pt x="2501" y="800"/>
                </a:lnTo>
                <a:lnTo>
                  <a:pt x="2504" y="805"/>
                </a:lnTo>
                <a:lnTo>
                  <a:pt x="2510" y="809"/>
                </a:lnTo>
                <a:lnTo>
                  <a:pt x="2514" y="813"/>
                </a:lnTo>
                <a:lnTo>
                  <a:pt x="2518" y="816"/>
                </a:lnTo>
                <a:lnTo>
                  <a:pt x="2524" y="819"/>
                </a:lnTo>
                <a:lnTo>
                  <a:pt x="2524" y="837"/>
                </a:lnTo>
                <a:lnTo>
                  <a:pt x="2523" y="840"/>
                </a:lnTo>
                <a:lnTo>
                  <a:pt x="2523" y="842"/>
                </a:lnTo>
                <a:lnTo>
                  <a:pt x="2525" y="844"/>
                </a:lnTo>
                <a:lnTo>
                  <a:pt x="2527" y="847"/>
                </a:lnTo>
                <a:lnTo>
                  <a:pt x="2529" y="849"/>
                </a:lnTo>
                <a:lnTo>
                  <a:pt x="2532" y="851"/>
                </a:lnTo>
                <a:lnTo>
                  <a:pt x="2532" y="853"/>
                </a:lnTo>
                <a:lnTo>
                  <a:pt x="2530" y="856"/>
                </a:lnTo>
                <a:lnTo>
                  <a:pt x="2561" y="830"/>
                </a:lnTo>
                <a:lnTo>
                  <a:pt x="2585" y="810"/>
                </a:lnTo>
                <a:lnTo>
                  <a:pt x="2596" y="803"/>
                </a:lnTo>
                <a:lnTo>
                  <a:pt x="2605" y="797"/>
                </a:lnTo>
                <a:lnTo>
                  <a:pt x="2613" y="793"/>
                </a:lnTo>
                <a:lnTo>
                  <a:pt x="2621" y="790"/>
                </a:lnTo>
                <a:lnTo>
                  <a:pt x="2627" y="787"/>
                </a:lnTo>
                <a:lnTo>
                  <a:pt x="2633" y="786"/>
                </a:lnTo>
                <a:lnTo>
                  <a:pt x="2638" y="785"/>
                </a:lnTo>
                <a:lnTo>
                  <a:pt x="2645" y="785"/>
                </a:lnTo>
                <a:lnTo>
                  <a:pt x="2657" y="786"/>
                </a:lnTo>
                <a:lnTo>
                  <a:pt x="2670" y="788"/>
                </a:lnTo>
                <a:lnTo>
                  <a:pt x="2674" y="781"/>
                </a:lnTo>
                <a:lnTo>
                  <a:pt x="2679" y="774"/>
                </a:lnTo>
                <a:lnTo>
                  <a:pt x="2683" y="768"/>
                </a:lnTo>
                <a:lnTo>
                  <a:pt x="2689" y="763"/>
                </a:lnTo>
                <a:lnTo>
                  <a:pt x="2701" y="753"/>
                </a:lnTo>
                <a:lnTo>
                  <a:pt x="2713" y="745"/>
                </a:lnTo>
                <a:lnTo>
                  <a:pt x="2724" y="738"/>
                </a:lnTo>
                <a:lnTo>
                  <a:pt x="2735" y="730"/>
                </a:lnTo>
                <a:lnTo>
                  <a:pt x="2739" y="726"/>
                </a:lnTo>
                <a:lnTo>
                  <a:pt x="2743" y="721"/>
                </a:lnTo>
                <a:lnTo>
                  <a:pt x="2747" y="715"/>
                </a:lnTo>
                <a:lnTo>
                  <a:pt x="2750" y="708"/>
                </a:lnTo>
                <a:lnTo>
                  <a:pt x="2758" y="708"/>
                </a:lnTo>
                <a:lnTo>
                  <a:pt x="2765" y="706"/>
                </a:lnTo>
                <a:lnTo>
                  <a:pt x="2773" y="705"/>
                </a:lnTo>
                <a:lnTo>
                  <a:pt x="2780" y="704"/>
                </a:lnTo>
                <a:lnTo>
                  <a:pt x="2792" y="700"/>
                </a:lnTo>
                <a:lnTo>
                  <a:pt x="2803" y="694"/>
                </a:lnTo>
                <a:lnTo>
                  <a:pt x="2812" y="688"/>
                </a:lnTo>
                <a:lnTo>
                  <a:pt x="2820" y="681"/>
                </a:lnTo>
                <a:lnTo>
                  <a:pt x="2828" y="673"/>
                </a:lnTo>
                <a:lnTo>
                  <a:pt x="2836" y="665"/>
                </a:lnTo>
                <a:lnTo>
                  <a:pt x="2842" y="657"/>
                </a:lnTo>
                <a:lnTo>
                  <a:pt x="2850" y="649"/>
                </a:lnTo>
                <a:lnTo>
                  <a:pt x="2858" y="641"/>
                </a:lnTo>
                <a:lnTo>
                  <a:pt x="2866" y="635"/>
                </a:lnTo>
                <a:lnTo>
                  <a:pt x="2876" y="630"/>
                </a:lnTo>
                <a:lnTo>
                  <a:pt x="2887" y="625"/>
                </a:lnTo>
                <a:lnTo>
                  <a:pt x="2901" y="623"/>
                </a:lnTo>
                <a:lnTo>
                  <a:pt x="2916" y="622"/>
                </a:lnTo>
                <a:lnTo>
                  <a:pt x="2915" y="611"/>
                </a:lnTo>
                <a:lnTo>
                  <a:pt x="2914" y="602"/>
                </a:lnTo>
                <a:lnTo>
                  <a:pt x="2910" y="593"/>
                </a:lnTo>
                <a:lnTo>
                  <a:pt x="2906" y="586"/>
                </a:lnTo>
                <a:lnTo>
                  <a:pt x="2902" y="580"/>
                </a:lnTo>
                <a:lnTo>
                  <a:pt x="2897" y="574"/>
                </a:lnTo>
                <a:lnTo>
                  <a:pt x="2892" y="569"/>
                </a:lnTo>
                <a:lnTo>
                  <a:pt x="2886" y="564"/>
                </a:lnTo>
                <a:lnTo>
                  <a:pt x="2875" y="554"/>
                </a:lnTo>
                <a:lnTo>
                  <a:pt x="2865" y="543"/>
                </a:lnTo>
                <a:lnTo>
                  <a:pt x="2861" y="536"/>
                </a:lnTo>
                <a:lnTo>
                  <a:pt x="2859" y="529"/>
                </a:lnTo>
                <a:lnTo>
                  <a:pt x="2857" y="520"/>
                </a:lnTo>
                <a:lnTo>
                  <a:pt x="2855" y="511"/>
                </a:lnTo>
                <a:lnTo>
                  <a:pt x="2857" y="505"/>
                </a:lnTo>
                <a:lnTo>
                  <a:pt x="2860" y="499"/>
                </a:lnTo>
                <a:lnTo>
                  <a:pt x="2862" y="497"/>
                </a:lnTo>
                <a:lnTo>
                  <a:pt x="2864" y="495"/>
                </a:lnTo>
                <a:lnTo>
                  <a:pt x="2866" y="493"/>
                </a:lnTo>
                <a:lnTo>
                  <a:pt x="2870" y="493"/>
                </a:lnTo>
                <a:lnTo>
                  <a:pt x="2885" y="493"/>
                </a:lnTo>
                <a:lnTo>
                  <a:pt x="2903" y="495"/>
                </a:lnTo>
                <a:lnTo>
                  <a:pt x="2911" y="495"/>
                </a:lnTo>
                <a:lnTo>
                  <a:pt x="2919" y="495"/>
                </a:lnTo>
                <a:lnTo>
                  <a:pt x="2928" y="494"/>
                </a:lnTo>
                <a:lnTo>
                  <a:pt x="2936" y="493"/>
                </a:lnTo>
                <a:lnTo>
                  <a:pt x="2936" y="412"/>
                </a:lnTo>
                <a:lnTo>
                  <a:pt x="2930" y="407"/>
                </a:lnTo>
                <a:lnTo>
                  <a:pt x="2926" y="402"/>
                </a:lnTo>
                <a:lnTo>
                  <a:pt x="2921" y="396"/>
                </a:lnTo>
                <a:lnTo>
                  <a:pt x="2917" y="389"/>
                </a:lnTo>
                <a:lnTo>
                  <a:pt x="2914" y="382"/>
                </a:lnTo>
                <a:lnTo>
                  <a:pt x="2911" y="375"/>
                </a:lnTo>
                <a:lnTo>
                  <a:pt x="2909" y="365"/>
                </a:lnTo>
                <a:lnTo>
                  <a:pt x="2909" y="357"/>
                </a:lnTo>
                <a:lnTo>
                  <a:pt x="2909" y="348"/>
                </a:lnTo>
                <a:lnTo>
                  <a:pt x="2909" y="341"/>
                </a:lnTo>
                <a:lnTo>
                  <a:pt x="2909" y="332"/>
                </a:lnTo>
                <a:lnTo>
                  <a:pt x="2909" y="320"/>
                </a:lnTo>
                <a:lnTo>
                  <a:pt x="2904" y="316"/>
                </a:lnTo>
                <a:lnTo>
                  <a:pt x="2897" y="310"/>
                </a:lnTo>
                <a:lnTo>
                  <a:pt x="2893" y="307"/>
                </a:lnTo>
                <a:lnTo>
                  <a:pt x="2888" y="304"/>
                </a:lnTo>
                <a:lnTo>
                  <a:pt x="2883" y="302"/>
                </a:lnTo>
                <a:lnTo>
                  <a:pt x="2876" y="301"/>
                </a:lnTo>
                <a:lnTo>
                  <a:pt x="2866" y="302"/>
                </a:lnTo>
                <a:lnTo>
                  <a:pt x="2858" y="303"/>
                </a:lnTo>
                <a:lnTo>
                  <a:pt x="2849" y="305"/>
                </a:lnTo>
                <a:lnTo>
                  <a:pt x="2841" y="308"/>
                </a:lnTo>
                <a:lnTo>
                  <a:pt x="2827" y="314"/>
                </a:lnTo>
                <a:lnTo>
                  <a:pt x="2813" y="323"/>
                </a:lnTo>
                <a:lnTo>
                  <a:pt x="2798" y="331"/>
                </a:lnTo>
                <a:lnTo>
                  <a:pt x="2784" y="338"/>
                </a:lnTo>
                <a:lnTo>
                  <a:pt x="2776" y="341"/>
                </a:lnTo>
                <a:lnTo>
                  <a:pt x="2768" y="343"/>
                </a:lnTo>
                <a:lnTo>
                  <a:pt x="2759" y="344"/>
                </a:lnTo>
                <a:lnTo>
                  <a:pt x="2750" y="344"/>
                </a:lnTo>
                <a:lnTo>
                  <a:pt x="2735" y="343"/>
                </a:lnTo>
                <a:lnTo>
                  <a:pt x="2722" y="341"/>
                </a:lnTo>
                <a:lnTo>
                  <a:pt x="2708" y="336"/>
                </a:lnTo>
                <a:lnTo>
                  <a:pt x="2696" y="331"/>
                </a:lnTo>
                <a:lnTo>
                  <a:pt x="2684" y="324"/>
                </a:lnTo>
                <a:lnTo>
                  <a:pt x="2672" y="315"/>
                </a:lnTo>
                <a:lnTo>
                  <a:pt x="2661" y="307"/>
                </a:lnTo>
                <a:lnTo>
                  <a:pt x="2650" y="298"/>
                </a:lnTo>
                <a:lnTo>
                  <a:pt x="2627" y="280"/>
                </a:lnTo>
                <a:lnTo>
                  <a:pt x="2604" y="261"/>
                </a:lnTo>
                <a:lnTo>
                  <a:pt x="2592" y="253"/>
                </a:lnTo>
                <a:lnTo>
                  <a:pt x="2579" y="245"/>
                </a:lnTo>
                <a:lnTo>
                  <a:pt x="2565" y="239"/>
                </a:lnTo>
                <a:lnTo>
                  <a:pt x="2550" y="233"/>
                </a:lnTo>
                <a:lnTo>
                  <a:pt x="2525" y="227"/>
                </a:lnTo>
                <a:lnTo>
                  <a:pt x="2499" y="219"/>
                </a:lnTo>
                <a:lnTo>
                  <a:pt x="2487" y="215"/>
                </a:lnTo>
                <a:lnTo>
                  <a:pt x="2473" y="211"/>
                </a:lnTo>
                <a:lnTo>
                  <a:pt x="2461" y="205"/>
                </a:lnTo>
                <a:lnTo>
                  <a:pt x="2450" y="199"/>
                </a:lnTo>
                <a:lnTo>
                  <a:pt x="2438" y="193"/>
                </a:lnTo>
                <a:lnTo>
                  <a:pt x="2428" y="187"/>
                </a:lnTo>
                <a:lnTo>
                  <a:pt x="2418" y="179"/>
                </a:lnTo>
                <a:lnTo>
                  <a:pt x="2410" y="171"/>
                </a:lnTo>
                <a:lnTo>
                  <a:pt x="2401" y="162"/>
                </a:lnTo>
                <a:lnTo>
                  <a:pt x="2394" y="152"/>
                </a:lnTo>
                <a:lnTo>
                  <a:pt x="2389" y="141"/>
                </a:lnTo>
                <a:lnTo>
                  <a:pt x="2384" y="129"/>
                </a:lnTo>
                <a:lnTo>
                  <a:pt x="2370" y="128"/>
                </a:lnTo>
                <a:lnTo>
                  <a:pt x="2357" y="126"/>
                </a:lnTo>
                <a:lnTo>
                  <a:pt x="2346" y="122"/>
                </a:lnTo>
                <a:lnTo>
                  <a:pt x="2335" y="117"/>
                </a:lnTo>
                <a:lnTo>
                  <a:pt x="2325" y="111"/>
                </a:lnTo>
                <a:lnTo>
                  <a:pt x="2316" y="105"/>
                </a:lnTo>
                <a:lnTo>
                  <a:pt x="2308" y="98"/>
                </a:lnTo>
                <a:lnTo>
                  <a:pt x="2300" y="89"/>
                </a:lnTo>
                <a:lnTo>
                  <a:pt x="2283" y="74"/>
                </a:lnTo>
                <a:lnTo>
                  <a:pt x="2267" y="59"/>
                </a:lnTo>
                <a:lnTo>
                  <a:pt x="2257" y="52"/>
                </a:lnTo>
                <a:lnTo>
                  <a:pt x="2247" y="46"/>
                </a:lnTo>
                <a:lnTo>
                  <a:pt x="2236" y="41"/>
                </a:lnTo>
                <a:lnTo>
                  <a:pt x="2225" y="36"/>
                </a:lnTo>
                <a:lnTo>
                  <a:pt x="2190" y="25"/>
                </a:lnTo>
                <a:lnTo>
                  <a:pt x="2160" y="18"/>
                </a:lnTo>
                <a:lnTo>
                  <a:pt x="2131" y="10"/>
                </a:lnTo>
                <a:lnTo>
                  <a:pt x="2092" y="0"/>
                </a:lnTo>
                <a:lnTo>
                  <a:pt x="1973" y="18"/>
                </a:lnTo>
                <a:lnTo>
                  <a:pt x="1973" y="27"/>
                </a:lnTo>
                <a:lnTo>
                  <a:pt x="1973" y="36"/>
                </a:lnTo>
                <a:lnTo>
                  <a:pt x="1973" y="42"/>
                </a:lnTo>
                <a:lnTo>
                  <a:pt x="1975" y="46"/>
                </a:lnTo>
                <a:lnTo>
                  <a:pt x="1977" y="50"/>
                </a:lnTo>
                <a:lnTo>
                  <a:pt x="1980" y="53"/>
                </a:lnTo>
                <a:lnTo>
                  <a:pt x="1989" y="58"/>
                </a:lnTo>
                <a:lnTo>
                  <a:pt x="1999" y="62"/>
                </a:lnTo>
                <a:lnTo>
                  <a:pt x="2009" y="66"/>
                </a:lnTo>
                <a:lnTo>
                  <a:pt x="2018" y="72"/>
                </a:lnTo>
                <a:lnTo>
                  <a:pt x="2021" y="75"/>
                </a:lnTo>
                <a:lnTo>
                  <a:pt x="2023" y="80"/>
                </a:lnTo>
                <a:lnTo>
                  <a:pt x="2025" y="85"/>
                </a:lnTo>
                <a:lnTo>
                  <a:pt x="2025" y="91"/>
                </a:lnTo>
                <a:lnTo>
                  <a:pt x="2024" y="101"/>
                </a:lnTo>
                <a:lnTo>
                  <a:pt x="2022" y="108"/>
                </a:lnTo>
                <a:lnTo>
                  <a:pt x="2019" y="114"/>
                </a:lnTo>
                <a:lnTo>
                  <a:pt x="2016" y="120"/>
                </a:lnTo>
                <a:lnTo>
                  <a:pt x="2012" y="125"/>
                </a:lnTo>
                <a:lnTo>
                  <a:pt x="2009" y="131"/>
                </a:lnTo>
                <a:lnTo>
                  <a:pt x="2007" y="138"/>
                </a:lnTo>
                <a:lnTo>
                  <a:pt x="2006" y="147"/>
                </a:lnTo>
                <a:lnTo>
                  <a:pt x="2007" y="155"/>
                </a:lnTo>
                <a:lnTo>
                  <a:pt x="2009" y="161"/>
                </a:lnTo>
                <a:lnTo>
                  <a:pt x="2012" y="168"/>
                </a:lnTo>
                <a:lnTo>
                  <a:pt x="2018" y="174"/>
                </a:lnTo>
                <a:lnTo>
                  <a:pt x="2022" y="179"/>
                </a:lnTo>
                <a:lnTo>
                  <a:pt x="2028" y="184"/>
                </a:lnTo>
                <a:lnTo>
                  <a:pt x="2033" y="187"/>
                </a:lnTo>
                <a:lnTo>
                  <a:pt x="2039" y="190"/>
                </a:lnTo>
                <a:lnTo>
                  <a:pt x="2033" y="197"/>
                </a:lnTo>
                <a:lnTo>
                  <a:pt x="2025" y="204"/>
                </a:lnTo>
                <a:lnTo>
                  <a:pt x="2017" y="211"/>
                </a:lnTo>
                <a:lnTo>
                  <a:pt x="2008" y="216"/>
                </a:lnTo>
                <a:lnTo>
                  <a:pt x="1999" y="221"/>
                </a:lnTo>
                <a:lnTo>
                  <a:pt x="1989" y="224"/>
                </a:lnTo>
                <a:lnTo>
                  <a:pt x="1980" y="227"/>
                </a:lnTo>
                <a:lnTo>
                  <a:pt x="1973" y="227"/>
                </a:lnTo>
                <a:lnTo>
                  <a:pt x="1962" y="227"/>
                </a:lnTo>
                <a:lnTo>
                  <a:pt x="1952" y="227"/>
                </a:lnTo>
                <a:lnTo>
                  <a:pt x="1940" y="227"/>
                </a:lnTo>
                <a:lnTo>
                  <a:pt x="1925" y="227"/>
                </a:lnTo>
                <a:lnTo>
                  <a:pt x="1919" y="258"/>
                </a:lnTo>
                <a:lnTo>
                  <a:pt x="1924" y="278"/>
                </a:lnTo>
                <a:lnTo>
                  <a:pt x="1930" y="296"/>
                </a:lnTo>
                <a:lnTo>
                  <a:pt x="1933" y="304"/>
                </a:lnTo>
                <a:lnTo>
                  <a:pt x="1938" y="311"/>
                </a:lnTo>
                <a:lnTo>
                  <a:pt x="1942" y="319"/>
                </a:lnTo>
                <a:lnTo>
                  <a:pt x="1947" y="326"/>
                </a:lnTo>
                <a:lnTo>
                  <a:pt x="1953" y="331"/>
                </a:lnTo>
                <a:lnTo>
                  <a:pt x="1961" y="336"/>
                </a:lnTo>
                <a:lnTo>
                  <a:pt x="1968" y="340"/>
                </a:lnTo>
                <a:lnTo>
                  <a:pt x="1977" y="344"/>
                </a:lnTo>
                <a:lnTo>
                  <a:pt x="1987" y="347"/>
                </a:lnTo>
                <a:lnTo>
                  <a:pt x="1999" y="349"/>
                </a:lnTo>
                <a:lnTo>
                  <a:pt x="2011" y="350"/>
                </a:lnTo>
                <a:lnTo>
                  <a:pt x="2025" y="350"/>
                </a:lnTo>
                <a:lnTo>
                  <a:pt x="2036" y="350"/>
                </a:lnTo>
                <a:lnTo>
                  <a:pt x="2043" y="349"/>
                </a:lnTo>
                <a:lnTo>
                  <a:pt x="2048" y="347"/>
                </a:lnTo>
                <a:lnTo>
                  <a:pt x="2053" y="344"/>
                </a:lnTo>
                <a:lnTo>
                  <a:pt x="2057" y="342"/>
                </a:lnTo>
                <a:lnTo>
                  <a:pt x="2064" y="340"/>
                </a:lnTo>
                <a:lnTo>
                  <a:pt x="2073" y="339"/>
                </a:lnTo>
                <a:lnTo>
                  <a:pt x="2086" y="338"/>
                </a:lnTo>
                <a:lnTo>
                  <a:pt x="2092" y="339"/>
                </a:lnTo>
                <a:lnTo>
                  <a:pt x="2098" y="340"/>
                </a:lnTo>
                <a:lnTo>
                  <a:pt x="2103" y="341"/>
                </a:lnTo>
                <a:lnTo>
                  <a:pt x="2109" y="343"/>
                </a:lnTo>
                <a:lnTo>
                  <a:pt x="2122" y="349"/>
                </a:lnTo>
                <a:lnTo>
                  <a:pt x="2138" y="357"/>
                </a:lnTo>
                <a:lnTo>
                  <a:pt x="2140" y="361"/>
                </a:lnTo>
                <a:lnTo>
                  <a:pt x="2142" y="366"/>
                </a:lnTo>
                <a:lnTo>
                  <a:pt x="2146" y="370"/>
                </a:lnTo>
                <a:lnTo>
                  <a:pt x="2151" y="375"/>
                </a:lnTo>
                <a:lnTo>
                  <a:pt x="2157" y="379"/>
                </a:lnTo>
                <a:lnTo>
                  <a:pt x="2164" y="382"/>
                </a:lnTo>
                <a:lnTo>
                  <a:pt x="2170" y="385"/>
                </a:lnTo>
                <a:lnTo>
                  <a:pt x="2178" y="388"/>
                </a:lnTo>
                <a:lnTo>
                  <a:pt x="2175" y="393"/>
                </a:lnTo>
                <a:lnTo>
                  <a:pt x="2169" y="399"/>
                </a:lnTo>
                <a:lnTo>
                  <a:pt x="2160" y="405"/>
                </a:lnTo>
                <a:lnTo>
                  <a:pt x="2152" y="410"/>
                </a:lnTo>
                <a:lnTo>
                  <a:pt x="2141" y="416"/>
                </a:lnTo>
                <a:lnTo>
                  <a:pt x="2130" y="420"/>
                </a:lnTo>
                <a:lnTo>
                  <a:pt x="2118" y="423"/>
                </a:lnTo>
                <a:lnTo>
                  <a:pt x="2106" y="424"/>
                </a:lnTo>
                <a:lnTo>
                  <a:pt x="2098" y="426"/>
                </a:lnTo>
                <a:lnTo>
                  <a:pt x="2084" y="434"/>
                </a:lnTo>
                <a:lnTo>
                  <a:pt x="2064" y="443"/>
                </a:lnTo>
                <a:lnTo>
                  <a:pt x="2041" y="455"/>
                </a:lnTo>
                <a:lnTo>
                  <a:pt x="2019" y="467"/>
                </a:lnTo>
                <a:lnTo>
                  <a:pt x="1998" y="479"/>
                </a:lnTo>
                <a:lnTo>
                  <a:pt x="1989" y="485"/>
                </a:lnTo>
                <a:lnTo>
                  <a:pt x="1981" y="490"/>
                </a:lnTo>
                <a:lnTo>
                  <a:pt x="1976" y="495"/>
                </a:lnTo>
                <a:lnTo>
                  <a:pt x="1973" y="499"/>
                </a:lnTo>
                <a:lnTo>
                  <a:pt x="1860" y="499"/>
                </a:lnTo>
                <a:lnTo>
                  <a:pt x="1860" y="506"/>
                </a:lnTo>
                <a:lnTo>
                  <a:pt x="1861" y="513"/>
                </a:lnTo>
                <a:lnTo>
                  <a:pt x="1863" y="520"/>
                </a:lnTo>
                <a:lnTo>
                  <a:pt x="1864" y="525"/>
                </a:lnTo>
                <a:lnTo>
                  <a:pt x="1869" y="536"/>
                </a:lnTo>
                <a:lnTo>
                  <a:pt x="1876" y="546"/>
                </a:lnTo>
                <a:lnTo>
                  <a:pt x="1882" y="554"/>
                </a:lnTo>
                <a:lnTo>
                  <a:pt x="1887" y="562"/>
                </a:lnTo>
                <a:lnTo>
                  <a:pt x="1889" y="566"/>
                </a:lnTo>
                <a:lnTo>
                  <a:pt x="1891" y="570"/>
                </a:lnTo>
                <a:lnTo>
                  <a:pt x="1893" y="574"/>
                </a:lnTo>
                <a:lnTo>
                  <a:pt x="1893" y="578"/>
                </a:lnTo>
                <a:lnTo>
                  <a:pt x="1893" y="583"/>
                </a:lnTo>
                <a:lnTo>
                  <a:pt x="1890" y="588"/>
                </a:lnTo>
                <a:lnTo>
                  <a:pt x="1888" y="594"/>
                </a:lnTo>
                <a:lnTo>
                  <a:pt x="1885" y="601"/>
                </a:lnTo>
                <a:lnTo>
                  <a:pt x="1877" y="613"/>
                </a:lnTo>
                <a:lnTo>
                  <a:pt x="1867" y="625"/>
                </a:lnTo>
                <a:lnTo>
                  <a:pt x="1856" y="637"/>
                </a:lnTo>
                <a:lnTo>
                  <a:pt x="1845" y="647"/>
                </a:lnTo>
                <a:lnTo>
                  <a:pt x="1834" y="655"/>
                </a:lnTo>
                <a:lnTo>
                  <a:pt x="1827" y="659"/>
                </a:lnTo>
                <a:lnTo>
                  <a:pt x="1727" y="659"/>
                </a:lnTo>
                <a:lnTo>
                  <a:pt x="1699" y="674"/>
                </a:lnTo>
                <a:lnTo>
                  <a:pt x="1664" y="694"/>
                </a:lnTo>
                <a:lnTo>
                  <a:pt x="1647" y="704"/>
                </a:lnTo>
                <a:lnTo>
                  <a:pt x="1630" y="713"/>
                </a:lnTo>
                <a:lnTo>
                  <a:pt x="1624" y="716"/>
                </a:lnTo>
                <a:lnTo>
                  <a:pt x="1617" y="718"/>
                </a:lnTo>
                <a:lnTo>
                  <a:pt x="1611" y="720"/>
                </a:lnTo>
                <a:lnTo>
                  <a:pt x="1607" y="721"/>
                </a:lnTo>
                <a:lnTo>
                  <a:pt x="1598" y="720"/>
                </a:lnTo>
                <a:lnTo>
                  <a:pt x="1587" y="719"/>
                </a:lnTo>
                <a:lnTo>
                  <a:pt x="1574" y="717"/>
                </a:lnTo>
                <a:lnTo>
                  <a:pt x="1560" y="714"/>
                </a:lnTo>
                <a:lnTo>
                  <a:pt x="1527" y="705"/>
                </a:lnTo>
                <a:lnTo>
                  <a:pt x="1493" y="696"/>
                </a:lnTo>
                <a:lnTo>
                  <a:pt x="1460" y="686"/>
                </a:lnTo>
                <a:lnTo>
                  <a:pt x="1430" y="676"/>
                </a:lnTo>
                <a:lnTo>
                  <a:pt x="1418" y="671"/>
                </a:lnTo>
                <a:lnTo>
                  <a:pt x="1407" y="667"/>
                </a:lnTo>
                <a:lnTo>
                  <a:pt x="1400" y="663"/>
                </a:lnTo>
                <a:lnTo>
                  <a:pt x="1394" y="659"/>
                </a:lnTo>
                <a:lnTo>
                  <a:pt x="1228" y="659"/>
                </a:lnTo>
                <a:lnTo>
                  <a:pt x="1169" y="646"/>
                </a:lnTo>
                <a:lnTo>
                  <a:pt x="1160" y="646"/>
                </a:lnTo>
                <a:lnTo>
                  <a:pt x="1151" y="646"/>
                </a:lnTo>
                <a:lnTo>
                  <a:pt x="1143" y="644"/>
                </a:lnTo>
                <a:lnTo>
                  <a:pt x="1133" y="641"/>
                </a:lnTo>
                <a:lnTo>
                  <a:pt x="1123" y="638"/>
                </a:lnTo>
                <a:lnTo>
                  <a:pt x="1112" y="633"/>
                </a:lnTo>
                <a:lnTo>
                  <a:pt x="1102" y="628"/>
                </a:lnTo>
                <a:lnTo>
                  <a:pt x="1092" y="622"/>
                </a:lnTo>
                <a:lnTo>
                  <a:pt x="1082" y="615"/>
                </a:lnTo>
                <a:lnTo>
                  <a:pt x="1073" y="608"/>
                </a:lnTo>
                <a:lnTo>
                  <a:pt x="1065" y="601"/>
                </a:lnTo>
                <a:lnTo>
                  <a:pt x="1056" y="592"/>
                </a:lnTo>
                <a:lnTo>
                  <a:pt x="1049" y="584"/>
                </a:lnTo>
                <a:lnTo>
                  <a:pt x="1044" y="576"/>
                </a:lnTo>
                <a:lnTo>
                  <a:pt x="1038" y="568"/>
                </a:lnTo>
                <a:lnTo>
                  <a:pt x="1036" y="560"/>
                </a:lnTo>
                <a:lnTo>
                  <a:pt x="1022" y="560"/>
                </a:lnTo>
                <a:lnTo>
                  <a:pt x="1008" y="558"/>
                </a:lnTo>
                <a:lnTo>
                  <a:pt x="994" y="555"/>
                </a:lnTo>
                <a:lnTo>
                  <a:pt x="980" y="552"/>
                </a:lnTo>
                <a:lnTo>
                  <a:pt x="953" y="543"/>
                </a:lnTo>
                <a:lnTo>
                  <a:pt x="923" y="532"/>
                </a:lnTo>
                <a:lnTo>
                  <a:pt x="893" y="522"/>
                </a:lnTo>
                <a:lnTo>
                  <a:pt x="863" y="513"/>
                </a:lnTo>
                <a:lnTo>
                  <a:pt x="846" y="510"/>
                </a:lnTo>
                <a:lnTo>
                  <a:pt x="831" y="507"/>
                </a:lnTo>
                <a:lnTo>
                  <a:pt x="813" y="505"/>
                </a:lnTo>
                <a:lnTo>
                  <a:pt x="797" y="505"/>
                </a:lnTo>
                <a:lnTo>
                  <a:pt x="786" y="504"/>
                </a:lnTo>
                <a:lnTo>
                  <a:pt x="770" y="501"/>
                </a:lnTo>
                <a:lnTo>
                  <a:pt x="763" y="499"/>
                </a:lnTo>
                <a:lnTo>
                  <a:pt x="756" y="497"/>
                </a:lnTo>
                <a:lnTo>
                  <a:pt x="752" y="495"/>
                </a:lnTo>
                <a:lnTo>
                  <a:pt x="750" y="493"/>
                </a:lnTo>
                <a:lnTo>
                  <a:pt x="746" y="485"/>
                </a:lnTo>
                <a:lnTo>
                  <a:pt x="744" y="477"/>
                </a:lnTo>
                <a:lnTo>
                  <a:pt x="743" y="470"/>
                </a:lnTo>
                <a:lnTo>
                  <a:pt x="743" y="461"/>
                </a:lnTo>
                <a:lnTo>
                  <a:pt x="743" y="456"/>
                </a:lnTo>
                <a:lnTo>
                  <a:pt x="743" y="449"/>
                </a:lnTo>
                <a:lnTo>
                  <a:pt x="743" y="440"/>
                </a:lnTo>
                <a:lnTo>
                  <a:pt x="743" y="431"/>
                </a:lnTo>
                <a:lnTo>
                  <a:pt x="741" y="431"/>
                </a:lnTo>
                <a:lnTo>
                  <a:pt x="736" y="428"/>
                </a:lnTo>
                <a:lnTo>
                  <a:pt x="732" y="426"/>
                </a:lnTo>
                <a:lnTo>
                  <a:pt x="728" y="422"/>
                </a:lnTo>
                <a:lnTo>
                  <a:pt x="717" y="414"/>
                </a:lnTo>
                <a:lnTo>
                  <a:pt x="705" y="403"/>
                </a:lnTo>
                <a:lnTo>
                  <a:pt x="695" y="391"/>
                </a:lnTo>
                <a:lnTo>
                  <a:pt x="686" y="379"/>
                </a:lnTo>
                <a:lnTo>
                  <a:pt x="681" y="372"/>
                </a:lnTo>
                <a:lnTo>
                  <a:pt x="679" y="367"/>
                </a:lnTo>
                <a:lnTo>
                  <a:pt x="677" y="361"/>
                </a:lnTo>
                <a:lnTo>
                  <a:pt x="677" y="357"/>
                </a:lnTo>
                <a:lnTo>
                  <a:pt x="661" y="356"/>
                </a:lnTo>
                <a:lnTo>
                  <a:pt x="645" y="355"/>
                </a:lnTo>
                <a:lnTo>
                  <a:pt x="630" y="353"/>
                </a:lnTo>
                <a:lnTo>
                  <a:pt x="616" y="351"/>
                </a:lnTo>
                <a:lnTo>
                  <a:pt x="602" y="348"/>
                </a:lnTo>
                <a:lnTo>
                  <a:pt x="589" y="344"/>
                </a:lnTo>
                <a:lnTo>
                  <a:pt x="576" y="340"/>
                </a:lnTo>
                <a:lnTo>
                  <a:pt x="564" y="335"/>
                </a:lnTo>
                <a:lnTo>
                  <a:pt x="552" y="329"/>
                </a:lnTo>
                <a:lnTo>
                  <a:pt x="541" y="323"/>
                </a:lnTo>
                <a:lnTo>
                  <a:pt x="531" y="315"/>
                </a:lnTo>
                <a:lnTo>
                  <a:pt x="522" y="307"/>
                </a:lnTo>
                <a:lnTo>
                  <a:pt x="512" y="299"/>
                </a:lnTo>
                <a:lnTo>
                  <a:pt x="505" y="290"/>
                </a:lnTo>
                <a:lnTo>
                  <a:pt x="497" y="281"/>
                </a:lnTo>
                <a:lnTo>
                  <a:pt x="490" y="271"/>
                </a:lnTo>
                <a:lnTo>
                  <a:pt x="475" y="268"/>
                </a:lnTo>
                <a:lnTo>
                  <a:pt x="463" y="267"/>
                </a:lnTo>
                <a:lnTo>
                  <a:pt x="454" y="267"/>
                </a:lnTo>
                <a:lnTo>
                  <a:pt x="449" y="268"/>
                </a:lnTo>
                <a:lnTo>
                  <a:pt x="444" y="270"/>
                </a:lnTo>
                <a:lnTo>
                  <a:pt x="442" y="273"/>
                </a:lnTo>
                <a:lnTo>
                  <a:pt x="441" y="277"/>
                </a:lnTo>
                <a:lnTo>
                  <a:pt x="441" y="281"/>
                </a:lnTo>
                <a:lnTo>
                  <a:pt x="441" y="286"/>
                </a:lnTo>
                <a:lnTo>
                  <a:pt x="441" y="291"/>
                </a:lnTo>
                <a:lnTo>
                  <a:pt x="440" y="296"/>
                </a:lnTo>
                <a:lnTo>
                  <a:pt x="439" y="301"/>
                </a:lnTo>
                <a:lnTo>
                  <a:pt x="436" y="307"/>
                </a:lnTo>
                <a:lnTo>
                  <a:pt x="430" y="311"/>
                </a:lnTo>
                <a:lnTo>
                  <a:pt x="422" y="316"/>
                </a:lnTo>
                <a:lnTo>
                  <a:pt x="411" y="320"/>
                </a:lnTo>
                <a:lnTo>
                  <a:pt x="407" y="320"/>
                </a:lnTo>
                <a:lnTo>
                  <a:pt x="403" y="321"/>
                </a:lnTo>
                <a:lnTo>
                  <a:pt x="400" y="322"/>
                </a:lnTo>
                <a:lnTo>
                  <a:pt x="398" y="323"/>
                </a:lnTo>
                <a:lnTo>
                  <a:pt x="397" y="325"/>
                </a:lnTo>
                <a:lnTo>
                  <a:pt x="396" y="327"/>
                </a:lnTo>
                <a:lnTo>
                  <a:pt x="396" y="329"/>
                </a:lnTo>
                <a:lnTo>
                  <a:pt x="396" y="332"/>
                </a:lnTo>
                <a:lnTo>
                  <a:pt x="401" y="344"/>
                </a:lnTo>
                <a:lnTo>
                  <a:pt x="410" y="357"/>
                </a:lnTo>
                <a:lnTo>
                  <a:pt x="415" y="364"/>
                </a:lnTo>
                <a:lnTo>
                  <a:pt x="419" y="371"/>
                </a:lnTo>
                <a:lnTo>
                  <a:pt x="421" y="379"/>
                </a:lnTo>
                <a:lnTo>
                  <a:pt x="423" y="385"/>
                </a:lnTo>
                <a:lnTo>
                  <a:pt x="423" y="388"/>
                </a:lnTo>
                <a:lnTo>
                  <a:pt x="422" y="390"/>
                </a:lnTo>
                <a:lnTo>
                  <a:pt x="421" y="393"/>
                </a:lnTo>
                <a:lnTo>
                  <a:pt x="420" y="395"/>
                </a:lnTo>
                <a:lnTo>
                  <a:pt x="417" y="397"/>
                </a:lnTo>
                <a:lnTo>
                  <a:pt x="414" y="398"/>
                </a:lnTo>
                <a:lnTo>
                  <a:pt x="409" y="399"/>
                </a:lnTo>
                <a:lnTo>
                  <a:pt x="405" y="400"/>
                </a:lnTo>
                <a:lnTo>
                  <a:pt x="392" y="400"/>
                </a:lnTo>
                <a:lnTo>
                  <a:pt x="377" y="400"/>
                </a:lnTo>
                <a:lnTo>
                  <a:pt x="370" y="400"/>
                </a:lnTo>
                <a:lnTo>
                  <a:pt x="361" y="399"/>
                </a:lnTo>
                <a:lnTo>
                  <a:pt x="351" y="397"/>
                </a:lnTo>
                <a:lnTo>
                  <a:pt x="341" y="395"/>
                </a:lnTo>
                <a:lnTo>
                  <a:pt x="331" y="393"/>
                </a:lnTo>
                <a:lnTo>
                  <a:pt x="321" y="390"/>
                </a:lnTo>
                <a:lnTo>
                  <a:pt x="313" y="386"/>
                </a:lnTo>
                <a:lnTo>
                  <a:pt x="305" y="382"/>
                </a:lnTo>
                <a:lnTo>
                  <a:pt x="303" y="387"/>
                </a:lnTo>
                <a:lnTo>
                  <a:pt x="302" y="393"/>
                </a:lnTo>
                <a:lnTo>
                  <a:pt x="303" y="401"/>
                </a:lnTo>
                <a:lnTo>
                  <a:pt x="303" y="409"/>
                </a:lnTo>
                <a:lnTo>
                  <a:pt x="307" y="427"/>
                </a:lnTo>
                <a:lnTo>
                  <a:pt x="311" y="448"/>
                </a:lnTo>
                <a:lnTo>
                  <a:pt x="316" y="467"/>
                </a:lnTo>
                <a:lnTo>
                  <a:pt x="320" y="483"/>
                </a:lnTo>
                <a:lnTo>
                  <a:pt x="320" y="491"/>
                </a:lnTo>
                <a:lnTo>
                  <a:pt x="320" y="497"/>
                </a:lnTo>
                <a:lnTo>
                  <a:pt x="320" y="502"/>
                </a:lnTo>
                <a:lnTo>
                  <a:pt x="318" y="505"/>
                </a:lnTo>
                <a:lnTo>
                  <a:pt x="292" y="503"/>
                </a:lnTo>
                <a:lnTo>
                  <a:pt x="254" y="503"/>
                </a:lnTo>
                <a:lnTo>
                  <a:pt x="244" y="504"/>
                </a:lnTo>
                <a:lnTo>
                  <a:pt x="236" y="505"/>
                </a:lnTo>
                <a:lnTo>
                  <a:pt x="227" y="507"/>
                </a:lnTo>
                <a:lnTo>
                  <a:pt x="220" y="510"/>
                </a:lnTo>
                <a:lnTo>
                  <a:pt x="214" y="513"/>
                </a:lnTo>
                <a:lnTo>
                  <a:pt x="209" y="517"/>
                </a:lnTo>
                <a:lnTo>
                  <a:pt x="207" y="520"/>
                </a:lnTo>
                <a:lnTo>
                  <a:pt x="206" y="523"/>
                </a:lnTo>
                <a:lnTo>
                  <a:pt x="205" y="526"/>
                </a:lnTo>
                <a:lnTo>
                  <a:pt x="205" y="529"/>
                </a:lnTo>
                <a:lnTo>
                  <a:pt x="216" y="531"/>
                </a:lnTo>
                <a:lnTo>
                  <a:pt x="226" y="534"/>
                </a:lnTo>
                <a:lnTo>
                  <a:pt x="233" y="538"/>
                </a:lnTo>
                <a:lnTo>
                  <a:pt x="239" y="544"/>
                </a:lnTo>
                <a:lnTo>
                  <a:pt x="243" y="550"/>
                </a:lnTo>
                <a:lnTo>
                  <a:pt x="247" y="556"/>
                </a:lnTo>
                <a:lnTo>
                  <a:pt x="250" y="563"/>
                </a:lnTo>
                <a:lnTo>
                  <a:pt x="252" y="569"/>
                </a:lnTo>
                <a:lnTo>
                  <a:pt x="255" y="583"/>
                </a:lnTo>
                <a:lnTo>
                  <a:pt x="260" y="595"/>
                </a:lnTo>
                <a:lnTo>
                  <a:pt x="262" y="601"/>
                </a:lnTo>
                <a:lnTo>
                  <a:pt x="266" y="605"/>
                </a:lnTo>
                <a:lnTo>
                  <a:pt x="272" y="608"/>
                </a:lnTo>
                <a:lnTo>
                  <a:pt x="278" y="610"/>
                </a:lnTo>
                <a:lnTo>
                  <a:pt x="276" y="614"/>
                </a:lnTo>
                <a:lnTo>
                  <a:pt x="275" y="618"/>
                </a:lnTo>
                <a:lnTo>
                  <a:pt x="275" y="621"/>
                </a:lnTo>
                <a:lnTo>
                  <a:pt x="275" y="625"/>
                </a:lnTo>
                <a:lnTo>
                  <a:pt x="277" y="632"/>
                </a:lnTo>
                <a:lnTo>
                  <a:pt x="278" y="640"/>
                </a:lnTo>
                <a:lnTo>
                  <a:pt x="277" y="658"/>
                </a:lnTo>
                <a:lnTo>
                  <a:pt x="274" y="674"/>
                </a:lnTo>
                <a:lnTo>
                  <a:pt x="270" y="688"/>
                </a:lnTo>
                <a:lnTo>
                  <a:pt x="264" y="700"/>
                </a:lnTo>
                <a:lnTo>
                  <a:pt x="261" y="705"/>
                </a:lnTo>
                <a:lnTo>
                  <a:pt x="257" y="711"/>
                </a:lnTo>
                <a:lnTo>
                  <a:pt x="252" y="716"/>
                </a:lnTo>
                <a:lnTo>
                  <a:pt x="248" y="720"/>
                </a:lnTo>
                <a:lnTo>
                  <a:pt x="242" y="724"/>
                </a:lnTo>
                <a:lnTo>
                  <a:pt x="237" y="727"/>
                </a:lnTo>
                <a:lnTo>
                  <a:pt x="231" y="730"/>
                </a:lnTo>
                <a:lnTo>
                  <a:pt x="225" y="733"/>
                </a:lnTo>
                <a:lnTo>
                  <a:pt x="206" y="735"/>
                </a:lnTo>
                <a:lnTo>
                  <a:pt x="182" y="737"/>
                </a:lnTo>
                <a:lnTo>
                  <a:pt x="170" y="739"/>
                </a:lnTo>
                <a:lnTo>
                  <a:pt x="158" y="741"/>
                </a:lnTo>
                <a:lnTo>
                  <a:pt x="152" y="743"/>
                </a:lnTo>
                <a:lnTo>
                  <a:pt x="147" y="745"/>
                </a:lnTo>
                <a:lnTo>
                  <a:pt x="142" y="748"/>
                </a:lnTo>
                <a:lnTo>
                  <a:pt x="139" y="751"/>
                </a:lnTo>
                <a:lnTo>
                  <a:pt x="134" y="758"/>
                </a:lnTo>
                <a:lnTo>
                  <a:pt x="127" y="770"/>
                </a:lnTo>
                <a:lnTo>
                  <a:pt x="123" y="776"/>
                </a:lnTo>
                <a:lnTo>
                  <a:pt x="118" y="781"/>
                </a:lnTo>
                <a:lnTo>
                  <a:pt x="113" y="785"/>
                </a:lnTo>
                <a:lnTo>
                  <a:pt x="105" y="788"/>
                </a:lnTo>
                <a:lnTo>
                  <a:pt x="81" y="794"/>
                </a:lnTo>
                <a:lnTo>
                  <a:pt x="45" y="800"/>
                </a:lnTo>
                <a:lnTo>
                  <a:pt x="27" y="804"/>
                </a:lnTo>
                <a:lnTo>
                  <a:pt x="13" y="807"/>
                </a:lnTo>
                <a:lnTo>
                  <a:pt x="3" y="810"/>
                </a:lnTo>
                <a:lnTo>
                  <a:pt x="0" y="812"/>
                </a:lnTo>
                <a:lnTo>
                  <a:pt x="0" y="824"/>
                </a:lnTo>
                <a:lnTo>
                  <a:pt x="3" y="833"/>
                </a:lnTo>
                <a:lnTo>
                  <a:pt x="6" y="842"/>
                </a:lnTo>
                <a:lnTo>
                  <a:pt x="9" y="850"/>
                </a:lnTo>
                <a:lnTo>
                  <a:pt x="14" y="859"/>
                </a:lnTo>
                <a:lnTo>
                  <a:pt x="18" y="869"/>
                </a:lnTo>
                <a:lnTo>
                  <a:pt x="23" y="880"/>
                </a:lnTo>
                <a:lnTo>
                  <a:pt x="26" y="893"/>
                </a:lnTo>
                <a:lnTo>
                  <a:pt x="40" y="894"/>
                </a:lnTo>
                <a:lnTo>
                  <a:pt x="53" y="896"/>
                </a:lnTo>
                <a:lnTo>
                  <a:pt x="59" y="897"/>
                </a:lnTo>
                <a:lnTo>
                  <a:pt x="64" y="899"/>
                </a:lnTo>
                <a:lnTo>
                  <a:pt x="70" y="902"/>
                </a:lnTo>
                <a:lnTo>
                  <a:pt x="74" y="905"/>
                </a:lnTo>
                <a:lnTo>
                  <a:pt x="79" y="909"/>
                </a:lnTo>
                <a:lnTo>
                  <a:pt x="83" y="913"/>
                </a:lnTo>
                <a:lnTo>
                  <a:pt x="87" y="918"/>
                </a:lnTo>
                <a:lnTo>
                  <a:pt x="90" y="924"/>
                </a:lnTo>
                <a:lnTo>
                  <a:pt x="93" y="931"/>
                </a:lnTo>
                <a:lnTo>
                  <a:pt x="95" y="938"/>
                </a:lnTo>
                <a:lnTo>
                  <a:pt x="97" y="946"/>
                </a:lnTo>
                <a:lnTo>
                  <a:pt x="98" y="95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063" name="Freeform 15"/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5935663" y="1508125"/>
            <a:ext cx="220662" cy="273050"/>
          </a:xfrm>
          <a:custGeom>
            <a:avLst/>
            <a:gdLst>
              <a:gd name="T0" fmla="*/ 345 w 504"/>
              <a:gd name="T1" fmla="*/ 493 h 524"/>
              <a:gd name="T2" fmla="*/ 256 w 504"/>
              <a:gd name="T3" fmla="*/ 505 h 524"/>
              <a:gd name="T4" fmla="*/ 235 w 504"/>
              <a:gd name="T5" fmla="*/ 517 h 524"/>
              <a:gd name="T6" fmla="*/ 210 w 504"/>
              <a:gd name="T7" fmla="*/ 522 h 524"/>
              <a:gd name="T8" fmla="*/ 155 w 504"/>
              <a:gd name="T9" fmla="*/ 524 h 524"/>
              <a:gd name="T10" fmla="*/ 106 w 504"/>
              <a:gd name="T11" fmla="*/ 522 h 524"/>
              <a:gd name="T12" fmla="*/ 94 w 504"/>
              <a:gd name="T13" fmla="*/ 516 h 524"/>
              <a:gd name="T14" fmla="*/ 71 w 504"/>
              <a:gd name="T15" fmla="*/ 509 h 524"/>
              <a:gd name="T16" fmla="*/ 36 w 504"/>
              <a:gd name="T17" fmla="*/ 496 h 524"/>
              <a:gd name="T18" fmla="*/ 22 w 504"/>
              <a:gd name="T19" fmla="*/ 486 h 524"/>
              <a:gd name="T20" fmla="*/ 20 w 504"/>
              <a:gd name="T21" fmla="*/ 477 h 524"/>
              <a:gd name="T22" fmla="*/ 27 w 504"/>
              <a:gd name="T23" fmla="*/ 463 h 524"/>
              <a:gd name="T24" fmla="*/ 32 w 504"/>
              <a:gd name="T25" fmla="*/ 445 h 524"/>
              <a:gd name="T26" fmla="*/ 28 w 504"/>
              <a:gd name="T27" fmla="*/ 432 h 524"/>
              <a:gd name="T28" fmla="*/ 10 w 504"/>
              <a:gd name="T29" fmla="*/ 417 h 524"/>
              <a:gd name="T30" fmla="*/ 1 w 504"/>
              <a:gd name="T31" fmla="*/ 407 h 524"/>
              <a:gd name="T32" fmla="*/ 1 w 504"/>
              <a:gd name="T33" fmla="*/ 391 h 524"/>
              <a:gd name="T34" fmla="*/ 17 w 504"/>
              <a:gd name="T35" fmla="*/ 360 h 524"/>
              <a:gd name="T36" fmla="*/ 48 w 504"/>
              <a:gd name="T37" fmla="*/ 328 h 524"/>
              <a:gd name="T38" fmla="*/ 86 w 504"/>
              <a:gd name="T39" fmla="*/ 299 h 524"/>
              <a:gd name="T40" fmla="*/ 124 w 504"/>
              <a:gd name="T41" fmla="*/ 279 h 524"/>
              <a:gd name="T42" fmla="*/ 160 w 504"/>
              <a:gd name="T43" fmla="*/ 272 h 524"/>
              <a:gd name="T44" fmla="*/ 155 w 504"/>
              <a:gd name="T45" fmla="*/ 264 h 524"/>
              <a:gd name="T46" fmla="*/ 142 w 504"/>
              <a:gd name="T47" fmla="*/ 259 h 524"/>
              <a:gd name="T48" fmla="*/ 133 w 504"/>
              <a:gd name="T49" fmla="*/ 251 h 524"/>
              <a:gd name="T50" fmla="*/ 127 w 504"/>
              <a:gd name="T51" fmla="*/ 229 h 524"/>
              <a:gd name="T52" fmla="*/ 124 w 504"/>
              <a:gd name="T53" fmla="*/ 195 h 524"/>
              <a:gd name="T54" fmla="*/ 115 w 504"/>
              <a:gd name="T55" fmla="*/ 161 h 524"/>
              <a:gd name="T56" fmla="*/ 100 w 504"/>
              <a:gd name="T57" fmla="*/ 134 h 524"/>
              <a:gd name="T58" fmla="*/ 68 w 504"/>
              <a:gd name="T59" fmla="*/ 90 h 524"/>
              <a:gd name="T60" fmla="*/ 86 w 504"/>
              <a:gd name="T61" fmla="*/ 60 h 524"/>
              <a:gd name="T62" fmla="*/ 106 w 504"/>
              <a:gd name="T63" fmla="*/ 56 h 524"/>
              <a:gd name="T64" fmla="*/ 130 w 504"/>
              <a:gd name="T65" fmla="*/ 58 h 524"/>
              <a:gd name="T66" fmla="*/ 139 w 504"/>
              <a:gd name="T67" fmla="*/ 61 h 524"/>
              <a:gd name="T68" fmla="*/ 160 w 504"/>
              <a:gd name="T69" fmla="*/ 56 h 524"/>
              <a:gd name="T70" fmla="*/ 164 w 504"/>
              <a:gd name="T71" fmla="*/ 33 h 524"/>
              <a:gd name="T72" fmla="*/ 171 w 504"/>
              <a:gd name="T73" fmla="*/ 13 h 524"/>
              <a:gd name="T74" fmla="*/ 187 w 504"/>
              <a:gd name="T75" fmla="*/ 0 h 524"/>
              <a:gd name="T76" fmla="*/ 225 w 504"/>
              <a:gd name="T77" fmla="*/ 0 h 524"/>
              <a:gd name="T78" fmla="*/ 254 w 504"/>
              <a:gd name="T79" fmla="*/ 8 h 524"/>
              <a:gd name="T80" fmla="*/ 280 w 504"/>
              <a:gd name="T81" fmla="*/ 21 h 524"/>
              <a:gd name="T82" fmla="*/ 279 w 504"/>
              <a:gd name="T83" fmla="*/ 62 h 524"/>
              <a:gd name="T84" fmla="*/ 292 w 504"/>
              <a:gd name="T85" fmla="*/ 77 h 524"/>
              <a:gd name="T86" fmla="*/ 319 w 504"/>
              <a:gd name="T87" fmla="*/ 94 h 524"/>
              <a:gd name="T88" fmla="*/ 356 w 504"/>
              <a:gd name="T89" fmla="*/ 119 h 524"/>
              <a:gd name="T90" fmla="*/ 346 w 504"/>
              <a:gd name="T91" fmla="*/ 135 h 524"/>
              <a:gd name="T92" fmla="*/ 340 w 504"/>
              <a:gd name="T93" fmla="*/ 153 h 524"/>
              <a:gd name="T94" fmla="*/ 344 w 504"/>
              <a:gd name="T95" fmla="*/ 176 h 524"/>
              <a:gd name="T96" fmla="*/ 363 w 504"/>
              <a:gd name="T97" fmla="*/ 200 h 524"/>
              <a:gd name="T98" fmla="*/ 378 w 504"/>
              <a:gd name="T99" fmla="*/ 210 h 524"/>
              <a:gd name="T100" fmla="*/ 386 w 504"/>
              <a:gd name="T101" fmla="*/ 256 h 524"/>
              <a:gd name="T102" fmla="*/ 404 w 504"/>
              <a:gd name="T103" fmla="*/ 289 h 524"/>
              <a:gd name="T104" fmla="*/ 432 w 504"/>
              <a:gd name="T105" fmla="*/ 315 h 524"/>
              <a:gd name="T106" fmla="*/ 463 w 504"/>
              <a:gd name="T107" fmla="*/ 335 h 524"/>
              <a:gd name="T108" fmla="*/ 466 w 504"/>
              <a:gd name="T109" fmla="*/ 390 h 524"/>
              <a:gd name="T110" fmla="*/ 397 w 504"/>
              <a:gd name="T111" fmla="*/ 457 h 5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04" h="524">
                <a:moveTo>
                  <a:pt x="365" y="493"/>
                </a:moveTo>
                <a:lnTo>
                  <a:pt x="355" y="493"/>
                </a:lnTo>
                <a:lnTo>
                  <a:pt x="345" y="493"/>
                </a:lnTo>
                <a:lnTo>
                  <a:pt x="266" y="493"/>
                </a:lnTo>
                <a:lnTo>
                  <a:pt x="262" y="500"/>
                </a:lnTo>
                <a:lnTo>
                  <a:pt x="256" y="505"/>
                </a:lnTo>
                <a:lnTo>
                  <a:pt x="250" y="510"/>
                </a:lnTo>
                <a:lnTo>
                  <a:pt x="243" y="513"/>
                </a:lnTo>
                <a:lnTo>
                  <a:pt x="235" y="517"/>
                </a:lnTo>
                <a:lnTo>
                  <a:pt x="228" y="519"/>
                </a:lnTo>
                <a:lnTo>
                  <a:pt x="219" y="521"/>
                </a:lnTo>
                <a:lnTo>
                  <a:pt x="210" y="522"/>
                </a:lnTo>
                <a:lnTo>
                  <a:pt x="191" y="524"/>
                </a:lnTo>
                <a:lnTo>
                  <a:pt x="173" y="524"/>
                </a:lnTo>
                <a:lnTo>
                  <a:pt x="155" y="524"/>
                </a:lnTo>
                <a:lnTo>
                  <a:pt x="140" y="524"/>
                </a:lnTo>
                <a:lnTo>
                  <a:pt x="121" y="523"/>
                </a:lnTo>
                <a:lnTo>
                  <a:pt x="106" y="522"/>
                </a:lnTo>
                <a:lnTo>
                  <a:pt x="100" y="521"/>
                </a:lnTo>
                <a:lnTo>
                  <a:pt x="96" y="519"/>
                </a:lnTo>
                <a:lnTo>
                  <a:pt x="94" y="516"/>
                </a:lnTo>
                <a:lnTo>
                  <a:pt x="93" y="512"/>
                </a:lnTo>
                <a:lnTo>
                  <a:pt x="82" y="511"/>
                </a:lnTo>
                <a:lnTo>
                  <a:pt x="71" y="509"/>
                </a:lnTo>
                <a:lnTo>
                  <a:pt x="59" y="505"/>
                </a:lnTo>
                <a:lnTo>
                  <a:pt x="47" y="501"/>
                </a:lnTo>
                <a:lnTo>
                  <a:pt x="36" y="496"/>
                </a:lnTo>
                <a:lnTo>
                  <a:pt x="28" y="491"/>
                </a:lnTo>
                <a:lnTo>
                  <a:pt x="25" y="489"/>
                </a:lnTo>
                <a:lnTo>
                  <a:pt x="22" y="486"/>
                </a:lnTo>
                <a:lnTo>
                  <a:pt x="20" y="484"/>
                </a:lnTo>
                <a:lnTo>
                  <a:pt x="20" y="481"/>
                </a:lnTo>
                <a:lnTo>
                  <a:pt x="20" y="477"/>
                </a:lnTo>
                <a:lnTo>
                  <a:pt x="22" y="472"/>
                </a:lnTo>
                <a:lnTo>
                  <a:pt x="25" y="467"/>
                </a:lnTo>
                <a:lnTo>
                  <a:pt x="27" y="463"/>
                </a:lnTo>
                <a:lnTo>
                  <a:pt x="31" y="456"/>
                </a:lnTo>
                <a:lnTo>
                  <a:pt x="33" y="450"/>
                </a:lnTo>
                <a:lnTo>
                  <a:pt x="32" y="445"/>
                </a:lnTo>
                <a:lnTo>
                  <a:pt x="31" y="440"/>
                </a:lnTo>
                <a:lnTo>
                  <a:pt x="30" y="436"/>
                </a:lnTo>
                <a:lnTo>
                  <a:pt x="28" y="432"/>
                </a:lnTo>
                <a:lnTo>
                  <a:pt x="22" y="426"/>
                </a:lnTo>
                <a:lnTo>
                  <a:pt x="17" y="421"/>
                </a:lnTo>
                <a:lnTo>
                  <a:pt x="10" y="417"/>
                </a:lnTo>
                <a:lnTo>
                  <a:pt x="5" y="412"/>
                </a:lnTo>
                <a:lnTo>
                  <a:pt x="3" y="409"/>
                </a:lnTo>
                <a:lnTo>
                  <a:pt x="1" y="407"/>
                </a:lnTo>
                <a:lnTo>
                  <a:pt x="0" y="404"/>
                </a:lnTo>
                <a:lnTo>
                  <a:pt x="0" y="401"/>
                </a:lnTo>
                <a:lnTo>
                  <a:pt x="1" y="391"/>
                </a:lnTo>
                <a:lnTo>
                  <a:pt x="5" y="381"/>
                </a:lnTo>
                <a:lnTo>
                  <a:pt x="10" y="371"/>
                </a:lnTo>
                <a:lnTo>
                  <a:pt x="17" y="360"/>
                </a:lnTo>
                <a:lnTo>
                  <a:pt x="26" y="349"/>
                </a:lnTo>
                <a:lnTo>
                  <a:pt x="37" y="338"/>
                </a:lnTo>
                <a:lnTo>
                  <a:pt x="48" y="328"/>
                </a:lnTo>
                <a:lnTo>
                  <a:pt x="60" y="318"/>
                </a:lnTo>
                <a:lnTo>
                  <a:pt x="73" y="309"/>
                </a:lnTo>
                <a:lnTo>
                  <a:pt x="86" y="299"/>
                </a:lnTo>
                <a:lnTo>
                  <a:pt x="99" y="291"/>
                </a:lnTo>
                <a:lnTo>
                  <a:pt x="112" y="285"/>
                </a:lnTo>
                <a:lnTo>
                  <a:pt x="124" y="279"/>
                </a:lnTo>
                <a:lnTo>
                  <a:pt x="138" y="275"/>
                </a:lnTo>
                <a:lnTo>
                  <a:pt x="149" y="272"/>
                </a:lnTo>
                <a:lnTo>
                  <a:pt x="160" y="272"/>
                </a:lnTo>
                <a:lnTo>
                  <a:pt x="166" y="266"/>
                </a:lnTo>
                <a:lnTo>
                  <a:pt x="160" y="265"/>
                </a:lnTo>
                <a:lnTo>
                  <a:pt x="155" y="264"/>
                </a:lnTo>
                <a:lnTo>
                  <a:pt x="150" y="263"/>
                </a:lnTo>
                <a:lnTo>
                  <a:pt x="145" y="261"/>
                </a:lnTo>
                <a:lnTo>
                  <a:pt x="142" y="259"/>
                </a:lnTo>
                <a:lnTo>
                  <a:pt x="139" y="257"/>
                </a:lnTo>
                <a:lnTo>
                  <a:pt x="135" y="254"/>
                </a:lnTo>
                <a:lnTo>
                  <a:pt x="133" y="251"/>
                </a:lnTo>
                <a:lnTo>
                  <a:pt x="130" y="244"/>
                </a:lnTo>
                <a:lnTo>
                  <a:pt x="128" y="236"/>
                </a:lnTo>
                <a:lnTo>
                  <a:pt x="127" y="229"/>
                </a:lnTo>
                <a:lnTo>
                  <a:pt x="127" y="222"/>
                </a:lnTo>
                <a:lnTo>
                  <a:pt x="126" y="208"/>
                </a:lnTo>
                <a:lnTo>
                  <a:pt x="124" y="195"/>
                </a:lnTo>
                <a:lnTo>
                  <a:pt x="121" y="182"/>
                </a:lnTo>
                <a:lnTo>
                  <a:pt x="119" y="171"/>
                </a:lnTo>
                <a:lnTo>
                  <a:pt x="115" y="161"/>
                </a:lnTo>
                <a:lnTo>
                  <a:pt x="110" y="152"/>
                </a:lnTo>
                <a:lnTo>
                  <a:pt x="106" y="143"/>
                </a:lnTo>
                <a:lnTo>
                  <a:pt x="100" y="134"/>
                </a:lnTo>
                <a:lnTo>
                  <a:pt x="89" y="119"/>
                </a:lnTo>
                <a:lnTo>
                  <a:pt x="78" y="104"/>
                </a:lnTo>
                <a:lnTo>
                  <a:pt x="68" y="90"/>
                </a:lnTo>
                <a:lnTo>
                  <a:pt x="60" y="74"/>
                </a:lnTo>
                <a:lnTo>
                  <a:pt x="74" y="66"/>
                </a:lnTo>
                <a:lnTo>
                  <a:pt x="86" y="60"/>
                </a:lnTo>
                <a:lnTo>
                  <a:pt x="93" y="58"/>
                </a:lnTo>
                <a:lnTo>
                  <a:pt x="99" y="57"/>
                </a:lnTo>
                <a:lnTo>
                  <a:pt x="106" y="56"/>
                </a:lnTo>
                <a:lnTo>
                  <a:pt x="112" y="56"/>
                </a:lnTo>
                <a:lnTo>
                  <a:pt x="123" y="56"/>
                </a:lnTo>
                <a:lnTo>
                  <a:pt x="130" y="58"/>
                </a:lnTo>
                <a:lnTo>
                  <a:pt x="133" y="59"/>
                </a:lnTo>
                <a:lnTo>
                  <a:pt x="137" y="60"/>
                </a:lnTo>
                <a:lnTo>
                  <a:pt x="139" y="61"/>
                </a:lnTo>
                <a:lnTo>
                  <a:pt x="143" y="61"/>
                </a:lnTo>
                <a:lnTo>
                  <a:pt x="149" y="59"/>
                </a:lnTo>
                <a:lnTo>
                  <a:pt x="160" y="56"/>
                </a:lnTo>
                <a:lnTo>
                  <a:pt x="160" y="47"/>
                </a:lnTo>
                <a:lnTo>
                  <a:pt x="162" y="40"/>
                </a:lnTo>
                <a:lnTo>
                  <a:pt x="164" y="33"/>
                </a:lnTo>
                <a:lnTo>
                  <a:pt x="166" y="25"/>
                </a:lnTo>
                <a:lnTo>
                  <a:pt x="168" y="19"/>
                </a:lnTo>
                <a:lnTo>
                  <a:pt x="171" y="13"/>
                </a:lnTo>
                <a:lnTo>
                  <a:pt x="172" y="7"/>
                </a:lnTo>
                <a:lnTo>
                  <a:pt x="173" y="0"/>
                </a:lnTo>
                <a:lnTo>
                  <a:pt x="187" y="0"/>
                </a:lnTo>
                <a:lnTo>
                  <a:pt x="201" y="0"/>
                </a:lnTo>
                <a:lnTo>
                  <a:pt x="214" y="0"/>
                </a:lnTo>
                <a:lnTo>
                  <a:pt x="225" y="0"/>
                </a:lnTo>
                <a:lnTo>
                  <a:pt x="235" y="1"/>
                </a:lnTo>
                <a:lnTo>
                  <a:pt x="244" y="4"/>
                </a:lnTo>
                <a:lnTo>
                  <a:pt x="254" y="8"/>
                </a:lnTo>
                <a:lnTo>
                  <a:pt x="263" y="12"/>
                </a:lnTo>
                <a:lnTo>
                  <a:pt x="270" y="17"/>
                </a:lnTo>
                <a:lnTo>
                  <a:pt x="280" y="21"/>
                </a:lnTo>
                <a:lnTo>
                  <a:pt x="289" y="24"/>
                </a:lnTo>
                <a:lnTo>
                  <a:pt x="299" y="25"/>
                </a:lnTo>
                <a:lnTo>
                  <a:pt x="279" y="62"/>
                </a:lnTo>
                <a:lnTo>
                  <a:pt x="283" y="67"/>
                </a:lnTo>
                <a:lnTo>
                  <a:pt x="287" y="72"/>
                </a:lnTo>
                <a:lnTo>
                  <a:pt x="292" y="77"/>
                </a:lnTo>
                <a:lnTo>
                  <a:pt x="297" y="82"/>
                </a:lnTo>
                <a:lnTo>
                  <a:pt x="308" y="88"/>
                </a:lnTo>
                <a:lnTo>
                  <a:pt x="319" y="94"/>
                </a:lnTo>
                <a:lnTo>
                  <a:pt x="341" y="103"/>
                </a:lnTo>
                <a:lnTo>
                  <a:pt x="358" y="111"/>
                </a:lnTo>
                <a:lnTo>
                  <a:pt x="356" y="119"/>
                </a:lnTo>
                <a:lnTo>
                  <a:pt x="353" y="126"/>
                </a:lnTo>
                <a:lnTo>
                  <a:pt x="350" y="131"/>
                </a:lnTo>
                <a:lnTo>
                  <a:pt x="346" y="135"/>
                </a:lnTo>
                <a:lnTo>
                  <a:pt x="343" y="141"/>
                </a:lnTo>
                <a:lnTo>
                  <a:pt x="341" y="146"/>
                </a:lnTo>
                <a:lnTo>
                  <a:pt x="340" y="153"/>
                </a:lnTo>
                <a:lnTo>
                  <a:pt x="339" y="161"/>
                </a:lnTo>
                <a:lnTo>
                  <a:pt x="340" y="168"/>
                </a:lnTo>
                <a:lnTo>
                  <a:pt x="344" y="176"/>
                </a:lnTo>
                <a:lnTo>
                  <a:pt x="350" y="184"/>
                </a:lnTo>
                <a:lnTo>
                  <a:pt x="356" y="193"/>
                </a:lnTo>
                <a:lnTo>
                  <a:pt x="363" y="200"/>
                </a:lnTo>
                <a:lnTo>
                  <a:pt x="369" y="205"/>
                </a:lnTo>
                <a:lnTo>
                  <a:pt x="375" y="209"/>
                </a:lnTo>
                <a:lnTo>
                  <a:pt x="378" y="210"/>
                </a:lnTo>
                <a:lnTo>
                  <a:pt x="379" y="226"/>
                </a:lnTo>
                <a:lnTo>
                  <a:pt x="381" y="241"/>
                </a:lnTo>
                <a:lnTo>
                  <a:pt x="386" y="256"/>
                </a:lnTo>
                <a:lnTo>
                  <a:pt x="391" y="268"/>
                </a:lnTo>
                <a:lnTo>
                  <a:pt x="397" y="279"/>
                </a:lnTo>
                <a:lnTo>
                  <a:pt x="404" y="289"/>
                </a:lnTo>
                <a:lnTo>
                  <a:pt x="413" y="298"/>
                </a:lnTo>
                <a:lnTo>
                  <a:pt x="422" y="307"/>
                </a:lnTo>
                <a:lnTo>
                  <a:pt x="432" y="315"/>
                </a:lnTo>
                <a:lnTo>
                  <a:pt x="442" y="322"/>
                </a:lnTo>
                <a:lnTo>
                  <a:pt x="452" y="329"/>
                </a:lnTo>
                <a:lnTo>
                  <a:pt x="463" y="335"/>
                </a:lnTo>
                <a:lnTo>
                  <a:pt x="485" y="346"/>
                </a:lnTo>
                <a:lnTo>
                  <a:pt x="504" y="357"/>
                </a:lnTo>
                <a:lnTo>
                  <a:pt x="466" y="390"/>
                </a:lnTo>
                <a:lnTo>
                  <a:pt x="430" y="424"/>
                </a:lnTo>
                <a:lnTo>
                  <a:pt x="413" y="440"/>
                </a:lnTo>
                <a:lnTo>
                  <a:pt x="397" y="457"/>
                </a:lnTo>
                <a:lnTo>
                  <a:pt x="380" y="476"/>
                </a:lnTo>
                <a:lnTo>
                  <a:pt x="365" y="49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064" name="Freeform 16"/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5672138" y="1925639"/>
            <a:ext cx="182562" cy="238125"/>
          </a:xfrm>
          <a:custGeom>
            <a:avLst/>
            <a:gdLst>
              <a:gd name="T0" fmla="*/ 426 w 438"/>
              <a:gd name="T1" fmla="*/ 190 h 451"/>
              <a:gd name="T2" fmla="*/ 408 w 438"/>
              <a:gd name="T3" fmla="*/ 128 h 451"/>
              <a:gd name="T4" fmla="*/ 387 w 438"/>
              <a:gd name="T5" fmla="*/ 85 h 451"/>
              <a:gd name="T6" fmla="*/ 367 w 438"/>
              <a:gd name="T7" fmla="*/ 62 h 451"/>
              <a:gd name="T8" fmla="*/ 356 w 438"/>
              <a:gd name="T9" fmla="*/ 58 h 451"/>
              <a:gd name="T10" fmla="*/ 335 w 438"/>
              <a:gd name="T11" fmla="*/ 45 h 451"/>
              <a:gd name="T12" fmla="*/ 314 w 438"/>
              <a:gd name="T13" fmla="*/ 38 h 451"/>
              <a:gd name="T14" fmla="*/ 293 w 438"/>
              <a:gd name="T15" fmla="*/ 38 h 451"/>
              <a:gd name="T16" fmla="*/ 276 w 438"/>
              <a:gd name="T17" fmla="*/ 42 h 451"/>
              <a:gd name="T18" fmla="*/ 251 w 438"/>
              <a:gd name="T19" fmla="*/ 58 h 451"/>
              <a:gd name="T20" fmla="*/ 235 w 438"/>
              <a:gd name="T21" fmla="*/ 67 h 451"/>
              <a:gd name="T22" fmla="*/ 217 w 438"/>
              <a:gd name="T23" fmla="*/ 66 h 451"/>
              <a:gd name="T24" fmla="*/ 174 w 438"/>
              <a:gd name="T25" fmla="*/ 37 h 451"/>
              <a:gd name="T26" fmla="*/ 113 w 438"/>
              <a:gd name="T27" fmla="*/ 0 h 451"/>
              <a:gd name="T28" fmla="*/ 95 w 438"/>
              <a:gd name="T29" fmla="*/ 23 h 451"/>
              <a:gd name="T30" fmla="*/ 93 w 438"/>
              <a:gd name="T31" fmla="*/ 43 h 451"/>
              <a:gd name="T32" fmla="*/ 98 w 438"/>
              <a:gd name="T33" fmla="*/ 52 h 451"/>
              <a:gd name="T34" fmla="*/ 119 w 438"/>
              <a:gd name="T35" fmla="*/ 69 h 451"/>
              <a:gd name="T36" fmla="*/ 99 w 438"/>
              <a:gd name="T37" fmla="*/ 73 h 451"/>
              <a:gd name="T38" fmla="*/ 66 w 438"/>
              <a:gd name="T39" fmla="*/ 93 h 451"/>
              <a:gd name="T40" fmla="*/ 58 w 438"/>
              <a:gd name="T41" fmla="*/ 119 h 451"/>
              <a:gd name="T42" fmla="*/ 45 w 438"/>
              <a:gd name="T43" fmla="*/ 138 h 451"/>
              <a:gd name="T44" fmla="*/ 35 w 438"/>
              <a:gd name="T45" fmla="*/ 156 h 451"/>
              <a:gd name="T46" fmla="*/ 33 w 438"/>
              <a:gd name="T47" fmla="*/ 179 h 451"/>
              <a:gd name="T48" fmla="*/ 7 w 438"/>
              <a:gd name="T49" fmla="*/ 238 h 451"/>
              <a:gd name="T50" fmla="*/ 15 w 438"/>
              <a:gd name="T51" fmla="*/ 246 h 451"/>
              <a:gd name="T52" fmla="*/ 26 w 438"/>
              <a:gd name="T53" fmla="*/ 247 h 451"/>
              <a:gd name="T54" fmla="*/ 33 w 438"/>
              <a:gd name="T55" fmla="*/ 346 h 451"/>
              <a:gd name="T56" fmla="*/ 93 w 438"/>
              <a:gd name="T57" fmla="*/ 353 h 451"/>
              <a:gd name="T58" fmla="*/ 104 w 438"/>
              <a:gd name="T59" fmla="*/ 376 h 451"/>
              <a:gd name="T60" fmla="*/ 89 w 438"/>
              <a:gd name="T61" fmla="*/ 425 h 451"/>
              <a:gd name="T62" fmla="*/ 109 w 438"/>
              <a:gd name="T63" fmla="*/ 447 h 451"/>
              <a:gd name="T64" fmla="*/ 152 w 438"/>
              <a:gd name="T65" fmla="*/ 447 h 451"/>
              <a:gd name="T66" fmla="*/ 205 w 438"/>
              <a:gd name="T67" fmla="*/ 444 h 451"/>
              <a:gd name="T68" fmla="*/ 276 w 438"/>
              <a:gd name="T69" fmla="*/ 446 h 451"/>
              <a:gd name="T70" fmla="*/ 343 w 438"/>
              <a:gd name="T71" fmla="*/ 442 h 451"/>
              <a:gd name="T72" fmla="*/ 372 w 438"/>
              <a:gd name="T73" fmla="*/ 432 h 451"/>
              <a:gd name="T74" fmla="*/ 359 w 438"/>
              <a:gd name="T75" fmla="*/ 413 h 451"/>
              <a:gd name="T76" fmla="*/ 369 w 438"/>
              <a:gd name="T77" fmla="*/ 403 h 451"/>
              <a:gd name="T78" fmla="*/ 372 w 438"/>
              <a:gd name="T79" fmla="*/ 382 h 451"/>
              <a:gd name="T80" fmla="*/ 380 w 438"/>
              <a:gd name="T81" fmla="*/ 367 h 451"/>
              <a:gd name="T82" fmla="*/ 343 w 438"/>
              <a:gd name="T83" fmla="*/ 344 h 451"/>
              <a:gd name="T84" fmla="*/ 325 w 438"/>
              <a:gd name="T85" fmla="*/ 323 h 451"/>
              <a:gd name="T86" fmla="*/ 311 w 438"/>
              <a:gd name="T87" fmla="*/ 294 h 451"/>
              <a:gd name="T88" fmla="*/ 294 w 438"/>
              <a:gd name="T89" fmla="*/ 277 h 451"/>
              <a:gd name="T90" fmla="*/ 314 w 438"/>
              <a:gd name="T91" fmla="*/ 275 h 451"/>
              <a:gd name="T92" fmla="*/ 346 w 438"/>
              <a:gd name="T93" fmla="*/ 271 h 451"/>
              <a:gd name="T94" fmla="*/ 369 w 438"/>
              <a:gd name="T95" fmla="*/ 260 h 451"/>
              <a:gd name="T96" fmla="*/ 407 w 438"/>
              <a:gd name="T97" fmla="*/ 240 h 451"/>
              <a:gd name="T98" fmla="*/ 438 w 438"/>
              <a:gd name="T99" fmla="*/ 235 h 4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438" h="451">
                <a:moveTo>
                  <a:pt x="438" y="235"/>
                </a:moveTo>
                <a:lnTo>
                  <a:pt x="431" y="212"/>
                </a:lnTo>
                <a:lnTo>
                  <a:pt x="426" y="190"/>
                </a:lnTo>
                <a:lnTo>
                  <a:pt x="420" y="169"/>
                </a:lnTo>
                <a:lnTo>
                  <a:pt x="415" y="148"/>
                </a:lnTo>
                <a:lnTo>
                  <a:pt x="408" y="128"/>
                </a:lnTo>
                <a:lnTo>
                  <a:pt x="398" y="106"/>
                </a:lnTo>
                <a:lnTo>
                  <a:pt x="393" y="95"/>
                </a:lnTo>
                <a:lnTo>
                  <a:pt x="387" y="85"/>
                </a:lnTo>
                <a:lnTo>
                  <a:pt x="380" y="74"/>
                </a:lnTo>
                <a:lnTo>
                  <a:pt x="372" y="62"/>
                </a:lnTo>
                <a:lnTo>
                  <a:pt x="367" y="62"/>
                </a:lnTo>
                <a:lnTo>
                  <a:pt x="363" y="61"/>
                </a:lnTo>
                <a:lnTo>
                  <a:pt x="359" y="60"/>
                </a:lnTo>
                <a:lnTo>
                  <a:pt x="356" y="58"/>
                </a:lnTo>
                <a:lnTo>
                  <a:pt x="349" y="54"/>
                </a:lnTo>
                <a:lnTo>
                  <a:pt x="342" y="49"/>
                </a:lnTo>
                <a:lnTo>
                  <a:pt x="335" y="45"/>
                </a:lnTo>
                <a:lnTo>
                  <a:pt x="326" y="41"/>
                </a:lnTo>
                <a:lnTo>
                  <a:pt x="320" y="40"/>
                </a:lnTo>
                <a:lnTo>
                  <a:pt x="314" y="38"/>
                </a:lnTo>
                <a:lnTo>
                  <a:pt x="307" y="38"/>
                </a:lnTo>
                <a:lnTo>
                  <a:pt x="298" y="37"/>
                </a:lnTo>
                <a:lnTo>
                  <a:pt x="293" y="38"/>
                </a:lnTo>
                <a:lnTo>
                  <a:pt x="287" y="39"/>
                </a:lnTo>
                <a:lnTo>
                  <a:pt x="282" y="40"/>
                </a:lnTo>
                <a:lnTo>
                  <a:pt x="276" y="42"/>
                </a:lnTo>
                <a:lnTo>
                  <a:pt x="268" y="47"/>
                </a:lnTo>
                <a:lnTo>
                  <a:pt x="260" y="52"/>
                </a:lnTo>
                <a:lnTo>
                  <a:pt x="251" y="58"/>
                </a:lnTo>
                <a:lnTo>
                  <a:pt x="244" y="64"/>
                </a:lnTo>
                <a:lnTo>
                  <a:pt x="239" y="66"/>
                </a:lnTo>
                <a:lnTo>
                  <a:pt x="235" y="67"/>
                </a:lnTo>
                <a:lnTo>
                  <a:pt x="230" y="68"/>
                </a:lnTo>
                <a:lnTo>
                  <a:pt x="226" y="69"/>
                </a:lnTo>
                <a:lnTo>
                  <a:pt x="217" y="66"/>
                </a:lnTo>
                <a:lnTo>
                  <a:pt x="205" y="58"/>
                </a:lnTo>
                <a:lnTo>
                  <a:pt x="190" y="48"/>
                </a:lnTo>
                <a:lnTo>
                  <a:pt x="174" y="37"/>
                </a:lnTo>
                <a:lnTo>
                  <a:pt x="145" y="16"/>
                </a:lnTo>
                <a:lnTo>
                  <a:pt x="133" y="7"/>
                </a:lnTo>
                <a:lnTo>
                  <a:pt x="113" y="0"/>
                </a:lnTo>
                <a:lnTo>
                  <a:pt x="104" y="9"/>
                </a:lnTo>
                <a:lnTo>
                  <a:pt x="98" y="18"/>
                </a:lnTo>
                <a:lnTo>
                  <a:pt x="95" y="23"/>
                </a:lnTo>
                <a:lnTo>
                  <a:pt x="94" y="28"/>
                </a:lnTo>
                <a:lnTo>
                  <a:pt x="93" y="35"/>
                </a:lnTo>
                <a:lnTo>
                  <a:pt x="93" y="43"/>
                </a:lnTo>
                <a:lnTo>
                  <a:pt x="93" y="46"/>
                </a:lnTo>
                <a:lnTo>
                  <a:pt x="95" y="49"/>
                </a:lnTo>
                <a:lnTo>
                  <a:pt x="98" y="52"/>
                </a:lnTo>
                <a:lnTo>
                  <a:pt x="101" y="55"/>
                </a:lnTo>
                <a:lnTo>
                  <a:pt x="110" y="63"/>
                </a:lnTo>
                <a:lnTo>
                  <a:pt x="119" y="69"/>
                </a:lnTo>
                <a:lnTo>
                  <a:pt x="112" y="69"/>
                </a:lnTo>
                <a:lnTo>
                  <a:pt x="105" y="71"/>
                </a:lnTo>
                <a:lnTo>
                  <a:pt x="99" y="73"/>
                </a:lnTo>
                <a:lnTo>
                  <a:pt x="93" y="76"/>
                </a:lnTo>
                <a:lnTo>
                  <a:pt x="80" y="84"/>
                </a:lnTo>
                <a:lnTo>
                  <a:pt x="66" y="93"/>
                </a:lnTo>
                <a:lnTo>
                  <a:pt x="63" y="103"/>
                </a:lnTo>
                <a:lnTo>
                  <a:pt x="61" y="112"/>
                </a:lnTo>
                <a:lnTo>
                  <a:pt x="58" y="119"/>
                </a:lnTo>
                <a:lnTo>
                  <a:pt x="56" y="125"/>
                </a:lnTo>
                <a:lnTo>
                  <a:pt x="49" y="133"/>
                </a:lnTo>
                <a:lnTo>
                  <a:pt x="45" y="138"/>
                </a:lnTo>
                <a:lnTo>
                  <a:pt x="39" y="144"/>
                </a:lnTo>
                <a:lnTo>
                  <a:pt x="36" y="151"/>
                </a:lnTo>
                <a:lnTo>
                  <a:pt x="35" y="156"/>
                </a:lnTo>
                <a:lnTo>
                  <a:pt x="34" y="162"/>
                </a:lnTo>
                <a:lnTo>
                  <a:pt x="33" y="169"/>
                </a:lnTo>
                <a:lnTo>
                  <a:pt x="33" y="179"/>
                </a:lnTo>
                <a:lnTo>
                  <a:pt x="0" y="235"/>
                </a:lnTo>
                <a:lnTo>
                  <a:pt x="4" y="236"/>
                </a:lnTo>
                <a:lnTo>
                  <a:pt x="7" y="238"/>
                </a:lnTo>
                <a:lnTo>
                  <a:pt x="11" y="240"/>
                </a:lnTo>
                <a:lnTo>
                  <a:pt x="13" y="243"/>
                </a:lnTo>
                <a:lnTo>
                  <a:pt x="15" y="246"/>
                </a:lnTo>
                <a:lnTo>
                  <a:pt x="18" y="248"/>
                </a:lnTo>
                <a:lnTo>
                  <a:pt x="22" y="248"/>
                </a:lnTo>
                <a:lnTo>
                  <a:pt x="26" y="247"/>
                </a:lnTo>
                <a:lnTo>
                  <a:pt x="39" y="277"/>
                </a:lnTo>
                <a:lnTo>
                  <a:pt x="33" y="308"/>
                </a:lnTo>
                <a:lnTo>
                  <a:pt x="33" y="346"/>
                </a:lnTo>
                <a:lnTo>
                  <a:pt x="53" y="347"/>
                </a:lnTo>
                <a:lnTo>
                  <a:pt x="72" y="350"/>
                </a:lnTo>
                <a:lnTo>
                  <a:pt x="93" y="353"/>
                </a:lnTo>
                <a:lnTo>
                  <a:pt x="113" y="358"/>
                </a:lnTo>
                <a:lnTo>
                  <a:pt x="107" y="366"/>
                </a:lnTo>
                <a:lnTo>
                  <a:pt x="104" y="376"/>
                </a:lnTo>
                <a:lnTo>
                  <a:pt x="100" y="387"/>
                </a:lnTo>
                <a:lnTo>
                  <a:pt x="96" y="400"/>
                </a:lnTo>
                <a:lnTo>
                  <a:pt x="89" y="425"/>
                </a:lnTo>
                <a:lnTo>
                  <a:pt x="79" y="451"/>
                </a:lnTo>
                <a:lnTo>
                  <a:pt x="94" y="449"/>
                </a:lnTo>
                <a:lnTo>
                  <a:pt x="109" y="447"/>
                </a:lnTo>
                <a:lnTo>
                  <a:pt x="123" y="447"/>
                </a:lnTo>
                <a:lnTo>
                  <a:pt x="137" y="447"/>
                </a:lnTo>
                <a:lnTo>
                  <a:pt x="152" y="447"/>
                </a:lnTo>
                <a:lnTo>
                  <a:pt x="169" y="446"/>
                </a:lnTo>
                <a:lnTo>
                  <a:pt x="186" y="445"/>
                </a:lnTo>
                <a:lnTo>
                  <a:pt x="205" y="444"/>
                </a:lnTo>
                <a:lnTo>
                  <a:pt x="228" y="445"/>
                </a:lnTo>
                <a:lnTo>
                  <a:pt x="252" y="446"/>
                </a:lnTo>
                <a:lnTo>
                  <a:pt x="276" y="446"/>
                </a:lnTo>
                <a:lnTo>
                  <a:pt x="300" y="445"/>
                </a:lnTo>
                <a:lnTo>
                  <a:pt x="322" y="444"/>
                </a:lnTo>
                <a:lnTo>
                  <a:pt x="343" y="442"/>
                </a:lnTo>
                <a:lnTo>
                  <a:pt x="362" y="440"/>
                </a:lnTo>
                <a:lnTo>
                  <a:pt x="379" y="438"/>
                </a:lnTo>
                <a:lnTo>
                  <a:pt x="372" y="432"/>
                </a:lnTo>
                <a:lnTo>
                  <a:pt x="365" y="425"/>
                </a:lnTo>
                <a:lnTo>
                  <a:pt x="361" y="419"/>
                </a:lnTo>
                <a:lnTo>
                  <a:pt x="359" y="413"/>
                </a:lnTo>
                <a:lnTo>
                  <a:pt x="363" y="411"/>
                </a:lnTo>
                <a:lnTo>
                  <a:pt x="367" y="407"/>
                </a:lnTo>
                <a:lnTo>
                  <a:pt x="369" y="403"/>
                </a:lnTo>
                <a:lnTo>
                  <a:pt x="370" y="398"/>
                </a:lnTo>
                <a:lnTo>
                  <a:pt x="372" y="389"/>
                </a:lnTo>
                <a:lnTo>
                  <a:pt x="372" y="382"/>
                </a:lnTo>
                <a:lnTo>
                  <a:pt x="385" y="379"/>
                </a:lnTo>
                <a:lnTo>
                  <a:pt x="398" y="376"/>
                </a:lnTo>
                <a:lnTo>
                  <a:pt x="380" y="367"/>
                </a:lnTo>
                <a:lnTo>
                  <a:pt x="365" y="359"/>
                </a:lnTo>
                <a:lnTo>
                  <a:pt x="353" y="351"/>
                </a:lnTo>
                <a:lnTo>
                  <a:pt x="343" y="344"/>
                </a:lnTo>
                <a:lnTo>
                  <a:pt x="336" y="336"/>
                </a:lnTo>
                <a:lnTo>
                  <a:pt x="330" y="329"/>
                </a:lnTo>
                <a:lnTo>
                  <a:pt x="325" y="323"/>
                </a:lnTo>
                <a:lnTo>
                  <a:pt x="322" y="317"/>
                </a:lnTo>
                <a:lnTo>
                  <a:pt x="316" y="305"/>
                </a:lnTo>
                <a:lnTo>
                  <a:pt x="311" y="294"/>
                </a:lnTo>
                <a:lnTo>
                  <a:pt x="306" y="289"/>
                </a:lnTo>
                <a:lnTo>
                  <a:pt x="301" y="283"/>
                </a:lnTo>
                <a:lnTo>
                  <a:pt x="294" y="277"/>
                </a:lnTo>
                <a:lnTo>
                  <a:pt x="285" y="271"/>
                </a:lnTo>
                <a:lnTo>
                  <a:pt x="301" y="274"/>
                </a:lnTo>
                <a:lnTo>
                  <a:pt x="314" y="275"/>
                </a:lnTo>
                <a:lnTo>
                  <a:pt x="326" y="275"/>
                </a:lnTo>
                <a:lnTo>
                  <a:pt x="336" y="273"/>
                </a:lnTo>
                <a:lnTo>
                  <a:pt x="346" y="271"/>
                </a:lnTo>
                <a:lnTo>
                  <a:pt x="354" y="268"/>
                </a:lnTo>
                <a:lnTo>
                  <a:pt x="362" y="264"/>
                </a:lnTo>
                <a:lnTo>
                  <a:pt x="369" y="260"/>
                </a:lnTo>
                <a:lnTo>
                  <a:pt x="383" y="251"/>
                </a:lnTo>
                <a:lnTo>
                  <a:pt x="398" y="243"/>
                </a:lnTo>
                <a:lnTo>
                  <a:pt x="407" y="240"/>
                </a:lnTo>
                <a:lnTo>
                  <a:pt x="416" y="237"/>
                </a:lnTo>
                <a:lnTo>
                  <a:pt x="427" y="236"/>
                </a:lnTo>
                <a:lnTo>
                  <a:pt x="438" y="235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065" name="Freeform 17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5697539" y="2182814"/>
            <a:ext cx="250825" cy="274637"/>
          </a:xfrm>
          <a:custGeom>
            <a:avLst/>
            <a:gdLst>
              <a:gd name="T0" fmla="*/ 327 w 578"/>
              <a:gd name="T1" fmla="*/ 88 h 524"/>
              <a:gd name="T2" fmla="*/ 312 w 578"/>
              <a:gd name="T3" fmla="*/ 85 h 524"/>
              <a:gd name="T4" fmla="*/ 301 w 578"/>
              <a:gd name="T5" fmla="*/ 79 h 524"/>
              <a:gd name="T6" fmla="*/ 275 w 578"/>
              <a:gd name="T7" fmla="*/ 66 h 524"/>
              <a:gd name="T8" fmla="*/ 251 w 578"/>
              <a:gd name="T9" fmla="*/ 78 h 524"/>
              <a:gd name="T10" fmla="*/ 246 w 578"/>
              <a:gd name="T11" fmla="*/ 105 h 524"/>
              <a:gd name="T12" fmla="*/ 253 w 578"/>
              <a:gd name="T13" fmla="*/ 153 h 524"/>
              <a:gd name="T14" fmla="*/ 270 w 578"/>
              <a:gd name="T15" fmla="*/ 172 h 524"/>
              <a:gd name="T16" fmla="*/ 287 w 578"/>
              <a:gd name="T17" fmla="*/ 178 h 524"/>
              <a:gd name="T18" fmla="*/ 298 w 578"/>
              <a:gd name="T19" fmla="*/ 191 h 524"/>
              <a:gd name="T20" fmla="*/ 351 w 578"/>
              <a:gd name="T21" fmla="*/ 225 h 524"/>
              <a:gd name="T22" fmla="*/ 449 w 578"/>
              <a:gd name="T23" fmla="*/ 309 h 524"/>
              <a:gd name="T24" fmla="*/ 477 w 578"/>
              <a:gd name="T25" fmla="*/ 322 h 524"/>
              <a:gd name="T26" fmla="*/ 504 w 578"/>
              <a:gd name="T27" fmla="*/ 328 h 524"/>
              <a:gd name="T28" fmla="*/ 536 w 578"/>
              <a:gd name="T29" fmla="*/ 356 h 524"/>
              <a:gd name="T30" fmla="*/ 578 w 578"/>
              <a:gd name="T31" fmla="*/ 376 h 524"/>
              <a:gd name="T32" fmla="*/ 565 w 578"/>
              <a:gd name="T33" fmla="*/ 407 h 524"/>
              <a:gd name="T34" fmla="*/ 526 w 578"/>
              <a:gd name="T35" fmla="*/ 383 h 524"/>
              <a:gd name="T36" fmla="*/ 508 w 578"/>
              <a:gd name="T37" fmla="*/ 376 h 524"/>
              <a:gd name="T38" fmla="*/ 498 w 578"/>
              <a:gd name="T39" fmla="*/ 397 h 524"/>
              <a:gd name="T40" fmla="*/ 506 w 578"/>
              <a:gd name="T41" fmla="*/ 426 h 524"/>
              <a:gd name="T42" fmla="*/ 514 w 578"/>
              <a:gd name="T43" fmla="*/ 442 h 524"/>
              <a:gd name="T44" fmla="*/ 500 w 578"/>
              <a:gd name="T45" fmla="*/ 468 h 524"/>
              <a:gd name="T46" fmla="*/ 483 w 578"/>
              <a:gd name="T47" fmla="*/ 505 h 524"/>
              <a:gd name="T48" fmla="*/ 465 w 578"/>
              <a:gd name="T49" fmla="*/ 522 h 524"/>
              <a:gd name="T50" fmla="*/ 436 w 578"/>
              <a:gd name="T51" fmla="*/ 505 h 524"/>
              <a:gd name="T52" fmla="*/ 456 w 578"/>
              <a:gd name="T53" fmla="*/ 484 h 524"/>
              <a:gd name="T54" fmla="*/ 465 w 578"/>
              <a:gd name="T55" fmla="*/ 467 h 524"/>
              <a:gd name="T56" fmla="*/ 461 w 578"/>
              <a:gd name="T57" fmla="*/ 441 h 524"/>
              <a:gd name="T58" fmla="*/ 427 w 578"/>
              <a:gd name="T59" fmla="*/ 395 h 524"/>
              <a:gd name="T60" fmla="*/ 385 w 578"/>
              <a:gd name="T61" fmla="*/ 369 h 524"/>
              <a:gd name="T62" fmla="*/ 355 w 578"/>
              <a:gd name="T63" fmla="*/ 356 h 524"/>
              <a:gd name="T64" fmla="*/ 318 w 578"/>
              <a:gd name="T65" fmla="*/ 330 h 524"/>
              <a:gd name="T66" fmla="*/ 268 w 578"/>
              <a:gd name="T67" fmla="*/ 315 h 524"/>
              <a:gd name="T68" fmla="*/ 218 w 578"/>
              <a:gd name="T69" fmla="*/ 285 h 524"/>
              <a:gd name="T70" fmla="*/ 162 w 578"/>
              <a:gd name="T71" fmla="*/ 229 h 524"/>
              <a:gd name="T72" fmla="*/ 126 w 578"/>
              <a:gd name="T73" fmla="*/ 168 h 524"/>
              <a:gd name="T74" fmla="*/ 77 w 578"/>
              <a:gd name="T75" fmla="*/ 154 h 524"/>
              <a:gd name="T76" fmla="*/ 51 w 578"/>
              <a:gd name="T77" fmla="*/ 157 h 524"/>
              <a:gd name="T78" fmla="*/ 15 w 578"/>
              <a:gd name="T79" fmla="*/ 165 h 524"/>
              <a:gd name="T80" fmla="*/ 3 w 578"/>
              <a:gd name="T81" fmla="*/ 133 h 524"/>
              <a:gd name="T82" fmla="*/ 1 w 578"/>
              <a:gd name="T83" fmla="*/ 93 h 524"/>
              <a:gd name="T84" fmla="*/ 6 w 578"/>
              <a:gd name="T85" fmla="*/ 49 h 524"/>
              <a:gd name="T86" fmla="*/ 45 w 578"/>
              <a:gd name="T87" fmla="*/ 41 h 524"/>
              <a:gd name="T88" fmla="*/ 68 w 578"/>
              <a:gd name="T89" fmla="*/ 33 h 524"/>
              <a:gd name="T90" fmla="*/ 83 w 578"/>
              <a:gd name="T91" fmla="*/ 48 h 524"/>
              <a:gd name="T92" fmla="*/ 104 w 578"/>
              <a:gd name="T93" fmla="*/ 44 h 524"/>
              <a:gd name="T94" fmla="*/ 149 w 578"/>
              <a:gd name="T95" fmla="*/ 16 h 524"/>
              <a:gd name="T96" fmla="*/ 239 w 578"/>
              <a:gd name="T97" fmla="*/ 0 h 524"/>
              <a:gd name="T98" fmla="*/ 257 w 578"/>
              <a:gd name="T99" fmla="*/ 13 h 524"/>
              <a:gd name="T100" fmla="*/ 332 w 578"/>
              <a:gd name="T101" fmla="*/ 19 h 524"/>
              <a:gd name="T102" fmla="*/ 322 w 578"/>
              <a:gd name="T103" fmla="*/ 65 h 524"/>
              <a:gd name="T104" fmla="*/ 325 w 578"/>
              <a:gd name="T105" fmla="*/ 90 h 5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578" h="524">
                <a:moveTo>
                  <a:pt x="332" y="99"/>
                </a:moveTo>
                <a:lnTo>
                  <a:pt x="331" y="94"/>
                </a:lnTo>
                <a:lnTo>
                  <a:pt x="329" y="90"/>
                </a:lnTo>
                <a:lnTo>
                  <a:pt x="327" y="88"/>
                </a:lnTo>
                <a:lnTo>
                  <a:pt x="325" y="86"/>
                </a:lnTo>
                <a:lnTo>
                  <a:pt x="320" y="85"/>
                </a:lnTo>
                <a:lnTo>
                  <a:pt x="315" y="85"/>
                </a:lnTo>
                <a:lnTo>
                  <a:pt x="312" y="85"/>
                </a:lnTo>
                <a:lnTo>
                  <a:pt x="309" y="85"/>
                </a:lnTo>
                <a:lnTo>
                  <a:pt x="306" y="84"/>
                </a:lnTo>
                <a:lnTo>
                  <a:pt x="304" y="82"/>
                </a:lnTo>
                <a:lnTo>
                  <a:pt x="301" y="79"/>
                </a:lnTo>
                <a:lnTo>
                  <a:pt x="297" y="75"/>
                </a:lnTo>
                <a:lnTo>
                  <a:pt x="295" y="69"/>
                </a:lnTo>
                <a:lnTo>
                  <a:pt x="293" y="61"/>
                </a:lnTo>
                <a:lnTo>
                  <a:pt x="275" y="66"/>
                </a:lnTo>
                <a:lnTo>
                  <a:pt x="263" y="70"/>
                </a:lnTo>
                <a:lnTo>
                  <a:pt x="258" y="73"/>
                </a:lnTo>
                <a:lnTo>
                  <a:pt x="254" y="76"/>
                </a:lnTo>
                <a:lnTo>
                  <a:pt x="251" y="78"/>
                </a:lnTo>
                <a:lnTo>
                  <a:pt x="249" y="81"/>
                </a:lnTo>
                <a:lnTo>
                  <a:pt x="247" y="87"/>
                </a:lnTo>
                <a:lnTo>
                  <a:pt x="246" y="95"/>
                </a:lnTo>
                <a:lnTo>
                  <a:pt x="246" y="105"/>
                </a:lnTo>
                <a:lnTo>
                  <a:pt x="246" y="117"/>
                </a:lnTo>
                <a:lnTo>
                  <a:pt x="247" y="131"/>
                </a:lnTo>
                <a:lnTo>
                  <a:pt x="249" y="143"/>
                </a:lnTo>
                <a:lnTo>
                  <a:pt x="253" y="153"/>
                </a:lnTo>
                <a:lnTo>
                  <a:pt x="259" y="162"/>
                </a:lnTo>
                <a:lnTo>
                  <a:pt x="262" y="166"/>
                </a:lnTo>
                <a:lnTo>
                  <a:pt x="266" y="169"/>
                </a:lnTo>
                <a:lnTo>
                  <a:pt x="270" y="172"/>
                </a:lnTo>
                <a:lnTo>
                  <a:pt x="274" y="174"/>
                </a:lnTo>
                <a:lnTo>
                  <a:pt x="279" y="176"/>
                </a:lnTo>
                <a:lnTo>
                  <a:pt x="283" y="177"/>
                </a:lnTo>
                <a:lnTo>
                  <a:pt x="287" y="178"/>
                </a:lnTo>
                <a:lnTo>
                  <a:pt x="293" y="178"/>
                </a:lnTo>
                <a:lnTo>
                  <a:pt x="293" y="182"/>
                </a:lnTo>
                <a:lnTo>
                  <a:pt x="295" y="187"/>
                </a:lnTo>
                <a:lnTo>
                  <a:pt x="298" y="191"/>
                </a:lnTo>
                <a:lnTo>
                  <a:pt x="303" y="195"/>
                </a:lnTo>
                <a:lnTo>
                  <a:pt x="314" y="203"/>
                </a:lnTo>
                <a:lnTo>
                  <a:pt x="327" y="211"/>
                </a:lnTo>
                <a:lnTo>
                  <a:pt x="351" y="225"/>
                </a:lnTo>
                <a:lnTo>
                  <a:pt x="365" y="234"/>
                </a:lnTo>
                <a:lnTo>
                  <a:pt x="439" y="296"/>
                </a:lnTo>
                <a:lnTo>
                  <a:pt x="443" y="303"/>
                </a:lnTo>
                <a:lnTo>
                  <a:pt x="449" y="309"/>
                </a:lnTo>
                <a:lnTo>
                  <a:pt x="454" y="314"/>
                </a:lnTo>
                <a:lnTo>
                  <a:pt x="461" y="318"/>
                </a:lnTo>
                <a:lnTo>
                  <a:pt x="469" y="320"/>
                </a:lnTo>
                <a:lnTo>
                  <a:pt x="477" y="322"/>
                </a:lnTo>
                <a:lnTo>
                  <a:pt x="487" y="322"/>
                </a:lnTo>
                <a:lnTo>
                  <a:pt x="498" y="321"/>
                </a:lnTo>
                <a:lnTo>
                  <a:pt x="500" y="324"/>
                </a:lnTo>
                <a:lnTo>
                  <a:pt x="504" y="328"/>
                </a:lnTo>
                <a:lnTo>
                  <a:pt x="507" y="332"/>
                </a:lnTo>
                <a:lnTo>
                  <a:pt x="511" y="337"/>
                </a:lnTo>
                <a:lnTo>
                  <a:pt x="523" y="346"/>
                </a:lnTo>
                <a:lnTo>
                  <a:pt x="536" y="356"/>
                </a:lnTo>
                <a:lnTo>
                  <a:pt x="549" y="364"/>
                </a:lnTo>
                <a:lnTo>
                  <a:pt x="561" y="370"/>
                </a:lnTo>
                <a:lnTo>
                  <a:pt x="571" y="374"/>
                </a:lnTo>
                <a:lnTo>
                  <a:pt x="578" y="376"/>
                </a:lnTo>
                <a:lnTo>
                  <a:pt x="577" y="383"/>
                </a:lnTo>
                <a:lnTo>
                  <a:pt x="574" y="391"/>
                </a:lnTo>
                <a:lnTo>
                  <a:pt x="570" y="400"/>
                </a:lnTo>
                <a:lnTo>
                  <a:pt x="565" y="407"/>
                </a:lnTo>
                <a:lnTo>
                  <a:pt x="552" y="388"/>
                </a:lnTo>
                <a:lnTo>
                  <a:pt x="541" y="387"/>
                </a:lnTo>
                <a:lnTo>
                  <a:pt x="530" y="384"/>
                </a:lnTo>
                <a:lnTo>
                  <a:pt x="526" y="383"/>
                </a:lnTo>
                <a:lnTo>
                  <a:pt x="521" y="381"/>
                </a:lnTo>
                <a:lnTo>
                  <a:pt x="519" y="378"/>
                </a:lnTo>
                <a:lnTo>
                  <a:pt x="518" y="376"/>
                </a:lnTo>
                <a:lnTo>
                  <a:pt x="508" y="376"/>
                </a:lnTo>
                <a:lnTo>
                  <a:pt x="498" y="376"/>
                </a:lnTo>
                <a:lnTo>
                  <a:pt x="498" y="382"/>
                </a:lnTo>
                <a:lnTo>
                  <a:pt x="498" y="389"/>
                </a:lnTo>
                <a:lnTo>
                  <a:pt x="498" y="397"/>
                </a:lnTo>
                <a:lnTo>
                  <a:pt x="498" y="407"/>
                </a:lnTo>
                <a:lnTo>
                  <a:pt x="499" y="414"/>
                </a:lnTo>
                <a:lnTo>
                  <a:pt x="504" y="422"/>
                </a:lnTo>
                <a:lnTo>
                  <a:pt x="506" y="426"/>
                </a:lnTo>
                <a:lnTo>
                  <a:pt x="509" y="429"/>
                </a:lnTo>
                <a:lnTo>
                  <a:pt x="514" y="431"/>
                </a:lnTo>
                <a:lnTo>
                  <a:pt x="518" y="432"/>
                </a:lnTo>
                <a:lnTo>
                  <a:pt x="514" y="442"/>
                </a:lnTo>
                <a:lnTo>
                  <a:pt x="508" y="454"/>
                </a:lnTo>
                <a:lnTo>
                  <a:pt x="506" y="460"/>
                </a:lnTo>
                <a:lnTo>
                  <a:pt x="504" y="465"/>
                </a:lnTo>
                <a:lnTo>
                  <a:pt x="500" y="468"/>
                </a:lnTo>
                <a:lnTo>
                  <a:pt x="498" y="469"/>
                </a:lnTo>
                <a:lnTo>
                  <a:pt x="493" y="485"/>
                </a:lnTo>
                <a:lnTo>
                  <a:pt x="486" y="498"/>
                </a:lnTo>
                <a:lnTo>
                  <a:pt x="483" y="505"/>
                </a:lnTo>
                <a:lnTo>
                  <a:pt x="481" y="511"/>
                </a:lnTo>
                <a:lnTo>
                  <a:pt x="480" y="518"/>
                </a:lnTo>
                <a:lnTo>
                  <a:pt x="478" y="524"/>
                </a:lnTo>
                <a:lnTo>
                  <a:pt x="465" y="522"/>
                </a:lnTo>
                <a:lnTo>
                  <a:pt x="450" y="518"/>
                </a:lnTo>
                <a:lnTo>
                  <a:pt x="438" y="513"/>
                </a:lnTo>
                <a:lnTo>
                  <a:pt x="432" y="511"/>
                </a:lnTo>
                <a:lnTo>
                  <a:pt x="436" y="505"/>
                </a:lnTo>
                <a:lnTo>
                  <a:pt x="440" y="499"/>
                </a:lnTo>
                <a:lnTo>
                  <a:pt x="445" y="494"/>
                </a:lnTo>
                <a:lnTo>
                  <a:pt x="451" y="489"/>
                </a:lnTo>
                <a:lnTo>
                  <a:pt x="456" y="484"/>
                </a:lnTo>
                <a:lnTo>
                  <a:pt x="461" y="478"/>
                </a:lnTo>
                <a:lnTo>
                  <a:pt x="463" y="475"/>
                </a:lnTo>
                <a:lnTo>
                  <a:pt x="464" y="471"/>
                </a:lnTo>
                <a:lnTo>
                  <a:pt x="465" y="467"/>
                </a:lnTo>
                <a:lnTo>
                  <a:pt x="465" y="463"/>
                </a:lnTo>
                <a:lnTo>
                  <a:pt x="464" y="455"/>
                </a:lnTo>
                <a:lnTo>
                  <a:pt x="463" y="448"/>
                </a:lnTo>
                <a:lnTo>
                  <a:pt x="461" y="441"/>
                </a:lnTo>
                <a:lnTo>
                  <a:pt x="458" y="434"/>
                </a:lnTo>
                <a:lnTo>
                  <a:pt x="449" y="420"/>
                </a:lnTo>
                <a:lnTo>
                  <a:pt x="439" y="407"/>
                </a:lnTo>
                <a:lnTo>
                  <a:pt x="427" y="395"/>
                </a:lnTo>
                <a:lnTo>
                  <a:pt x="415" y="384"/>
                </a:lnTo>
                <a:lnTo>
                  <a:pt x="403" y="376"/>
                </a:lnTo>
                <a:lnTo>
                  <a:pt x="392" y="370"/>
                </a:lnTo>
                <a:lnTo>
                  <a:pt x="385" y="369"/>
                </a:lnTo>
                <a:lnTo>
                  <a:pt x="378" y="367"/>
                </a:lnTo>
                <a:lnTo>
                  <a:pt x="372" y="364"/>
                </a:lnTo>
                <a:lnTo>
                  <a:pt x="366" y="362"/>
                </a:lnTo>
                <a:lnTo>
                  <a:pt x="355" y="356"/>
                </a:lnTo>
                <a:lnTo>
                  <a:pt x="348" y="349"/>
                </a:lnTo>
                <a:lnTo>
                  <a:pt x="336" y="338"/>
                </a:lnTo>
                <a:lnTo>
                  <a:pt x="332" y="333"/>
                </a:lnTo>
                <a:lnTo>
                  <a:pt x="318" y="330"/>
                </a:lnTo>
                <a:lnTo>
                  <a:pt x="305" y="327"/>
                </a:lnTo>
                <a:lnTo>
                  <a:pt x="292" y="323"/>
                </a:lnTo>
                <a:lnTo>
                  <a:pt x="280" y="319"/>
                </a:lnTo>
                <a:lnTo>
                  <a:pt x="268" y="315"/>
                </a:lnTo>
                <a:lnTo>
                  <a:pt x="257" y="310"/>
                </a:lnTo>
                <a:lnTo>
                  <a:pt x="247" y="304"/>
                </a:lnTo>
                <a:lnTo>
                  <a:pt x="237" y="299"/>
                </a:lnTo>
                <a:lnTo>
                  <a:pt x="218" y="285"/>
                </a:lnTo>
                <a:lnTo>
                  <a:pt x="202" y="272"/>
                </a:lnTo>
                <a:lnTo>
                  <a:pt x="186" y="258"/>
                </a:lnTo>
                <a:lnTo>
                  <a:pt x="173" y="244"/>
                </a:lnTo>
                <a:lnTo>
                  <a:pt x="162" y="229"/>
                </a:lnTo>
                <a:lnTo>
                  <a:pt x="152" y="215"/>
                </a:lnTo>
                <a:lnTo>
                  <a:pt x="144" y="202"/>
                </a:lnTo>
                <a:lnTo>
                  <a:pt x="137" y="189"/>
                </a:lnTo>
                <a:lnTo>
                  <a:pt x="126" y="168"/>
                </a:lnTo>
                <a:lnTo>
                  <a:pt x="119" y="154"/>
                </a:lnTo>
                <a:lnTo>
                  <a:pt x="102" y="154"/>
                </a:lnTo>
                <a:lnTo>
                  <a:pt x="89" y="154"/>
                </a:lnTo>
                <a:lnTo>
                  <a:pt x="77" y="154"/>
                </a:lnTo>
                <a:lnTo>
                  <a:pt x="67" y="154"/>
                </a:lnTo>
                <a:lnTo>
                  <a:pt x="61" y="155"/>
                </a:lnTo>
                <a:lnTo>
                  <a:pt x="57" y="155"/>
                </a:lnTo>
                <a:lnTo>
                  <a:pt x="51" y="157"/>
                </a:lnTo>
                <a:lnTo>
                  <a:pt x="46" y="159"/>
                </a:lnTo>
                <a:lnTo>
                  <a:pt x="34" y="164"/>
                </a:lnTo>
                <a:lnTo>
                  <a:pt x="21" y="172"/>
                </a:lnTo>
                <a:lnTo>
                  <a:pt x="15" y="165"/>
                </a:lnTo>
                <a:lnTo>
                  <a:pt x="12" y="158"/>
                </a:lnTo>
                <a:lnTo>
                  <a:pt x="7" y="150"/>
                </a:lnTo>
                <a:lnTo>
                  <a:pt x="5" y="141"/>
                </a:lnTo>
                <a:lnTo>
                  <a:pt x="3" y="133"/>
                </a:lnTo>
                <a:lnTo>
                  <a:pt x="1" y="123"/>
                </a:lnTo>
                <a:lnTo>
                  <a:pt x="1" y="114"/>
                </a:lnTo>
                <a:lnTo>
                  <a:pt x="0" y="105"/>
                </a:lnTo>
                <a:lnTo>
                  <a:pt x="1" y="93"/>
                </a:lnTo>
                <a:lnTo>
                  <a:pt x="3" y="83"/>
                </a:lnTo>
                <a:lnTo>
                  <a:pt x="5" y="71"/>
                </a:lnTo>
                <a:lnTo>
                  <a:pt x="6" y="55"/>
                </a:lnTo>
                <a:lnTo>
                  <a:pt x="6" y="49"/>
                </a:lnTo>
                <a:lnTo>
                  <a:pt x="27" y="49"/>
                </a:lnTo>
                <a:lnTo>
                  <a:pt x="34" y="47"/>
                </a:lnTo>
                <a:lnTo>
                  <a:pt x="39" y="44"/>
                </a:lnTo>
                <a:lnTo>
                  <a:pt x="45" y="41"/>
                </a:lnTo>
                <a:lnTo>
                  <a:pt x="49" y="37"/>
                </a:lnTo>
                <a:lnTo>
                  <a:pt x="58" y="31"/>
                </a:lnTo>
                <a:lnTo>
                  <a:pt x="67" y="25"/>
                </a:lnTo>
                <a:lnTo>
                  <a:pt x="68" y="33"/>
                </a:lnTo>
                <a:lnTo>
                  <a:pt x="70" y="39"/>
                </a:lnTo>
                <a:lnTo>
                  <a:pt x="73" y="44"/>
                </a:lnTo>
                <a:lnTo>
                  <a:pt x="78" y="46"/>
                </a:lnTo>
                <a:lnTo>
                  <a:pt x="83" y="48"/>
                </a:lnTo>
                <a:lnTo>
                  <a:pt x="89" y="49"/>
                </a:lnTo>
                <a:lnTo>
                  <a:pt x="94" y="49"/>
                </a:lnTo>
                <a:lnTo>
                  <a:pt x="100" y="49"/>
                </a:lnTo>
                <a:lnTo>
                  <a:pt x="104" y="44"/>
                </a:lnTo>
                <a:lnTo>
                  <a:pt x="113" y="38"/>
                </a:lnTo>
                <a:lnTo>
                  <a:pt x="124" y="31"/>
                </a:lnTo>
                <a:lnTo>
                  <a:pt x="136" y="24"/>
                </a:lnTo>
                <a:lnTo>
                  <a:pt x="149" y="16"/>
                </a:lnTo>
                <a:lnTo>
                  <a:pt x="160" y="11"/>
                </a:lnTo>
                <a:lnTo>
                  <a:pt x="168" y="7"/>
                </a:lnTo>
                <a:lnTo>
                  <a:pt x="173" y="6"/>
                </a:lnTo>
                <a:lnTo>
                  <a:pt x="239" y="0"/>
                </a:lnTo>
                <a:lnTo>
                  <a:pt x="243" y="4"/>
                </a:lnTo>
                <a:lnTo>
                  <a:pt x="248" y="8"/>
                </a:lnTo>
                <a:lnTo>
                  <a:pt x="252" y="11"/>
                </a:lnTo>
                <a:lnTo>
                  <a:pt x="257" y="13"/>
                </a:lnTo>
                <a:lnTo>
                  <a:pt x="266" y="16"/>
                </a:lnTo>
                <a:lnTo>
                  <a:pt x="279" y="19"/>
                </a:lnTo>
                <a:lnTo>
                  <a:pt x="304" y="20"/>
                </a:lnTo>
                <a:lnTo>
                  <a:pt x="332" y="19"/>
                </a:lnTo>
                <a:lnTo>
                  <a:pt x="331" y="34"/>
                </a:lnTo>
                <a:lnTo>
                  <a:pt x="329" y="46"/>
                </a:lnTo>
                <a:lnTo>
                  <a:pt x="325" y="56"/>
                </a:lnTo>
                <a:lnTo>
                  <a:pt x="322" y="65"/>
                </a:lnTo>
                <a:lnTo>
                  <a:pt x="320" y="74"/>
                </a:lnTo>
                <a:lnTo>
                  <a:pt x="321" y="82"/>
                </a:lnTo>
                <a:lnTo>
                  <a:pt x="322" y="86"/>
                </a:lnTo>
                <a:lnTo>
                  <a:pt x="325" y="90"/>
                </a:lnTo>
                <a:lnTo>
                  <a:pt x="328" y="94"/>
                </a:lnTo>
                <a:lnTo>
                  <a:pt x="332" y="9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066" name="Freeform 18"/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5715000" y="2351088"/>
            <a:ext cx="33338" cy="82550"/>
          </a:xfrm>
          <a:custGeom>
            <a:avLst/>
            <a:gdLst>
              <a:gd name="T0" fmla="*/ 0 w 79"/>
              <a:gd name="T1" fmla="*/ 37 h 160"/>
              <a:gd name="T2" fmla="*/ 6 w 79"/>
              <a:gd name="T3" fmla="*/ 37 h 160"/>
              <a:gd name="T4" fmla="*/ 11 w 79"/>
              <a:gd name="T5" fmla="*/ 36 h 160"/>
              <a:gd name="T6" fmla="*/ 16 w 79"/>
              <a:gd name="T7" fmla="*/ 35 h 160"/>
              <a:gd name="T8" fmla="*/ 19 w 79"/>
              <a:gd name="T9" fmla="*/ 33 h 160"/>
              <a:gd name="T10" fmla="*/ 26 w 79"/>
              <a:gd name="T11" fmla="*/ 28 h 160"/>
              <a:gd name="T12" fmla="*/ 31 w 79"/>
              <a:gd name="T13" fmla="*/ 22 h 160"/>
              <a:gd name="T14" fmla="*/ 37 w 79"/>
              <a:gd name="T15" fmla="*/ 16 h 160"/>
              <a:gd name="T16" fmla="*/ 41 w 79"/>
              <a:gd name="T17" fmla="*/ 10 h 160"/>
              <a:gd name="T18" fmla="*/ 46 w 79"/>
              <a:gd name="T19" fmla="*/ 5 h 160"/>
              <a:gd name="T20" fmla="*/ 53 w 79"/>
              <a:gd name="T21" fmla="*/ 0 h 160"/>
              <a:gd name="T22" fmla="*/ 57 w 79"/>
              <a:gd name="T23" fmla="*/ 3 h 160"/>
              <a:gd name="T24" fmla="*/ 62 w 79"/>
              <a:gd name="T25" fmla="*/ 7 h 160"/>
              <a:gd name="T26" fmla="*/ 64 w 79"/>
              <a:gd name="T27" fmla="*/ 10 h 160"/>
              <a:gd name="T28" fmla="*/ 66 w 79"/>
              <a:gd name="T29" fmla="*/ 14 h 160"/>
              <a:gd name="T30" fmla="*/ 69 w 79"/>
              <a:gd name="T31" fmla="*/ 22 h 160"/>
              <a:gd name="T32" fmla="*/ 72 w 79"/>
              <a:gd name="T33" fmla="*/ 32 h 160"/>
              <a:gd name="T34" fmla="*/ 73 w 79"/>
              <a:gd name="T35" fmla="*/ 40 h 160"/>
              <a:gd name="T36" fmla="*/ 74 w 79"/>
              <a:gd name="T37" fmla="*/ 49 h 160"/>
              <a:gd name="T38" fmla="*/ 76 w 79"/>
              <a:gd name="T39" fmla="*/ 58 h 160"/>
              <a:gd name="T40" fmla="*/ 79 w 79"/>
              <a:gd name="T41" fmla="*/ 67 h 160"/>
              <a:gd name="T42" fmla="*/ 79 w 79"/>
              <a:gd name="T43" fmla="*/ 98 h 160"/>
              <a:gd name="T44" fmla="*/ 68 w 79"/>
              <a:gd name="T45" fmla="*/ 115 h 160"/>
              <a:gd name="T46" fmla="*/ 59 w 79"/>
              <a:gd name="T47" fmla="*/ 129 h 160"/>
              <a:gd name="T48" fmla="*/ 53 w 79"/>
              <a:gd name="T49" fmla="*/ 136 h 160"/>
              <a:gd name="T50" fmla="*/ 50 w 79"/>
              <a:gd name="T51" fmla="*/ 144 h 160"/>
              <a:gd name="T52" fmla="*/ 48 w 79"/>
              <a:gd name="T53" fmla="*/ 151 h 160"/>
              <a:gd name="T54" fmla="*/ 46 w 79"/>
              <a:gd name="T55" fmla="*/ 160 h 160"/>
              <a:gd name="T56" fmla="*/ 40 w 79"/>
              <a:gd name="T57" fmla="*/ 155 h 160"/>
              <a:gd name="T58" fmla="*/ 33 w 79"/>
              <a:gd name="T59" fmla="*/ 150 h 160"/>
              <a:gd name="T60" fmla="*/ 28 w 79"/>
              <a:gd name="T61" fmla="*/ 144 h 160"/>
              <a:gd name="T62" fmla="*/ 22 w 79"/>
              <a:gd name="T63" fmla="*/ 137 h 160"/>
              <a:gd name="T64" fmla="*/ 18 w 79"/>
              <a:gd name="T65" fmla="*/ 130 h 160"/>
              <a:gd name="T66" fmla="*/ 15 w 79"/>
              <a:gd name="T67" fmla="*/ 123 h 160"/>
              <a:gd name="T68" fmla="*/ 11 w 79"/>
              <a:gd name="T69" fmla="*/ 115 h 160"/>
              <a:gd name="T70" fmla="*/ 8 w 79"/>
              <a:gd name="T71" fmla="*/ 108 h 160"/>
              <a:gd name="T72" fmla="*/ 4 w 79"/>
              <a:gd name="T73" fmla="*/ 91 h 160"/>
              <a:gd name="T74" fmla="*/ 1 w 79"/>
              <a:gd name="T75" fmla="*/ 73 h 160"/>
              <a:gd name="T76" fmla="*/ 0 w 79"/>
              <a:gd name="T77" fmla="*/ 55 h 160"/>
              <a:gd name="T78" fmla="*/ 0 w 79"/>
              <a:gd name="T79" fmla="*/ 37 h 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79" h="160">
                <a:moveTo>
                  <a:pt x="0" y="37"/>
                </a:moveTo>
                <a:lnTo>
                  <a:pt x="6" y="37"/>
                </a:lnTo>
                <a:lnTo>
                  <a:pt x="11" y="36"/>
                </a:lnTo>
                <a:lnTo>
                  <a:pt x="16" y="35"/>
                </a:lnTo>
                <a:lnTo>
                  <a:pt x="19" y="33"/>
                </a:lnTo>
                <a:lnTo>
                  <a:pt x="26" y="28"/>
                </a:lnTo>
                <a:lnTo>
                  <a:pt x="31" y="22"/>
                </a:lnTo>
                <a:lnTo>
                  <a:pt x="37" y="16"/>
                </a:lnTo>
                <a:lnTo>
                  <a:pt x="41" y="10"/>
                </a:lnTo>
                <a:lnTo>
                  <a:pt x="46" y="5"/>
                </a:lnTo>
                <a:lnTo>
                  <a:pt x="53" y="0"/>
                </a:lnTo>
                <a:lnTo>
                  <a:pt x="57" y="3"/>
                </a:lnTo>
                <a:lnTo>
                  <a:pt x="62" y="7"/>
                </a:lnTo>
                <a:lnTo>
                  <a:pt x="64" y="10"/>
                </a:lnTo>
                <a:lnTo>
                  <a:pt x="66" y="14"/>
                </a:lnTo>
                <a:lnTo>
                  <a:pt x="69" y="22"/>
                </a:lnTo>
                <a:lnTo>
                  <a:pt x="72" y="32"/>
                </a:lnTo>
                <a:lnTo>
                  <a:pt x="73" y="40"/>
                </a:lnTo>
                <a:lnTo>
                  <a:pt x="74" y="49"/>
                </a:lnTo>
                <a:lnTo>
                  <a:pt x="76" y="58"/>
                </a:lnTo>
                <a:lnTo>
                  <a:pt x="79" y="67"/>
                </a:lnTo>
                <a:lnTo>
                  <a:pt x="79" y="98"/>
                </a:lnTo>
                <a:lnTo>
                  <a:pt x="68" y="115"/>
                </a:lnTo>
                <a:lnTo>
                  <a:pt x="59" y="129"/>
                </a:lnTo>
                <a:lnTo>
                  <a:pt x="53" y="136"/>
                </a:lnTo>
                <a:lnTo>
                  <a:pt x="50" y="144"/>
                </a:lnTo>
                <a:lnTo>
                  <a:pt x="48" y="151"/>
                </a:lnTo>
                <a:lnTo>
                  <a:pt x="46" y="160"/>
                </a:lnTo>
                <a:lnTo>
                  <a:pt x="40" y="155"/>
                </a:lnTo>
                <a:lnTo>
                  <a:pt x="33" y="150"/>
                </a:lnTo>
                <a:lnTo>
                  <a:pt x="28" y="144"/>
                </a:lnTo>
                <a:lnTo>
                  <a:pt x="22" y="137"/>
                </a:lnTo>
                <a:lnTo>
                  <a:pt x="18" y="130"/>
                </a:lnTo>
                <a:lnTo>
                  <a:pt x="15" y="123"/>
                </a:lnTo>
                <a:lnTo>
                  <a:pt x="11" y="115"/>
                </a:lnTo>
                <a:lnTo>
                  <a:pt x="8" y="108"/>
                </a:lnTo>
                <a:lnTo>
                  <a:pt x="4" y="91"/>
                </a:lnTo>
                <a:lnTo>
                  <a:pt x="1" y="73"/>
                </a:lnTo>
                <a:lnTo>
                  <a:pt x="0" y="55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grpSp>
        <p:nvGrpSpPr>
          <p:cNvPr id="2067" name="Group 19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8034339" y="3411539"/>
            <a:ext cx="473075" cy="212725"/>
            <a:chOff x="4488" y="2394"/>
            <a:chExt cx="358" cy="124"/>
          </a:xfrm>
        </p:grpSpPr>
        <p:sp>
          <p:nvSpPr>
            <p:cNvPr id="2068" name="Freeform 20"/>
            <p:cNvSpPr>
              <a:spLocks/>
            </p:cNvSpPr>
            <p:nvPr/>
          </p:nvSpPr>
          <p:spPr bwMode="auto">
            <a:xfrm>
              <a:off x="4675" y="2394"/>
              <a:ext cx="171" cy="124"/>
            </a:xfrm>
            <a:custGeom>
              <a:avLst/>
              <a:gdLst>
                <a:gd name="T0" fmla="*/ 424 w 512"/>
                <a:gd name="T1" fmla="*/ 198 h 408"/>
                <a:gd name="T2" fmla="*/ 387 w 512"/>
                <a:gd name="T3" fmla="*/ 193 h 408"/>
                <a:gd name="T4" fmla="*/ 367 w 512"/>
                <a:gd name="T5" fmla="*/ 203 h 408"/>
                <a:gd name="T6" fmla="*/ 354 w 512"/>
                <a:gd name="T7" fmla="*/ 217 h 408"/>
                <a:gd name="T8" fmla="*/ 347 w 512"/>
                <a:gd name="T9" fmla="*/ 254 h 408"/>
                <a:gd name="T10" fmla="*/ 327 w 512"/>
                <a:gd name="T11" fmla="*/ 306 h 408"/>
                <a:gd name="T12" fmla="*/ 305 w 512"/>
                <a:gd name="T13" fmla="*/ 335 h 408"/>
                <a:gd name="T14" fmla="*/ 289 w 512"/>
                <a:gd name="T15" fmla="*/ 350 h 408"/>
                <a:gd name="T16" fmla="*/ 271 w 512"/>
                <a:gd name="T17" fmla="*/ 359 h 408"/>
                <a:gd name="T18" fmla="*/ 256 w 512"/>
                <a:gd name="T19" fmla="*/ 368 h 408"/>
                <a:gd name="T20" fmla="*/ 253 w 512"/>
                <a:gd name="T21" fmla="*/ 376 h 408"/>
                <a:gd name="T22" fmla="*/ 215 w 512"/>
                <a:gd name="T23" fmla="*/ 370 h 408"/>
                <a:gd name="T24" fmla="*/ 183 w 512"/>
                <a:gd name="T25" fmla="*/ 367 h 408"/>
                <a:gd name="T26" fmla="*/ 155 w 512"/>
                <a:gd name="T27" fmla="*/ 373 h 408"/>
                <a:gd name="T28" fmla="*/ 138 w 512"/>
                <a:gd name="T29" fmla="*/ 388 h 408"/>
                <a:gd name="T30" fmla="*/ 97 w 512"/>
                <a:gd name="T31" fmla="*/ 405 h 408"/>
                <a:gd name="T32" fmla="*/ 62 w 512"/>
                <a:gd name="T33" fmla="*/ 407 h 408"/>
                <a:gd name="T34" fmla="*/ 45 w 512"/>
                <a:gd name="T35" fmla="*/ 400 h 408"/>
                <a:gd name="T36" fmla="*/ 15 w 512"/>
                <a:gd name="T37" fmla="*/ 368 h 408"/>
                <a:gd name="T38" fmla="*/ 2 w 512"/>
                <a:gd name="T39" fmla="*/ 344 h 408"/>
                <a:gd name="T40" fmla="*/ 8 w 512"/>
                <a:gd name="T41" fmla="*/ 335 h 408"/>
                <a:gd name="T42" fmla="*/ 34 w 512"/>
                <a:gd name="T43" fmla="*/ 344 h 408"/>
                <a:gd name="T44" fmla="*/ 53 w 512"/>
                <a:gd name="T45" fmla="*/ 336 h 408"/>
                <a:gd name="T46" fmla="*/ 56 w 512"/>
                <a:gd name="T47" fmla="*/ 314 h 408"/>
                <a:gd name="T48" fmla="*/ 71 w 512"/>
                <a:gd name="T49" fmla="*/ 300 h 408"/>
                <a:gd name="T50" fmla="*/ 82 w 512"/>
                <a:gd name="T51" fmla="*/ 286 h 408"/>
                <a:gd name="T52" fmla="*/ 89 w 512"/>
                <a:gd name="T53" fmla="*/ 272 h 408"/>
                <a:gd name="T54" fmla="*/ 101 w 512"/>
                <a:gd name="T55" fmla="*/ 262 h 408"/>
                <a:gd name="T56" fmla="*/ 137 w 512"/>
                <a:gd name="T57" fmla="*/ 246 h 408"/>
                <a:gd name="T58" fmla="*/ 175 w 512"/>
                <a:gd name="T59" fmla="*/ 232 h 408"/>
                <a:gd name="T60" fmla="*/ 202 w 512"/>
                <a:gd name="T61" fmla="*/ 217 h 408"/>
                <a:gd name="T62" fmla="*/ 213 w 512"/>
                <a:gd name="T63" fmla="*/ 205 h 408"/>
                <a:gd name="T64" fmla="*/ 219 w 512"/>
                <a:gd name="T65" fmla="*/ 191 h 408"/>
                <a:gd name="T66" fmla="*/ 227 w 512"/>
                <a:gd name="T67" fmla="*/ 161 h 408"/>
                <a:gd name="T68" fmla="*/ 229 w 512"/>
                <a:gd name="T69" fmla="*/ 149 h 408"/>
                <a:gd name="T70" fmla="*/ 231 w 512"/>
                <a:gd name="T71" fmla="*/ 152 h 408"/>
                <a:gd name="T72" fmla="*/ 239 w 512"/>
                <a:gd name="T73" fmla="*/ 143 h 408"/>
                <a:gd name="T74" fmla="*/ 237 w 512"/>
                <a:gd name="T75" fmla="*/ 155 h 408"/>
                <a:gd name="T76" fmla="*/ 240 w 512"/>
                <a:gd name="T77" fmla="*/ 174 h 408"/>
                <a:gd name="T78" fmla="*/ 251 w 512"/>
                <a:gd name="T79" fmla="*/ 193 h 408"/>
                <a:gd name="T80" fmla="*/ 272 w 512"/>
                <a:gd name="T81" fmla="*/ 205 h 408"/>
                <a:gd name="T82" fmla="*/ 306 w 512"/>
                <a:gd name="T83" fmla="*/ 204 h 408"/>
                <a:gd name="T84" fmla="*/ 320 w 512"/>
                <a:gd name="T85" fmla="*/ 205 h 408"/>
                <a:gd name="T86" fmla="*/ 327 w 512"/>
                <a:gd name="T87" fmla="*/ 198 h 408"/>
                <a:gd name="T88" fmla="*/ 324 w 512"/>
                <a:gd name="T89" fmla="*/ 176 h 408"/>
                <a:gd name="T90" fmla="*/ 299 w 512"/>
                <a:gd name="T91" fmla="*/ 130 h 408"/>
                <a:gd name="T92" fmla="*/ 319 w 512"/>
                <a:gd name="T93" fmla="*/ 109 h 408"/>
                <a:gd name="T94" fmla="*/ 344 w 512"/>
                <a:gd name="T95" fmla="*/ 66 h 408"/>
                <a:gd name="T96" fmla="*/ 374 w 512"/>
                <a:gd name="T97" fmla="*/ 22 h 408"/>
                <a:gd name="T98" fmla="*/ 399 w 512"/>
                <a:gd name="T99" fmla="*/ 0 h 408"/>
                <a:gd name="T100" fmla="*/ 401 w 512"/>
                <a:gd name="T101" fmla="*/ 23 h 408"/>
                <a:gd name="T102" fmla="*/ 413 w 512"/>
                <a:gd name="T103" fmla="*/ 50 h 408"/>
                <a:gd name="T104" fmla="*/ 439 w 512"/>
                <a:gd name="T105" fmla="*/ 75 h 408"/>
                <a:gd name="T106" fmla="*/ 486 w 512"/>
                <a:gd name="T107" fmla="*/ 106 h 408"/>
                <a:gd name="T108" fmla="*/ 508 w 512"/>
                <a:gd name="T109" fmla="*/ 132 h 408"/>
                <a:gd name="T110" fmla="*/ 499 w 512"/>
                <a:gd name="T111" fmla="*/ 149 h 408"/>
                <a:gd name="T112" fmla="*/ 478 w 512"/>
                <a:gd name="T113" fmla="*/ 152 h 408"/>
                <a:gd name="T114" fmla="*/ 458 w 512"/>
                <a:gd name="T115" fmla="*/ 180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12" h="408">
                  <a:moveTo>
                    <a:pt x="452" y="204"/>
                  </a:moveTo>
                  <a:lnTo>
                    <a:pt x="442" y="202"/>
                  </a:lnTo>
                  <a:lnTo>
                    <a:pt x="424" y="198"/>
                  </a:lnTo>
                  <a:lnTo>
                    <a:pt x="407" y="194"/>
                  </a:lnTo>
                  <a:lnTo>
                    <a:pt x="392" y="192"/>
                  </a:lnTo>
                  <a:lnTo>
                    <a:pt x="387" y="193"/>
                  </a:lnTo>
                  <a:lnTo>
                    <a:pt x="380" y="195"/>
                  </a:lnTo>
                  <a:lnTo>
                    <a:pt x="374" y="198"/>
                  </a:lnTo>
                  <a:lnTo>
                    <a:pt x="367" y="203"/>
                  </a:lnTo>
                  <a:lnTo>
                    <a:pt x="362" y="207"/>
                  </a:lnTo>
                  <a:lnTo>
                    <a:pt x="356" y="212"/>
                  </a:lnTo>
                  <a:lnTo>
                    <a:pt x="354" y="217"/>
                  </a:lnTo>
                  <a:lnTo>
                    <a:pt x="353" y="222"/>
                  </a:lnTo>
                  <a:lnTo>
                    <a:pt x="351" y="238"/>
                  </a:lnTo>
                  <a:lnTo>
                    <a:pt x="347" y="254"/>
                  </a:lnTo>
                  <a:lnTo>
                    <a:pt x="342" y="271"/>
                  </a:lnTo>
                  <a:lnTo>
                    <a:pt x="335" y="289"/>
                  </a:lnTo>
                  <a:lnTo>
                    <a:pt x="327" y="306"/>
                  </a:lnTo>
                  <a:lnTo>
                    <a:pt x="316" y="321"/>
                  </a:lnTo>
                  <a:lnTo>
                    <a:pt x="310" y="328"/>
                  </a:lnTo>
                  <a:lnTo>
                    <a:pt x="305" y="335"/>
                  </a:lnTo>
                  <a:lnTo>
                    <a:pt x="299" y="341"/>
                  </a:lnTo>
                  <a:lnTo>
                    <a:pt x="293" y="346"/>
                  </a:lnTo>
                  <a:lnTo>
                    <a:pt x="289" y="350"/>
                  </a:lnTo>
                  <a:lnTo>
                    <a:pt x="284" y="354"/>
                  </a:lnTo>
                  <a:lnTo>
                    <a:pt x="277" y="356"/>
                  </a:lnTo>
                  <a:lnTo>
                    <a:pt x="271" y="359"/>
                  </a:lnTo>
                  <a:lnTo>
                    <a:pt x="264" y="362"/>
                  </a:lnTo>
                  <a:lnTo>
                    <a:pt x="258" y="366"/>
                  </a:lnTo>
                  <a:lnTo>
                    <a:pt x="256" y="368"/>
                  </a:lnTo>
                  <a:lnTo>
                    <a:pt x="254" y="370"/>
                  </a:lnTo>
                  <a:lnTo>
                    <a:pt x="253" y="373"/>
                  </a:lnTo>
                  <a:lnTo>
                    <a:pt x="253" y="376"/>
                  </a:lnTo>
                  <a:lnTo>
                    <a:pt x="227" y="376"/>
                  </a:lnTo>
                  <a:lnTo>
                    <a:pt x="221" y="373"/>
                  </a:lnTo>
                  <a:lnTo>
                    <a:pt x="215" y="370"/>
                  </a:lnTo>
                  <a:lnTo>
                    <a:pt x="208" y="369"/>
                  </a:lnTo>
                  <a:lnTo>
                    <a:pt x="200" y="368"/>
                  </a:lnTo>
                  <a:lnTo>
                    <a:pt x="183" y="367"/>
                  </a:lnTo>
                  <a:lnTo>
                    <a:pt x="160" y="364"/>
                  </a:lnTo>
                  <a:lnTo>
                    <a:pt x="157" y="369"/>
                  </a:lnTo>
                  <a:lnTo>
                    <a:pt x="155" y="373"/>
                  </a:lnTo>
                  <a:lnTo>
                    <a:pt x="152" y="377"/>
                  </a:lnTo>
                  <a:lnTo>
                    <a:pt x="148" y="381"/>
                  </a:lnTo>
                  <a:lnTo>
                    <a:pt x="138" y="388"/>
                  </a:lnTo>
                  <a:lnTo>
                    <a:pt x="126" y="396"/>
                  </a:lnTo>
                  <a:lnTo>
                    <a:pt x="111" y="401"/>
                  </a:lnTo>
                  <a:lnTo>
                    <a:pt x="97" y="405"/>
                  </a:lnTo>
                  <a:lnTo>
                    <a:pt x="82" y="407"/>
                  </a:lnTo>
                  <a:lnTo>
                    <a:pt x="66" y="408"/>
                  </a:lnTo>
                  <a:lnTo>
                    <a:pt x="62" y="407"/>
                  </a:lnTo>
                  <a:lnTo>
                    <a:pt x="56" y="406"/>
                  </a:lnTo>
                  <a:lnTo>
                    <a:pt x="51" y="403"/>
                  </a:lnTo>
                  <a:lnTo>
                    <a:pt x="45" y="400"/>
                  </a:lnTo>
                  <a:lnTo>
                    <a:pt x="34" y="390"/>
                  </a:lnTo>
                  <a:lnTo>
                    <a:pt x="24" y="379"/>
                  </a:lnTo>
                  <a:lnTo>
                    <a:pt x="15" y="368"/>
                  </a:lnTo>
                  <a:lnTo>
                    <a:pt x="7" y="356"/>
                  </a:lnTo>
                  <a:lnTo>
                    <a:pt x="4" y="350"/>
                  </a:lnTo>
                  <a:lnTo>
                    <a:pt x="2" y="344"/>
                  </a:lnTo>
                  <a:lnTo>
                    <a:pt x="0" y="338"/>
                  </a:lnTo>
                  <a:lnTo>
                    <a:pt x="0" y="333"/>
                  </a:lnTo>
                  <a:lnTo>
                    <a:pt x="8" y="335"/>
                  </a:lnTo>
                  <a:lnTo>
                    <a:pt x="19" y="340"/>
                  </a:lnTo>
                  <a:lnTo>
                    <a:pt x="27" y="342"/>
                  </a:lnTo>
                  <a:lnTo>
                    <a:pt x="34" y="344"/>
                  </a:lnTo>
                  <a:lnTo>
                    <a:pt x="43" y="346"/>
                  </a:lnTo>
                  <a:lnTo>
                    <a:pt x="53" y="346"/>
                  </a:lnTo>
                  <a:lnTo>
                    <a:pt x="53" y="336"/>
                  </a:lnTo>
                  <a:lnTo>
                    <a:pt x="54" y="328"/>
                  </a:lnTo>
                  <a:lnTo>
                    <a:pt x="54" y="321"/>
                  </a:lnTo>
                  <a:lnTo>
                    <a:pt x="56" y="314"/>
                  </a:lnTo>
                  <a:lnTo>
                    <a:pt x="60" y="308"/>
                  </a:lnTo>
                  <a:lnTo>
                    <a:pt x="64" y="303"/>
                  </a:lnTo>
                  <a:lnTo>
                    <a:pt x="71" y="300"/>
                  </a:lnTo>
                  <a:lnTo>
                    <a:pt x="80" y="297"/>
                  </a:lnTo>
                  <a:lnTo>
                    <a:pt x="81" y="291"/>
                  </a:lnTo>
                  <a:lnTo>
                    <a:pt x="82" y="286"/>
                  </a:lnTo>
                  <a:lnTo>
                    <a:pt x="84" y="281"/>
                  </a:lnTo>
                  <a:lnTo>
                    <a:pt x="86" y="276"/>
                  </a:lnTo>
                  <a:lnTo>
                    <a:pt x="89" y="272"/>
                  </a:lnTo>
                  <a:lnTo>
                    <a:pt x="93" y="268"/>
                  </a:lnTo>
                  <a:lnTo>
                    <a:pt x="97" y="265"/>
                  </a:lnTo>
                  <a:lnTo>
                    <a:pt x="101" y="262"/>
                  </a:lnTo>
                  <a:lnTo>
                    <a:pt x="112" y="256"/>
                  </a:lnTo>
                  <a:lnTo>
                    <a:pt x="125" y="251"/>
                  </a:lnTo>
                  <a:lnTo>
                    <a:pt x="137" y="246"/>
                  </a:lnTo>
                  <a:lnTo>
                    <a:pt x="150" y="241"/>
                  </a:lnTo>
                  <a:lnTo>
                    <a:pt x="163" y="237"/>
                  </a:lnTo>
                  <a:lnTo>
                    <a:pt x="175" y="232"/>
                  </a:lnTo>
                  <a:lnTo>
                    <a:pt x="187" y="226"/>
                  </a:lnTo>
                  <a:lnTo>
                    <a:pt x="198" y="220"/>
                  </a:lnTo>
                  <a:lnTo>
                    <a:pt x="202" y="217"/>
                  </a:lnTo>
                  <a:lnTo>
                    <a:pt x="207" y="213"/>
                  </a:lnTo>
                  <a:lnTo>
                    <a:pt x="210" y="210"/>
                  </a:lnTo>
                  <a:lnTo>
                    <a:pt x="213" y="205"/>
                  </a:lnTo>
                  <a:lnTo>
                    <a:pt x="216" y="201"/>
                  </a:lnTo>
                  <a:lnTo>
                    <a:pt x="218" y="196"/>
                  </a:lnTo>
                  <a:lnTo>
                    <a:pt x="219" y="191"/>
                  </a:lnTo>
                  <a:lnTo>
                    <a:pt x="219" y="186"/>
                  </a:lnTo>
                  <a:lnTo>
                    <a:pt x="221" y="175"/>
                  </a:lnTo>
                  <a:lnTo>
                    <a:pt x="227" y="161"/>
                  </a:lnTo>
                  <a:lnTo>
                    <a:pt x="231" y="150"/>
                  </a:lnTo>
                  <a:lnTo>
                    <a:pt x="233" y="143"/>
                  </a:lnTo>
                  <a:lnTo>
                    <a:pt x="229" y="149"/>
                  </a:lnTo>
                  <a:lnTo>
                    <a:pt x="228" y="153"/>
                  </a:lnTo>
                  <a:lnTo>
                    <a:pt x="229" y="153"/>
                  </a:lnTo>
                  <a:lnTo>
                    <a:pt x="231" y="152"/>
                  </a:lnTo>
                  <a:lnTo>
                    <a:pt x="237" y="146"/>
                  </a:lnTo>
                  <a:lnTo>
                    <a:pt x="240" y="143"/>
                  </a:lnTo>
                  <a:lnTo>
                    <a:pt x="239" y="143"/>
                  </a:lnTo>
                  <a:lnTo>
                    <a:pt x="238" y="146"/>
                  </a:lnTo>
                  <a:lnTo>
                    <a:pt x="237" y="150"/>
                  </a:lnTo>
                  <a:lnTo>
                    <a:pt x="237" y="155"/>
                  </a:lnTo>
                  <a:lnTo>
                    <a:pt x="238" y="160"/>
                  </a:lnTo>
                  <a:lnTo>
                    <a:pt x="239" y="166"/>
                  </a:lnTo>
                  <a:lnTo>
                    <a:pt x="240" y="174"/>
                  </a:lnTo>
                  <a:lnTo>
                    <a:pt x="243" y="181"/>
                  </a:lnTo>
                  <a:lnTo>
                    <a:pt x="246" y="187"/>
                  </a:lnTo>
                  <a:lnTo>
                    <a:pt x="251" y="193"/>
                  </a:lnTo>
                  <a:lnTo>
                    <a:pt x="256" y="198"/>
                  </a:lnTo>
                  <a:lnTo>
                    <a:pt x="264" y="202"/>
                  </a:lnTo>
                  <a:lnTo>
                    <a:pt x="272" y="205"/>
                  </a:lnTo>
                  <a:lnTo>
                    <a:pt x="282" y="207"/>
                  </a:lnTo>
                  <a:lnTo>
                    <a:pt x="293" y="206"/>
                  </a:lnTo>
                  <a:lnTo>
                    <a:pt x="306" y="204"/>
                  </a:lnTo>
                  <a:lnTo>
                    <a:pt x="311" y="206"/>
                  </a:lnTo>
                  <a:lnTo>
                    <a:pt x="317" y="206"/>
                  </a:lnTo>
                  <a:lnTo>
                    <a:pt x="320" y="205"/>
                  </a:lnTo>
                  <a:lnTo>
                    <a:pt x="323" y="204"/>
                  </a:lnTo>
                  <a:lnTo>
                    <a:pt x="325" y="201"/>
                  </a:lnTo>
                  <a:lnTo>
                    <a:pt x="327" y="198"/>
                  </a:lnTo>
                  <a:lnTo>
                    <a:pt x="328" y="193"/>
                  </a:lnTo>
                  <a:lnTo>
                    <a:pt x="328" y="188"/>
                  </a:lnTo>
                  <a:lnTo>
                    <a:pt x="324" y="176"/>
                  </a:lnTo>
                  <a:lnTo>
                    <a:pt x="319" y="161"/>
                  </a:lnTo>
                  <a:lnTo>
                    <a:pt x="310" y="146"/>
                  </a:lnTo>
                  <a:lnTo>
                    <a:pt x="299" y="130"/>
                  </a:lnTo>
                  <a:lnTo>
                    <a:pt x="307" y="124"/>
                  </a:lnTo>
                  <a:lnTo>
                    <a:pt x="312" y="118"/>
                  </a:lnTo>
                  <a:lnTo>
                    <a:pt x="319" y="109"/>
                  </a:lnTo>
                  <a:lnTo>
                    <a:pt x="324" y="101"/>
                  </a:lnTo>
                  <a:lnTo>
                    <a:pt x="334" y="84"/>
                  </a:lnTo>
                  <a:lnTo>
                    <a:pt x="344" y="66"/>
                  </a:lnTo>
                  <a:lnTo>
                    <a:pt x="354" y="47"/>
                  </a:lnTo>
                  <a:lnTo>
                    <a:pt x="366" y="30"/>
                  </a:lnTo>
                  <a:lnTo>
                    <a:pt x="374" y="22"/>
                  </a:lnTo>
                  <a:lnTo>
                    <a:pt x="381" y="14"/>
                  </a:lnTo>
                  <a:lnTo>
                    <a:pt x="389" y="7"/>
                  </a:lnTo>
                  <a:lnTo>
                    <a:pt x="399" y="0"/>
                  </a:lnTo>
                  <a:lnTo>
                    <a:pt x="399" y="9"/>
                  </a:lnTo>
                  <a:lnTo>
                    <a:pt x="400" y="16"/>
                  </a:lnTo>
                  <a:lnTo>
                    <a:pt x="401" y="23"/>
                  </a:lnTo>
                  <a:lnTo>
                    <a:pt x="403" y="29"/>
                  </a:lnTo>
                  <a:lnTo>
                    <a:pt x="408" y="41"/>
                  </a:lnTo>
                  <a:lnTo>
                    <a:pt x="413" y="50"/>
                  </a:lnTo>
                  <a:lnTo>
                    <a:pt x="421" y="59"/>
                  </a:lnTo>
                  <a:lnTo>
                    <a:pt x="430" y="68"/>
                  </a:lnTo>
                  <a:lnTo>
                    <a:pt x="439" y="75"/>
                  </a:lnTo>
                  <a:lnTo>
                    <a:pt x="447" y="81"/>
                  </a:lnTo>
                  <a:lnTo>
                    <a:pt x="467" y="93"/>
                  </a:lnTo>
                  <a:lnTo>
                    <a:pt x="486" y="106"/>
                  </a:lnTo>
                  <a:lnTo>
                    <a:pt x="493" y="113"/>
                  </a:lnTo>
                  <a:lnTo>
                    <a:pt x="501" y="123"/>
                  </a:lnTo>
                  <a:lnTo>
                    <a:pt x="508" y="132"/>
                  </a:lnTo>
                  <a:lnTo>
                    <a:pt x="512" y="143"/>
                  </a:lnTo>
                  <a:lnTo>
                    <a:pt x="504" y="146"/>
                  </a:lnTo>
                  <a:lnTo>
                    <a:pt x="499" y="149"/>
                  </a:lnTo>
                  <a:lnTo>
                    <a:pt x="493" y="150"/>
                  </a:lnTo>
                  <a:lnTo>
                    <a:pt x="489" y="151"/>
                  </a:lnTo>
                  <a:lnTo>
                    <a:pt x="478" y="152"/>
                  </a:lnTo>
                  <a:lnTo>
                    <a:pt x="465" y="155"/>
                  </a:lnTo>
                  <a:lnTo>
                    <a:pt x="463" y="166"/>
                  </a:lnTo>
                  <a:lnTo>
                    <a:pt x="458" y="180"/>
                  </a:lnTo>
                  <a:lnTo>
                    <a:pt x="454" y="193"/>
                  </a:lnTo>
                  <a:lnTo>
                    <a:pt x="452" y="20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69" name="Freeform 21"/>
            <p:cNvSpPr>
              <a:spLocks/>
            </p:cNvSpPr>
            <p:nvPr/>
          </p:nvSpPr>
          <p:spPr bwMode="auto">
            <a:xfrm>
              <a:off x="4488" y="2420"/>
              <a:ext cx="77" cy="89"/>
            </a:xfrm>
            <a:custGeom>
              <a:avLst/>
              <a:gdLst>
                <a:gd name="T0" fmla="*/ 151 w 232"/>
                <a:gd name="T1" fmla="*/ 24 h 289"/>
                <a:gd name="T2" fmla="*/ 165 w 232"/>
                <a:gd name="T3" fmla="*/ 48 h 289"/>
                <a:gd name="T4" fmla="*/ 174 w 232"/>
                <a:gd name="T5" fmla="*/ 56 h 289"/>
                <a:gd name="T6" fmla="*/ 181 w 232"/>
                <a:gd name="T7" fmla="*/ 60 h 289"/>
                <a:gd name="T8" fmla="*/ 186 w 232"/>
                <a:gd name="T9" fmla="*/ 166 h 289"/>
                <a:gd name="T10" fmla="*/ 189 w 232"/>
                <a:gd name="T11" fmla="*/ 196 h 289"/>
                <a:gd name="T12" fmla="*/ 193 w 232"/>
                <a:gd name="T13" fmla="*/ 207 h 289"/>
                <a:gd name="T14" fmla="*/ 199 w 232"/>
                <a:gd name="T15" fmla="*/ 216 h 289"/>
                <a:gd name="T16" fmla="*/ 232 w 232"/>
                <a:gd name="T17" fmla="*/ 246 h 289"/>
                <a:gd name="T18" fmla="*/ 219 w 232"/>
                <a:gd name="T19" fmla="*/ 288 h 289"/>
                <a:gd name="T20" fmla="*/ 186 w 232"/>
                <a:gd name="T21" fmla="*/ 282 h 289"/>
                <a:gd name="T22" fmla="*/ 151 w 232"/>
                <a:gd name="T23" fmla="*/ 264 h 289"/>
                <a:gd name="T24" fmla="*/ 113 w 232"/>
                <a:gd name="T25" fmla="*/ 235 h 289"/>
                <a:gd name="T26" fmla="*/ 81 w 232"/>
                <a:gd name="T27" fmla="*/ 207 h 289"/>
                <a:gd name="T28" fmla="*/ 56 w 232"/>
                <a:gd name="T29" fmla="*/ 176 h 289"/>
                <a:gd name="T30" fmla="*/ 31 w 232"/>
                <a:gd name="T31" fmla="*/ 145 h 289"/>
                <a:gd name="T32" fmla="*/ 9 w 232"/>
                <a:gd name="T33" fmla="*/ 126 h 289"/>
                <a:gd name="T34" fmla="*/ 2 w 232"/>
                <a:gd name="T35" fmla="*/ 117 h 289"/>
                <a:gd name="T36" fmla="*/ 0 w 232"/>
                <a:gd name="T37" fmla="*/ 109 h 289"/>
                <a:gd name="T38" fmla="*/ 0 w 232"/>
                <a:gd name="T39" fmla="*/ 100 h 289"/>
                <a:gd name="T40" fmla="*/ 3 w 232"/>
                <a:gd name="T41" fmla="*/ 92 h 289"/>
                <a:gd name="T42" fmla="*/ 11 w 232"/>
                <a:gd name="T43" fmla="*/ 79 h 289"/>
                <a:gd name="T44" fmla="*/ 12 w 232"/>
                <a:gd name="T45" fmla="*/ 52 h 289"/>
                <a:gd name="T46" fmla="*/ 7 w 232"/>
                <a:gd name="T47" fmla="*/ 15 h 289"/>
                <a:gd name="T48" fmla="*/ 13 w 232"/>
                <a:gd name="T49" fmla="*/ 0 h 289"/>
                <a:gd name="T50" fmla="*/ 26 w 232"/>
                <a:gd name="T51" fmla="*/ 3 h 289"/>
                <a:gd name="T52" fmla="*/ 42 w 232"/>
                <a:gd name="T53" fmla="*/ 10 h 289"/>
                <a:gd name="T54" fmla="*/ 59 w 232"/>
                <a:gd name="T55" fmla="*/ 21 h 289"/>
                <a:gd name="T56" fmla="*/ 73 w 232"/>
                <a:gd name="T57" fmla="*/ 28 h 289"/>
                <a:gd name="T58" fmla="*/ 81 w 232"/>
                <a:gd name="T59" fmla="*/ 31 h 289"/>
                <a:gd name="T60" fmla="*/ 91 w 232"/>
                <a:gd name="T61" fmla="*/ 31 h 289"/>
                <a:gd name="T62" fmla="*/ 105 w 232"/>
                <a:gd name="T63" fmla="*/ 26 h 289"/>
                <a:gd name="T64" fmla="*/ 120 w 232"/>
                <a:gd name="T65" fmla="*/ 19 h 289"/>
                <a:gd name="T66" fmla="*/ 133 w 232"/>
                <a:gd name="T67" fmla="*/ 11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32" h="289">
                  <a:moveTo>
                    <a:pt x="140" y="6"/>
                  </a:moveTo>
                  <a:lnTo>
                    <a:pt x="151" y="24"/>
                  </a:lnTo>
                  <a:lnTo>
                    <a:pt x="159" y="41"/>
                  </a:lnTo>
                  <a:lnTo>
                    <a:pt x="165" y="48"/>
                  </a:lnTo>
                  <a:lnTo>
                    <a:pt x="170" y="54"/>
                  </a:lnTo>
                  <a:lnTo>
                    <a:pt x="174" y="56"/>
                  </a:lnTo>
                  <a:lnTo>
                    <a:pt x="177" y="59"/>
                  </a:lnTo>
                  <a:lnTo>
                    <a:pt x="181" y="60"/>
                  </a:lnTo>
                  <a:lnTo>
                    <a:pt x="186" y="62"/>
                  </a:lnTo>
                  <a:lnTo>
                    <a:pt x="186" y="166"/>
                  </a:lnTo>
                  <a:lnTo>
                    <a:pt x="187" y="183"/>
                  </a:lnTo>
                  <a:lnTo>
                    <a:pt x="189" y="196"/>
                  </a:lnTo>
                  <a:lnTo>
                    <a:pt x="191" y="202"/>
                  </a:lnTo>
                  <a:lnTo>
                    <a:pt x="193" y="207"/>
                  </a:lnTo>
                  <a:lnTo>
                    <a:pt x="196" y="212"/>
                  </a:lnTo>
                  <a:lnTo>
                    <a:pt x="199" y="216"/>
                  </a:lnTo>
                  <a:lnTo>
                    <a:pt x="213" y="230"/>
                  </a:lnTo>
                  <a:lnTo>
                    <a:pt x="232" y="246"/>
                  </a:lnTo>
                  <a:lnTo>
                    <a:pt x="232" y="289"/>
                  </a:lnTo>
                  <a:lnTo>
                    <a:pt x="219" y="288"/>
                  </a:lnTo>
                  <a:lnTo>
                    <a:pt x="202" y="286"/>
                  </a:lnTo>
                  <a:lnTo>
                    <a:pt x="186" y="282"/>
                  </a:lnTo>
                  <a:lnTo>
                    <a:pt x="172" y="277"/>
                  </a:lnTo>
                  <a:lnTo>
                    <a:pt x="151" y="264"/>
                  </a:lnTo>
                  <a:lnTo>
                    <a:pt x="131" y="249"/>
                  </a:lnTo>
                  <a:lnTo>
                    <a:pt x="113" y="235"/>
                  </a:lnTo>
                  <a:lnTo>
                    <a:pt x="97" y="221"/>
                  </a:lnTo>
                  <a:lnTo>
                    <a:pt x="81" y="207"/>
                  </a:lnTo>
                  <a:lnTo>
                    <a:pt x="68" y="191"/>
                  </a:lnTo>
                  <a:lnTo>
                    <a:pt x="56" y="176"/>
                  </a:lnTo>
                  <a:lnTo>
                    <a:pt x="46" y="160"/>
                  </a:lnTo>
                  <a:lnTo>
                    <a:pt x="31" y="145"/>
                  </a:lnTo>
                  <a:lnTo>
                    <a:pt x="15" y="132"/>
                  </a:lnTo>
                  <a:lnTo>
                    <a:pt x="9" y="126"/>
                  </a:lnTo>
                  <a:lnTo>
                    <a:pt x="4" y="120"/>
                  </a:lnTo>
                  <a:lnTo>
                    <a:pt x="2" y="117"/>
                  </a:lnTo>
                  <a:lnTo>
                    <a:pt x="1" y="113"/>
                  </a:lnTo>
                  <a:lnTo>
                    <a:pt x="0" y="109"/>
                  </a:lnTo>
                  <a:lnTo>
                    <a:pt x="0" y="105"/>
                  </a:lnTo>
                  <a:lnTo>
                    <a:pt x="0" y="100"/>
                  </a:lnTo>
                  <a:lnTo>
                    <a:pt x="1" y="96"/>
                  </a:lnTo>
                  <a:lnTo>
                    <a:pt x="3" y="92"/>
                  </a:lnTo>
                  <a:lnTo>
                    <a:pt x="7" y="88"/>
                  </a:lnTo>
                  <a:lnTo>
                    <a:pt x="11" y="79"/>
                  </a:lnTo>
                  <a:lnTo>
                    <a:pt x="13" y="74"/>
                  </a:lnTo>
                  <a:lnTo>
                    <a:pt x="12" y="52"/>
                  </a:lnTo>
                  <a:lnTo>
                    <a:pt x="10" y="33"/>
                  </a:lnTo>
                  <a:lnTo>
                    <a:pt x="7" y="15"/>
                  </a:lnTo>
                  <a:lnTo>
                    <a:pt x="7" y="0"/>
                  </a:lnTo>
                  <a:lnTo>
                    <a:pt x="13" y="0"/>
                  </a:lnTo>
                  <a:lnTo>
                    <a:pt x="20" y="1"/>
                  </a:lnTo>
                  <a:lnTo>
                    <a:pt x="26" y="3"/>
                  </a:lnTo>
                  <a:lnTo>
                    <a:pt x="32" y="5"/>
                  </a:lnTo>
                  <a:lnTo>
                    <a:pt x="42" y="10"/>
                  </a:lnTo>
                  <a:lnTo>
                    <a:pt x="51" y="15"/>
                  </a:lnTo>
                  <a:lnTo>
                    <a:pt x="59" y="21"/>
                  </a:lnTo>
                  <a:lnTo>
                    <a:pt x="68" y="26"/>
                  </a:lnTo>
                  <a:lnTo>
                    <a:pt x="73" y="28"/>
                  </a:lnTo>
                  <a:lnTo>
                    <a:pt x="77" y="29"/>
                  </a:lnTo>
                  <a:lnTo>
                    <a:pt x="81" y="31"/>
                  </a:lnTo>
                  <a:lnTo>
                    <a:pt x="86" y="31"/>
                  </a:lnTo>
                  <a:lnTo>
                    <a:pt x="91" y="31"/>
                  </a:lnTo>
                  <a:lnTo>
                    <a:pt x="98" y="28"/>
                  </a:lnTo>
                  <a:lnTo>
                    <a:pt x="105" y="26"/>
                  </a:lnTo>
                  <a:lnTo>
                    <a:pt x="112" y="23"/>
                  </a:lnTo>
                  <a:lnTo>
                    <a:pt x="120" y="19"/>
                  </a:lnTo>
                  <a:lnTo>
                    <a:pt x="127" y="15"/>
                  </a:lnTo>
                  <a:lnTo>
                    <a:pt x="133" y="11"/>
                  </a:lnTo>
                  <a:lnTo>
                    <a:pt x="14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2070" name="Freeform 22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6056313" y="1287464"/>
            <a:ext cx="3065462" cy="1074737"/>
          </a:xfrm>
          <a:custGeom>
            <a:avLst/>
            <a:gdLst>
              <a:gd name="T0" fmla="*/ 725 w 7049"/>
              <a:gd name="T1" fmla="*/ 1733 h 2048"/>
              <a:gd name="T2" fmla="*/ 1070 w 7049"/>
              <a:gd name="T3" fmla="*/ 1937 h 2048"/>
              <a:gd name="T4" fmla="*/ 1212 w 7049"/>
              <a:gd name="T5" fmla="*/ 1814 h 2048"/>
              <a:gd name="T6" fmla="*/ 1674 w 7049"/>
              <a:gd name="T7" fmla="*/ 1469 h 2048"/>
              <a:gd name="T8" fmla="*/ 2618 w 7049"/>
              <a:gd name="T9" fmla="*/ 1315 h 2048"/>
              <a:gd name="T10" fmla="*/ 3350 w 7049"/>
              <a:gd name="T11" fmla="*/ 1494 h 2048"/>
              <a:gd name="T12" fmla="*/ 3676 w 7049"/>
              <a:gd name="T13" fmla="*/ 1438 h 2048"/>
              <a:gd name="T14" fmla="*/ 4136 w 7049"/>
              <a:gd name="T15" fmla="*/ 1492 h 2048"/>
              <a:gd name="T16" fmla="*/ 4577 w 7049"/>
              <a:gd name="T17" fmla="*/ 1509 h 2048"/>
              <a:gd name="T18" fmla="*/ 4759 w 7049"/>
              <a:gd name="T19" fmla="*/ 1372 h 2048"/>
              <a:gd name="T20" fmla="*/ 5156 w 7049"/>
              <a:gd name="T21" fmla="*/ 1476 h 2048"/>
              <a:gd name="T22" fmla="*/ 5614 w 7049"/>
              <a:gd name="T23" fmla="*/ 1598 h 2048"/>
              <a:gd name="T24" fmla="*/ 5604 w 7049"/>
              <a:gd name="T25" fmla="*/ 1844 h 2048"/>
              <a:gd name="T26" fmla="*/ 5853 w 7049"/>
              <a:gd name="T27" fmla="*/ 1612 h 2048"/>
              <a:gd name="T28" fmla="*/ 5570 w 7049"/>
              <a:gd name="T29" fmla="*/ 1256 h 2048"/>
              <a:gd name="T30" fmla="*/ 5331 w 7049"/>
              <a:gd name="T31" fmla="*/ 1147 h 2048"/>
              <a:gd name="T32" fmla="*/ 5857 w 7049"/>
              <a:gd name="T33" fmla="*/ 982 h 2048"/>
              <a:gd name="T34" fmla="*/ 5974 w 7049"/>
              <a:gd name="T35" fmla="*/ 822 h 2048"/>
              <a:gd name="T36" fmla="*/ 6132 w 7049"/>
              <a:gd name="T37" fmla="*/ 761 h 2048"/>
              <a:gd name="T38" fmla="*/ 6195 w 7049"/>
              <a:gd name="T39" fmla="*/ 974 h 2048"/>
              <a:gd name="T40" fmla="*/ 6352 w 7049"/>
              <a:gd name="T41" fmla="*/ 1251 h 2048"/>
              <a:gd name="T42" fmla="*/ 6575 w 7049"/>
              <a:gd name="T43" fmla="*/ 1410 h 2048"/>
              <a:gd name="T44" fmla="*/ 6566 w 7049"/>
              <a:gd name="T45" fmla="*/ 1214 h 2048"/>
              <a:gd name="T46" fmla="*/ 6373 w 7049"/>
              <a:gd name="T47" fmla="*/ 1037 h 2048"/>
              <a:gd name="T48" fmla="*/ 6547 w 7049"/>
              <a:gd name="T49" fmla="*/ 885 h 2048"/>
              <a:gd name="T50" fmla="*/ 6801 w 7049"/>
              <a:gd name="T51" fmla="*/ 784 h 2048"/>
              <a:gd name="T52" fmla="*/ 6628 w 7049"/>
              <a:gd name="T53" fmla="*/ 618 h 2048"/>
              <a:gd name="T54" fmla="*/ 6799 w 7049"/>
              <a:gd name="T55" fmla="*/ 636 h 2048"/>
              <a:gd name="T56" fmla="*/ 6861 w 7049"/>
              <a:gd name="T57" fmla="*/ 543 h 2048"/>
              <a:gd name="T58" fmla="*/ 6500 w 7049"/>
              <a:gd name="T59" fmla="*/ 462 h 2048"/>
              <a:gd name="T60" fmla="*/ 5843 w 7049"/>
              <a:gd name="T61" fmla="*/ 410 h 2048"/>
              <a:gd name="T62" fmla="*/ 5693 w 7049"/>
              <a:gd name="T63" fmla="*/ 415 h 2048"/>
              <a:gd name="T64" fmla="*/ 4991 w 7049"/>
              <a:gd name="T65" fmla="*/ 351 h 2048"/>
              <a:gd name="T66" fmla="*/ 4728 w 7049"/>
              <a:gd name="T67" fmla="*/ 290 h 2048"/>
              <a:gd name="T68" fmla="*/ 4412 w 7049"/>
              <a:gd name="T69" fmla="*/ 290 h 2048"/>
              <a:gd name="T70" fmla="*/ 4009 w 7049"/>
              <a:gd name="T71" fmla="*/ 318 h 2048"/>
              <a:gd name="T72" fmla="*/ 3574 w 7049"/>
              <a:gd name="T73" fmla="*/ 261 h 2048"/>
              <a:gd name="T74" fmla="*/ 3290 w 7049"/>
              <a:gd name="T75" fmla="*/ 244 h 2048"/>
              <a:gd name="T76" fmla="*/ 3008 w 7049"/>
              <a:gd name="T77" fmla="*/ 235 h 2048"/>
              <a:gd name="T78" fmla="*/ 2724 w 7049"/>
              <a:gd name="T79" fmla="*/ 58 h 2048"/>
              <a:gd name="T80" fmla="*/ 2617 w 7049"/>
              <a:gd name="T81" fmla="*/ 140 h 2048"/>
              <a:gd name="T82" fmla="*/ 2134 w 7049"/>
              <a:gd name="T83" fmla="*/ 167 h 2048"/>
              <a:gd name="T84" fmla="*/ 2159 w 7049"/>
              <a:gd name="T85" fmla="*/ 200 h 2048"/>
              <a:gd name="T86" fmla="*/ 2198 w 7049"/>
              <a:gd name="T87" fmla="*/ 342 h 2048"/>
              <a:gd name="T88" fmla="*/ 1933 w 7049"/>
              <a:gd name="T89" fmla="*/ 256 h 2048"/>
              <a:gd name="T90" fmla="*/ 1787 w 7049"/>
              <a:gd name="T91" fmla="*/ 273 h 2048"/>
              <a:gd name="T92" fmla="*/ 1917 w 7049"/>
              <a:gd name="T93" fmla="*/ 446 h 2048"/>
              <a:gd name="T94" fmla="*/ 2076 w 7049"/>
              <a:gd name="T95" fmla="*/ 529 h 2048"/>
              <a:gd name="T96" fmla="*/ 1883 w 7049"/>
              <a:gd name="T97" fmla="*/ 593 h 2048"/>
              <a:gd name="T98" fmla="*/ 1832 w 7049"/>
              <a:gd name="T99" fmla="*/ 464 h 2048"/>
              <a:gd name="T100" fmla="*/ 1621 w 7049"/>
              <a:gd name="T101" fmla="*/ 231 h 2048"/>
              <a:gd name="T102" fmla="*/ 1623 w 7049"/>
              <a:gd name="T103" fmla="*/ 451 h 2048"/>
              <a:gd name="T104" fmla="*/ 1238 w 7049"/>
              <a:gd name="T105" fmla="*/ 397 h 2048"/>
              <a:gd name="T106" fmla="*/ 1198 w 7049"/>
              <a:gd name="T107" fmla="*/ 477 h 2048"/>
              <a:gd name="T108" fmla="*/ 908 w 7049"/>
              <a:gd name="T109" fmla="*/ 500 h 2048"/>
              <a:gd name="T110" fmla="*/ 692 w 7049"/>
              <a:gd name="T111" fmla="*/ 483 h 2048"/>
              <a:gd name="T112" fmla="*/ 602 w 7049"/>
              <a:gd name="T113" fmla="*/ 585 h 2048"/>
              <a:gd name="T114" fmla="*/ 407 w 7049"/>
              <a:gd name="T115" fmla="*/ 739 h 2048"/>
              <a:gd name="T116" fmla="*/ 390 w 7049"/>
              <a:gd name="T117" fmla="*/ 612 h 2048"/>
              <a:gd name="T118" fmla="*/ 150 w 7049"/>
              <a:gd name="T119" fmla="*/ 440 h 2048"/>
              <a:gd name="T120" fmla="*/ 71 w 7049"/>
              <a:gd name="T121" fmla="*/ 605 h 2048"/>
              <a:gd name="T122" fmla="*/ 112 w 7049"/>
              <a:gd name="T123" fmla="*/ 958 h 20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049" h="2048">
                <a:moveTo>
                  <a:pt x="365" y="1401"/>
                </a:moveTo>
                <a:lnTo>
                  <a:pt x="373" y="1401"/>
                </a:lnTo>
                <a:lnTo>
                  <a:pt x="405" y="1401"/>
                </a:lnTo>
                <a:lnTo>
                  <a:pt x="425" y="1388"/>
                </a:lnTo>
                <a:lnTo>
                  <a:pt x="471" y="1388"/>
                </a:lnTo>
                <a:lnTo>
                  <a:pt x="491" y="1401"/>
                </a:lnTo>
                <a:lnTo>
                  <a:pt x="519" y="1426"/>
                </a:lnTo>
                <a:lnTo>
                  <a:pt x="505" y="1451"/>
                </a:lnTo>
                <a:lnTo>
                  <a:pt x="558" y="1451"/>
                </a:lnTo>
                <a:lnTo>
                  <a:pt x="578" y="1499"/>
                </a:lnTo>
                <a:lnTo>
                  <a:pt x="604" y="1493"/>
                </a:lnTo>
                <a:lnTo>
                  <a:pt x="632" y="1512"/>
                </a:lnTo>
                <a:lnTo>
                  <a:pt x="665" y="1499"/>
                </a:lnTo>
                <a:lnTo>
                  <a:pt x="698" y="1524"/>
                </a:lnTo>
                <a:lnTo>
                  <a:pt x="737" y="1524"/>
                </a:lnTo>
                <a:lnTo>
                  <a:pt x="778" y="1543"/>
                </a:lnTo>
                <a:lnTo>
                  <a:pt x="817" y="1555"/>
                </a:lnTo>
                <a:lnTo>
                  <a:pt x="811" y="1586"/>
                </a:lnTo>
                <a:lnTo>
                  <a:pt x="804" y="1623"/>
                </a:lnTo>
                <a:lnTo>
                  <a:pt x="817" y="1647"/>
                </a:lnTo>
                <a:lnTo>
                  <a:pt x="784" y="1647"/>
                </a:lnTo>
                <a:lnTo>
                  <a:pt x="744" y="1660"/>
                </a:lnTo>
                <a:lnTo>
                  <a:pt x="737" y="1691"/>
                </a:lnTo>
                <a:lnTo>
                  <a:pt x="743" y="1690"/>
                </a:lnTo>
                <a:lnTo>
                  <a:pt x="757" y="1685"/>
                </a:lnTo>
                <a:lnTo>
                  <a:pt x="752" y="1691"/>
                </a:lnTo>
                <a:lnTo>
                  <a:pt x="747" y="1696"/>
                </a:lnTo>
                <a:lnTo>
                  <a:pt x="743" y="1701"/>
                </a:lnTo>
                <a:lnTo>
                  <a:pt x="737" y="1705"/>
                </a:lnTo>
                <a:lnTo>
                  <a:pt x="725" y="1713"/>
                </a:lnTo>
                <a:lnTo>
                  <a:pt x="711" y="1721"/>
                </a:lnTo>
                <a:lnTo>
                  <a:pt x="712" y="1724"/>
                </a:lnTo>
                <a:lnTo>
                  <a:pt x="715" y="1728"/>
                </a:lnTo>
                <a:lnTo>
                  <a:pt x="719" y="1731"/>
                </a:lnTo>
                <a:lnTo>
                  <a:pt x="725" y="1733"/>
                </a:lnTo>
                <a:lnTo>
                  <a:pt x="736" y="1738"/>
                </a:lnTo>
                <a:lnTo>
                  <a:pt x="744" y="1740"/>
                </a:lnTo>
                <a:lnTo>
                  <a:pt x="741" y="1749"/>
                </a:lnTo>
                <a:lnTo>
                  <a:pt x="738" y="1756"/>
                </a:lnTo>
                <a:lnTo>
                  <a:pt x="734" y="1763"/>
                </a:lnTo>
                <a:lnTo>
                  <a:pt x="728" y="1769"/>
                </a:lnTo>
                <a:lnTo>
                  <a:pt x="722" y="1774"/>
                </a:lnTo>
                <a:lnTo>
                  <a:pt x="715" y="1779"/>
                </a:lnTo>
                <a:lnTo>
                  <a:pt x="707" y="1785"/>
                </a:lnTo>
                <a:lnTo>
                  <a:pt x="698" y="1790"/>
                </a:lnTo>
                <a:lnTo>
                  <a:pt x="696" y="1796"/>
                </a:lnTo>
                <a:lnTo>
                  <a:pt x="698" y="1801"/>
                </a:lnTo>
                <a:lnTo>
                  <a:pt x="700" y="1806"/>
                </a:lnTo>
                <a:lnTo>
                  <a:pt x="702" y="1809"/>
                </a:lnTo>
                <a:lnTo>
                  <a:pt x="706" y="1812"/>
                </a:lnTo>
                <a:lnTo>
                  <a:pt x="711" y="1815"/>
                </a:lnTo>
                <a:lnTo>
                  <a:pt x="716" y="1817"/>
                </a:lnTo>
                <a:lnTo>
                  <a:pt x="722" y="1819"/>
                </a:lnTo>
                <a:lnTo>
                  <a:pt x="734" y="1823"/>
                </a:lnTo>
                <a:lnTo>
                  <a:pt x="747" y="1828"/>
                </a:lnTo>
                <a:lnTo>
                  <a:pt x="754" y="1831"/>
                </a:lnTo>
                <a:lnTo>
                  <a:pt x="759" y="1835"/>
                </a:lnTo>
                <a:lnTo>
                  <a:pt x="766" y="1840"/>
                </a:lnTo>
                <a:lnTo>
                  <a:pt x="771" y="1845"/>
                </a:lnTo>
                <a:lnTo>
                  <a:pt x="781" y="1854"/>
                </a:lnTo>
                <a:lnTo>
                  <a:pt x="794" y="1861"/>
                </a:lnTo>
                <a:lnTo>
                  <a:pt x="807" y="1868"/>
                </a:lnTo>
                <a:lnTo>
                  <a:pt x="823" y="1875"/>
                </a:lnTo>
                <a:lnTo>
                  <a:pt x="856" y="1887"/>
                </a:lnTo>
                <a:lnTo>
                  <a:pt x="890" y="1901"/>
                </a:lnTo>
                <a:lnTo>
                  <a:pt x="897" y="1901"/>
                </a:lnTo>
                <a:lnTo>
                  <a:pt x="950" y="1919"/>
                </a:lnTo>
                <a:lnTo>
                  <a:pt x="996" y="1931"/>
                </a:lnTo>
                <a:lnTo>
                  <a:pt x="1024" y="1919"/>
                </a:lnTo>
                <a:lnTo>
                  <a:pt x="1070" y="1937"/>
                </a:lnTo>
                <a:lnTo>
                  <a:pt x="1096" y="1956"/>
                </a:lnTo>
                <a:lnTo>
                  <a:pt x="1136" y="1950"/>
                </a:lnTo>
                <a:lnTo>
                  <a:pt x="1176" y="1962"/>
                </a:lnTo>
                <a:lnTo>
                  <a:pt x="1203" y="1980"/>
                </a:lnTo>
                <a:lnTo>
                  <a:pt x="1249" y="2005"/>
                </a:lnTo>
                <a:lnTo>
                  <a:pt x="1282" y="2030"/>
                </a:lnTo>
                <a:lnTo>
                  <a:pt x="1316" y="2048"/>
                </a:lnTo>
                <a:lnTo>
                  <a:pt x="1342" y="2011"/>
                </a:lnTo>
                <a:lnTo>
                  <a:pt x="1355" y="2011"/>
                </a:lnTo>
                <a:lnTo>
                  <a:pt x="1350" y="2009"/>
                </a:lnTo>
                <a:lnTo>
                  <a:pt x="1345" y="2006"/>
                </a:lnTo>
                <a:lnTo>
                  <a:pt x="1341" y="2001"/>
                </a:lnTo>
                <a:lnTo>
                  <a:pt x="1337" y="1998"/>
                </a:lnTo>
                <a:lnTo>
                  <a:pt x="1333" y="1994"/>
                </a:lnTo>
                <a:lnTo>
                  <a:pt x="1331" y="1989"/>
                </a:lnTo>
                <a:lnTo>
                  <a:pt x="1329" y="1985"/>
                </a:lnTo>
                <a:lnTo>
                  <a:pt x="1329" y="1980"/>
                </a:lnTo>
                <a:lnTo>
                  <a:pt x="1318" y="1972"/>
                </a:lnTo>
                <a:lnTo>
                  <a:pt x="1296" y="1952"/>
                </a:lnTo>
                <a:lnTo>
                  <a:pt x="1283" y="1941"/>
                </a:lnTo>
                <a:lnTo>
                  <a:pt x="1273" y="1931"/>
                </a:lnTo>
                <a:lnTo>
                  <a:pt x="1265" y="1923"/>
                </a:lnTo>
                <a:lnTo>
                  <a:pt x="1262" y="1919"/>
                </a:lnTo>
                <a:lnTo>
                  <a:pt x="1255" y="1887"/>
                </a:lnTo>
                <a:lnTo>
                  <a:pt x="1255" y="1869"/>
                </a:lnTo>
                <a:lnTo>
                  <a:pt x="1245" y="1869"/>
                </a:lnTo>
                <a:lnTo>
                  <a:pt x="1237" y="1866"/>
                </a:lnTo>
                <a:lnTo>
                  <a:pt x="1229" y="1862"/>
                </a:lnTo>
                <a:lnTo>
                  <a:pt x="1222" y="1857"/>
                </a:lnTo>
                <a:lnTo>
                  <a:pt x="1217" y="1851"/>
                </a:lnTo>
                <a:lnTo>
                  <a:pt x="1212" y="1844"/>
                </a:lnTo>
                <a:lnTo>
                  <a:pt x="1210" y="1835"/>
                </a:lnTo>
                <a:lnTo>
                  <a:pt x="1209" y="1826"/>
                </a:lnTo>
                <a:lnTo>
                  <a:pt x="1210" y="1821"/>
                </a:lnTo>
                <a:lnTo>
                  <a:pt x="1212" y="1814"/>
                </a:lnTo>
                <a:lnTo>
                  <a:pt x="1216" y="1807"/>
                </a:lnTo>
                <a:lnTo>
                  <a:pt x="1220" y="1799"/>
                </a:lnTo>
                <a:lnTo>
                  <a:pt x="1229" y="1786"/>
                </a:lnTo>
                <a:lnTo>
                  <a:pt x="1236" y="1777"/>
                </a:lnTo>
                <a:lnTo>
                  <a:pt x="1254" y="1767"/>
                </a:lnTo>
                <a:lnTo>
                  <a:pt x="1272" y="1758"/>
                </a:lnTo>
                <a:lnTo>
                  <a:pt x="1287" y="1749"/>
                </a:lnTo>
                <a:lnTo>
                  <a:pt x="1303" y="1740"/>
                </a:lnTo>
                <a:lnTo>
                  <a:pt x="1309" y="1728"/>
                </a:lnTo>
                <a:lnTo>
                  <a:pt x="1282" y="1721"/>
                </a:lnTo>
                <a:lnTo>
                  <a:pt x="1309" y="1703"/>
                </a:lnTo>
                <a:lnTo>
                  <a:pt x="1282" y="1679"/>
                </a:lnTo>
                <a:lnTo>
                  <a:pt x="1255" y="1654"/>
                </a:lnTo>
                <a:lnTo>
                  <a:pt x="1216" y="1654"/>
                </a:lnTo>
                <a:lnTo>
                  <a:pt x="1203" y="1629"/>
                </a:lnTo>
                <a:lnTo>
                  <a:pt x="1183" y="1617"/>
                </a:lnTo>
                <a:lnTo>
                  <a:pt x="1176" y="1586"/>
                </a:lnTo>
                <a:lnTo>
                  <a:pt x="1176" y="1549"/>
                </a:lnTo>
                <a:lnTo>
                  <a:pt x="1189" y="1524"/>
                </a:lnTo>
                <a:lnTo>
                  <a:pt x="1196" y="1499"/>
                </a:lnTo>
                <a:lnTo>
                  <a:pt x="1229" y="1518"/>
                </a:lnTo>
                <a:lnTo>
                  <a:pt x="1262" y="1530"/>
                </a:lnTo>
                <a:lnTo>
                  <a:pt x="1282" y="1524"/>
                </a:lnTo>
                <a:lnTo>
                  <a:pt x="1255" y="1493"/>
                </a:lnTo>
                <a:lnTo>
                  <a:pt x="1289" y="1475"/>
                </a:lnTo>
                <a:lnTo>
                  <a:pt x="1322" y="1444"/>
                </a:lnTo>
                <a:lnTo>
                  <a:pt x="1355" y="1438"/>
                </a:lnTo>
                <a:lnTo>
                  <a:pt x="1395" y="1438"/>
                </a:lnTo>
                <a:lnTo>
                  <a:pt x="1422" y="1426"/>
                </a:lnTo>
                <a:lnTo>
                  <a:pt x="1468" y="1438"/>
                </a:lnTo>
                <a:lnTo>
                  <a:pt x="1514" y="1457"/>
                </a:lnTo>
                <a:lnTo>
                  <a:pt x="1555" y="1493"/>
                </a:lnTo>
                <a:lnTo>
                  <a:pt x="1601" y="1487"/>
                </a:lnTo>
                <a:lnTo>
                  <a:pt x="1641" y="1469"/>
                </a:lnTo>
                <a:lnTo>
                  <a:pt x="1674" y="1469"/>
                </a:lnTo>
                <a:lnTo>
                  <a:pt x="1714" y="1463"/>
                </a:lnTo>
                <a:lnTo>
                  <a:pt x="1754" y="1481"/>
                </a:lnTo>
                <a:lnTo>
                  <a:pt x="1800" y="1493"/>
                </a:lnTo>
                <a:lnTo>
                  <a:pt x="1847" y="1487"/>
                </a:lnTo>
                <a:lnTo>
                  <a:pt x="1893" y="1469"/>
                </a:lnTo>
                <a:lnTo>
                  <a:pt x="1893" y="1444"/>
                </a:lnTo>
                <a:lnTo>
                  <a:pt x="1860" y="1438"/>
                </a:lnTo>
                <a:lnTo>
                  <a:pt x="1821" y="1426"/>
                </a:lnTo>
                <a:lnTo>
                  <a:pt x="1793" y="1414"/>
                </a:lnTo>
                <a:lnTo>
                  <a:pt x="1834" y="1401"/>
                </a:lnTo>
                <a:lnTo>
                  <a:pt x="1827" y="1364"/>
                </a:lnTo>
                <a:lnTo>
                  <a:pt x="1880" y="1358"/>
                </a:lnTo>
                <a:lnTo>
                  <a:pt x="1814" y="1309"/>
                </a:lnTo>
                <a:lnTo>
                  <a:pt x="1920" y="1291"/>
                </a:lnTo>
                <a:lnTo>
                  <a:pt x="2006" y="1284"/>
                </a:lnTo>
                <a:lnTo>
                  <a:pt x="2020" y="1259"/>
                </a:lnTo>
                <a:lnTo>
                  <a:pt x="2080" y="1253"/>
                </a:lnTo>
                <a:lnTo>
                  <a:pt x="2139" y="1241"/>
                </a:lnTo>
                <a:lnTo>
                  <a:pt x="2159" y="1216"/>
                </a:lnTo>
                <a:lnTo>
                  <a:pt x="2226" y="1229"/>
                </a:lnTo>
                <a:lnTo>
                  <a:pt x="2265" y="1222"/>
                </a:lnTo>
                <a:lnTo>
                  <a:pt x="2292" y="1241"/>
                </a:lnTo>
                <a:lnTo>
                  <a:pt x="2298" y="1291"/>
                </a:lnTo>
                <a:lnTo>
                  <a:pt x="2339" y="1291"/>
                </a:lnTo>
                <a:lnTo>
                  <a:pt x="2352" y="1277"/>
                </a:lnTo>
                <a:lnTo>
                  <a:pt x="2372" y="1291"/>
                </a:lnTo>
                <a:lnTo>
                  <a:pt x="2411" y="1297"/>
                </a:lnTo>
                <a:lnTo>
                  <a:pt x="2431" y="1297"/>
                </a:lnTo>
                <a:lnTo>
                  <a:pt x="2431" y="1333"/>
                </a:lnTo>
                <a:lnTo>
                  <a:pt x="2472" y="1327"/>
                </a:lnTo>
                <a:lnTo>
                  <a:pt x="2511" y="1309"/>
                </a:lnTo>
                <a:lnTo>
                  <a:pt x="2551" y="1277"/>
                </a:lnTo>
                <a:lnTo>
                  <a:pt x="2577" y="1265"/>
                </a:lnTo>
                <a:lnTo>
                  <a:pt x="2577" y="1297"/>
                </a:lnTo>
                <a:lnTo>
                  <a:pt x="2618" y="1315"/>
                </a:lnTo>
                <a:lnTo>
                  <a:pt x="2664" y="1333"/>
                </a:lnTo>
                <a:lnTo>
                  <a:pt x="2704" y="1376"/>
                </a:lnTo>
                <a:lnTo>
                  <a:pt x="2757" y="1420"/>
                </a:lnTo>
                <a:lnTo>
                  <a:pt x="2803" y="1457"/>
                </a:lnTo>
                <a:lnTo>
                  <a:pt x="2823" y="1487"/>
                </a:lnTo>
                <a:lnTo>
                  <a:pt x="2836" y="1457"/>
                </a:lnTo>
                <a:lnTo>
                  <a:pt x="2864" y="1451"/>
                </a:lnTo>
                <a:lnTo>
                  <a:pt x="2884" y="1475"/>
                </a:lnTo>
                <a:lnTo>
                  <a:pt x="2923" y="1487"/>
                </a:lnTo>
                <a:lnTo>
                  <a:pt x="2969" y="1481"/>
                </a:lnTo>
                <a:lnTo>
                  <a:pt x="2997" y="1469"/>
                </a:lnTo>
                <a:lnTo>
                  <a:pt x="3036" y="1499"/>
                </a:lnTo>
                <a:lnTo>
                  <a:pt x="3082" y="1524"/>
                </a:lnTo>
                <a:lnTo>
                  <a:pt x="3123" y="1549"/>
                </a:lnTo>
                <a:lnTo>
                  <a:pt x="3176" y="1555"/>
                </a:lnTo>
                <a:lnTo>
                  <a:pt x="3182" y="1562"/>
                </a:lnTo>
                <a:lnTo>
                  <a:pt x="3186" y="1560"/>
                </a:lnTo>
                <a:lnTo>
                  <a:pt x="3189" y="1557"/>
                </a:lnTo>
                <a:lnTo>
                  <a:pt x="3193" y="1556"/>
                </a:lnTo>
                <a:lnTo>
                  <a:pt x="3198" y="1555"/>
                </a:lnTo>
                <a:lnTo>
                  <a:pt x="3211" y="1555"/>
                </a:lnTo>
                <a:lnTo>
                  <a:pt x="3228" y="1555"/>
                </a:lnTo>
                <a:lnTo>
                  <a:pt x="3234" y="1554"/>
                </a:lnTo>
                <a:lnTo>
                  <a:pt x="3239" y="1552"/>
                </a:lnTo>
                <a:lnTo>
                  <a:pt x="3246" y="1549"/>
                </a:lnTo>
                <a:lnTo>
                  <a:pt x="3251" y="1546"/>
                </a:lnTo>
                <a:lnTo>
                  <a:pt x="3261" y="1539"/>
                </a:lnTo>
                <a:lnTo>
                  <a:pt x="3269" y="1537"/>
                </a:lnTo>
                <a:lnTo>
                  <a:pt x="3278" y="1536"/>
                </a:lnTo>
                <a:lnTo>
                  <a:pt x="3288" y="1534"/>
                </a:lnTo>
                <a:lnTo>
                  <a:pt x="3296" y="1531"/>
                </a:lnTo>
                <a:lnTo>
                  <a:pt x="3304" y="1527"/>
                </a:lnTo>
                <a:lnTo>
                  <a:pt x="3320" y="1517"/>
                </a:lnTo>
                <a:lnTo>
                  <a:pt x="3335" y="1506"/>
                </a:lnTo>
                <a:lnTo>
                  <a:pt x="3350" y="1494"/>
                </a:lnTo>
                <a:lnTo>
                  <a:pt x="3366" y="1485"/>
                </a:lnTo>
                <a:lnTo>
                  <a:pt x="3374" y="1481"/>
                </a:lnTo>
                <a:lnTo>
                  <a:pt x="3383" y="1478"/>
                </a:lnTo>
                <a:lnTo>
                  <a:pt x="3392" y="1476"/>
                </a:lnTo>
                <a:lnTo>
                  <a:pt x="3402" y="1475"/>
                </a:lnTo>
                <a:lnTo>
                  <a:pt x="3413" y="1476"/>
                </a:lnTo>
                <a:lnTo>
                  <a:pt x="3423" y="1477"/>
                </a:lnTo>
                <a:lnTo>
                  <a:pt x="3432" y="1479"/>
                </a:lnTo>
                <a:lnTo>
                  <a:pt x="3439" y="1481"/>
                </a:lnTo>
                <a:lnTo>
                  <a:pt x="3447" y="1483"/>
                </a:lnTo>
                <a:lnTo>
                  <a:pt x="3453" y="1485"/>
                </a:lnTo>
                <a:lnTo>
                  <a:pt x="3461" y="1487"/>
                </a:lnTo>
                <a:lnTo>
                  <a:pt x="3468" y="1487"/>
                </a:lnTo>
                <a:lnTo>
                  <a:pt x="3494" y="1475"/>
                </a:lnTo>
                <a:lnTo>
                  <a:pt x="3507" y="1475"/>
                </a:lnTo>
                <a:lnTo>
                  <a:pt x="3522" y="1475"/>
                </a:lnTo>
                <a:lnTo>
                  <a:pt x="3522" y="1483"/>
                </a:lnTo>
                <a:lnTo>
                  <a:pt x="3524" y="1490"/>
                </a:lnTo>
                <a:lnTo>
                  <a:pt x="3526" y="1496"/>
                </a:lnTo>
                <a:lnTo>
                  <a:pt x="3528" y="1501"/>
                </a:lnTo>
                <a:lnTo>
                  <a:pt x="3535" y="1510"/>
                </a:lnTo>
                <a:lnTo>
                  <a:pt x="3541" y="1518"/>
                </a:lnTo>
                <a:lnTo>
                  <a:pt x="3720" y="1518"/>
                </a:lnTo>
                <a:lnTo>
                  <a:pt x="3721" y="1510"/>
                </a:lnTo>
                <a:lnTo>
                  <a:pt x="3720" y="1501"/>
                </a:lnTo>
                <a:lnTo>
                  <a:pt x="3718" y="1494"/>
                </a:lnTo>
                <a:lnTo>
                  <a:pt x="3716" y="1488"/>
                </a:lnTo>
                <a:lnTo>
                  <a:pt x="3713" y="1482"/>
                </a:lnTo>
                <a:lnTo>
                  <a:pt x="3708" y="1477"/>
                </a:lnTo>
                <a:lnTo>
                  <a:pt x="3704" y="1472"/>
                </a:lnTo>
                <a:lnTo>
                  <a:pt x="3699" y="1467"/>
                </a:lnTo>
                <a:lnTo>
                  <a:pt x="3691" y="1459"/>
                </a:lnTo>
                <a:lnTo>
                  <a:pt x="3682" y="1449"/>
                </a:lnTo>
                <a:lnTo>
                  <a:pt x="3679" y="1443"/>
                </a:lnTo>
                <a:lnTo>
                  <a:pt x="3676" y="1438"/>
                </a:lnTo>
                <a:lnTo>
                  <a:pt x="3674" y="1432"/>
                </a:lnTo>
                <a:lnTo>
                  <a:pt x="3674" y="1426"/>
                </a:lnTo>
                <a:lnTo>
                  <a:pt x="3674" y="1418"/>
                </a:lnTo>
                <a:lnTo>
                  <a:pt x="3674" y="1411"/>
                </a:lnTo>
                <a:lnTo>
                  <a:pt x="3674" y="1404"/>
                </a:lnTo>
                <a:lnTo>
                  <a:pt x="3674" y="1395"/>
                </a:lnTo>
                <a:lnTo>
                  <a:pt x="3687" y="1388"/>
                </a:lnTo>
                <a:lnTo>
                  <a:pt x="3880" y="1426"/>
                </a:lnTo>
                <a:lnTo>
                  <a:pt x="3883" y="1437"/>
                </a:lnTo>
                <a:lnTo>
                  <a:pt x="3886" y="1446"/>
                </a:lnTo>
                <a:lnTo>
                  <a:pt x="3890" y="1456"/>
                </a:lnTo>
                <a:lnTo>
                  <a:pt x="3895" y="1464"/>
                </a:lnTo>
                <a:lnTo>
                  <a:pt x="3900" y="1472"/>
                </a:lnTo>
                <a:lnTo>
                  <a:pt x="3906" y="1478"/>
                </a:lnTo>
                <a:lnTo>
                  <a:pt x="3914" y="1484"/>
                </a:lnTo>
                <a:lnTo>
                  <a:pt x="3920" y="1489"/>
                </a:lnTo>
                <a:lnTo>
                  <a:pt x="3929" y="1493"/>
                </a:lnTo>
                <a:lnTo>
                  <a:pt x="3938" y="1496"/>
                </a:lnTo>
                <a:lnTo>
                  <a:pt x="3948" y="1499"/>
                </a:lnTo>
                <a:lnTo>
                  <a:pt x="3957" y="1502"/>
                </a:lnTo>
                <a:lnTo>
                  <a:pt x="3968" y="1504"/>
                </a:lnTo>
                <a:lnTo>
                  <a:pt x="3981" y="1505"/>
                </a:lnTo>
                <a:lnTo>
                  <a:pt x="3993" y="1506"/>
                </a:lnTo>
                <a:lnTo>
                  <a:pt x="4006" y="1506"/>
                </a:lnTo>
                <a:lnTo>
                  <a:pt x="4018" y="1506"/>
                </a:lnTo>
                <a:lnTo>
                  <a:pt x="4029" y="1502"/>
                </a:lnTo>
                <a:lnTo>
                  <a:pt x="4039" y="1500"/>
                </a:lnTo>
                <a:lnTo>
                  <a:pt x="4050" y="1496"/>
                </a:lnTo>
                <a:lnTo>
                  <a:pt x="4060" y="1493"/>
                </a:lnTo>
                <a:lnTo>
                  <a:pt x="4069" y="1490"/>
                </a:lnTo>
                <a:lnTo>
                  <a:pt x="4080" y="1488"/>
                </a:lnTo>
                <a:lnTo>
                  <a:pt x="4093" y="1487"/>
                </a:lnTo>
                <a:lnTo>
                  <a:pt x="4108" y="1488"/>
                </a:lnTo>
                <a:lnTo>
                  <a:pt x="4123" y="1490"/>
                </a:lnTo>
                <a:lnTo>
                  <a:pt x="4136" y="1492"/>
                </a:lnTo>
                <a:lnTo>
                  <a:pt x="4150" y="1496"/>
                </a:lnTo>
                <a:lnTo>
                  <a:pt x="4162" y="1500"/>
                </a:lnTo>
                <a:lnTo>
                  <a:pt x="4173" y="1506"/>
                </a:lnTo>
                <a:lnTo>
                  <a:pt x="4184" y="1511"/>
                </a:lnTo>
                <a:lnTo>
                  <a:pt x="4195" y="1517"/>
                </a:lnTo>
                <a:lnTo>
                  <a:pt x="4214" y="1528"/>
                </a:lnTo>
                <a:lnTo>
                  <a:pt x="4233" y="1539"/>
                </a:lnTo>
                <a:lnTo>
                  <a:pt x="4243" y="1544"/>
                </a:lnTo>
                <a:lnTo>
                  <a:pt x="4253" y="1548"/>
                </a:lnTo>
                <a:lnTo>
                  <a:pt x="4262" y="1552"/>
                </a:lnTo>
                <a:lnTo>
                  <a:pt x="4272" y="1555"/>
                </a:lnTo>
                <a:lnTo>
                  <a:pt x="4306" y="1555"/>
                </a:lnTo>
                <a:lnTo>
                  <a:pt x="4334" y="1555"/>
                </a:lnTo>
                <a:lnTo>
                  <a:pt x="4358" y="1555"/>
                </a:lnTo>
                <a:lnTo>
                  <a:pt x="4378" y="1555"/>
                </a:lnTo>
                <a:lnTo>
                  <a:pt x="4396" y="1555"/>
                </a:lnTo>
                <a:lnTo>
                  <a:pt x="4412" y="1555"/>
                </a:lnTo>
                <a:lnTo>
                  <a:pt x="4427" y="1555"/>
                </a:lnTo>
                <a:lnTo>
                  <a:pt x="4445" y="1555"/>
                </a:lnTo>
                <a:lnTo>
                  <a:pt x="4455" y="1554"/>
                </a:lnTo>
                <a:lnTo>
                  <a:pt x="4464" y="1553"/>
                </a:lnTo>
                <a:lnTo>
                  <a:pt x="4470" y="1550"/>
                </a:lnTo>
                <a:lnTo>
                  <a:pt x="4476" y="1547"/>
                </a:lnTo>
                <a:lnTo>
                  <a:pt x="4480" y="1544"/>
                </a:lnTo>
                <a:lnTo>
                  <a:pt x="4485" y="1539"/>
                </a:lnTo>
                <a:lnTo>
                  <a:pt x="4488" y="1535"/>
                </a:lnTo>
                <a:lnTo>
                  <a:pt x="4490" y="1530"/>
                </a:lnTo>
                <a:lnTo>
                  <a:pt x="4495" y="1522"/>
                </a:lnTo>
                <a:lnTo>
                  <a:pt x="4503" y="1514"/>
                </a:lnTo>
                <a:lnTo>
                  <a:pt x="4509" y="1511"/>
                </a:lnTo>
                <a:lnTo>
                  <a:pt x="4514" y="1508"/>
                </a:lnTo>
                <a:lnTo>
                  <a:pt x="4522" y="1507"/>
                </a:lnTo>
                <a:lnTo>
                  <a:pt x="4531" y="1506"/>
                </a:lnTo>
                <a:lnTo>
                  <a:pt x="4554" y="1507"/>
                </a:lnTo>
                <a:lnTo>
                  <a:pt x="4577" y="1509"/>
                </a:lnTo>
                <a:lnTo>
                  <a:pt x="4599" y="1512"/>
                </a:lnTo>
                <a:lnTo>
                  <a:pt x="4620" y="1515"/>
                </a:lnTo>
                <a:lnTo>
                  <a:pt x="4651" y="1522"/>
                </a:lnTo>
                <a:lnTo>
                  <a:pt x="4663" y="1524"/>
                </a:lnTo>
                <a:lnTo>
                  <a:pt x="4678" y="1524"/>
                </a:lnTo>
                <a:lnTo>
                  <a:pt x="4690" y="1524"/>
                </a:lnTo>
                <a:lnTo>
                  <a:pt x="4700" y="1524"/>
                </a:lnTo>
                <a:lnTo>
                  <a:pt x="4711" y="1524"/>
                </a:lnTo>
                <a:lnTo>
                  <a:pt x="4718" y="1524"/>
                </a:lnTo>
                <a:lnTo>
                  <a:pt x="4727" y="1521"/>
                </a:lnTo>
                <a:lnTo>
                  <a:pt x="4737" y="1518"/>
                </a:lnTo>
                <a:lnTo>
                  <a:pt x="4746" y="1513"/>
                </a:lnTo>
                <a:lnTo>
                  <a:pt x="4755" y="1508"/>
                </a:lnTo>
                <a:lnTo>
                  <a:pt x="4763" y="1501"/>
                </a:lnTo>
                <a:lnTo>
                  <a:pt x="4771" y="1494"/>
                </a:lnTo>
                <a:lnTo>
                  <a:pt x="4777" y="1487"/>
                </a:lnTo>
                <a:lnTo>
                  <a:pt x="4771" y="1484"/>
                </a:lnTo>
                <a:lnTo>
                  <a:pt x="4766" y="1481"/>
                </a:lnTo>
                <a:lnTo>
                  <a:pt x="4760" y="1476"/>
                </a:lnTo>
                <a:lnTo>
                  <a:pt x="4756" y="1471"/>
                </a:lnTo>
                <a:lnTo>
                  <a:pt x="4750" y="1465"/>
                </a:lnTo>
                <a:lnTo>
                  <a:pt x="4747" y="1458"/>
                </a:lnTo>
                <a:lnTo>
                  <a:pt x="4745" y="1452"/>
                </a:lnTo>
                <a:lnTo>
                  <a:pt x="4744" y="1444"/>
                </a:lnTo>
                <a:lnTo>
                  <a:pt x="4745" y="1435"/>
                </a:lnTo>
                <a:lnTo>
                  <a:pt x="4747" y="1428"/>
                </a:lnTo>
                <a:lnTo>
                  <a:pt x="4750" y="1422"/>
                </a:lnTo>
                <a:lnTo>
                  <a:pt x="4754" y="1417"/>
                </a:lnTo>
                <a:lnTo>
                  <a:pt x="4757" y="1411"/>
                </a:lnTo>
                <a:lnTo>
                  <a:pt x="4760" y="1405"/>
                </a:lnTo>
                <a:lnTo>
                  <a:pt x="4762" y="1398"/>
                </a:lnTo>
                <a:lnTo>
                  <a:pt x="4763" y="1388"/>
                </a:lnTo>
                <a:lnTo>
                  <a:pt x="4763" y="1382"/>
                </a:lnTo>
                <a:lnTo>
                  <a:pt x="4761" y="1377"/>
                </a:lnTo>
                <a:lnTo>
                  <a:pt x="4759" y="1372"/>
                </a:lnTo>
                <a:lnTo>
                  <a:pt x="4756" y="1369"/>
                </a:lnTo>
                <a:lnTo>
                  <a:pt x="4747" y="1363"/>
                </a:lnTo>
                <a:lnTo>
                  <a:pt x="4737" y="1359"/>
                </a:lnTo>
                <a:lnTo>
                  <a:pt x="4727" y="1355"/>
                </a:lnTo>
                <a:lnTo>
                  <a:pt x="4718" y="1350"/>
                </a:lnTo>
                <a:lnTo>
                  <a:pt x="4715" y="1347"/>
                </a:lnTo>
                <a:lnTo>
                  <a:pt x="4713" y="1343"/>
                </a:lnTo>
                <a:lnTo>
                  <a:pt x="4711" y="1339"/>
                </a:lnTo>
                <a:lnTo>
                  <a:pt x="4711" y="1333"/>
                </a:lnTo>
                <a:lnTo>
                  <a:pt x="4711" y="1324"/>
                </a:lnTo>
                <a:lnTo>
                  <a:pt x="4711" y="1315"/>
                </a:lnTo>
                <a:lnTo>
                  <a:pt x="4830" y="1297"/>
                </a:lnTo>
                <a:lnTo>
                  <a:pt x="4869" y="1307"/>
                </a:lnTo>
                <a:lnTo>
                  <a:pt x="4898" y="1315"/>
                </a:lnTo>
                <a:lnTo>
                  <a:pt x="4928" y="1322"/>
                </a:lnTo>
                <a:lnTo>
                  <a:pt x="4963" y="1333"/>
                </a:lnTo>
                <a:lnTo>
                  <a:pt x="4974" y="1338"/>
                </a:lnTo>
                <a:lnTo>
                  <a:pt x="4985" y="1343"/>
                </a:lnTo>
                <a:lnTo>
                  <a:pt x="4995" y="1349"/>
                </a:lnTo>
                <a:lnTo>
                  <a:pt x="5005" y="1356"/>
                </a:lnTo>
                <a:lnTo>
                  <a:pt x="5021" y="1371"/>
                </a:lnTo>
                <a:lnTo>
                  <a:pt x="5038" y="1386"/>
                </a:lnTo>
                <a:lnTo>
                  <a:pt x="5046" y="1395"/>
                </a:lnTo>
                <a:lnTo>
                  <a:pt x="5054" y="1402"/>
                </a:lnTo>
                <a:lnTo>
                  <a:pt x="5063" y="1408"/>
                </a:lnTo>
                <a:lnTo>
                  <a:pt x="5073" y="1414"/>
                </a:lnTo>
                <a:lnTo>
                  <a:pt x="5084" y="1419"/>
                </a:lnTo>
                <a:lnTo>
                  <a:pt x="5095" y="1423"/>
                </a:lnTo>
                <a:lnTo>
                  <a:pt x="5108" y="1425"/>
                </a:lnTo>
                <a:lnTo>
                  <a:pt x="5122" y="1426"/>
                </a:lnTo>
                <a:lnTo>
                  <a:pt x="5127" y="1438"/>
                </a:lnTo>
                <a:lnTo>
                  <a:pt x="5132" y="1449"/>
                </a:lnTo>
                <a:lnTo>
                  <a:pt x="5139" y="1459"/>
                </a:lnTo>
                <a:lnTo>
                  <a:pt x="5148" y="1468"/>
                </a:lnTo>
                <a:lnTo>
                  <a:pt x="5156" y="1476"/>
                </a:lnTo>
                <a:lnTo>
                  <a:pt x="5166" y="1484"/>
                </a:lnTo>
                <a:lnTo>
                  <a:pt x="5176" y="1490"/>
                </a:lnTo>
                <a:lnTo>
                  <a:pt x="5188" y="1496"/>
                </a:lnTo>
                <a:lnTo>
                  <a:pt x="5199" y="1502"/>
                </a:lnTo>
                <a:lnTo>
                  <a:pt x="5211" y="1508"/>
                </a:lnTo>
                <a:lnTo>
                  <a:pt x="5225" y="1512"/>
                </a:lnTo>
                <a:lnTo>
                  <a:pt x="5237" y="1516"/>
                </a:lnTo>
                <a:lnTo>
                  <a:pt x="5263" y="1524"/>
                </a:lnTo>
                <a:lnTo>
                  <a:pt x="5288" y="1530"/>
                </a:lnTo>
                <a:lnTo>
                  <a:pt x="5303" y="1536"/>
                </a:lnTo>
                <a:lnTo>
                  <a:pt x="5317" y="1542"/>
                </a:lnTo>
                <a:lnTo>
                  <a:pt x="5330" y="1550"/>
                </a:lnTo>
                <a:lnTo>
                  <a:pt x="5342" y="1558"/>
                </a:lnTo>
                <a:lnTo>
                  <a:pt x="5365" y="1577"/>
                </a:lnTo>
                <a:lnTo>
                  <a:pt x="5388" y="1595"/>
                </a:lnTo>
                <a:lnTo>
                  <a:pt x="5399" y="1604"/>
                </a:lnTo>
                <a:lnTo>
                  <a:pt x="5410" y="1612"/>
                </a:lnTo>
                <a:lnTo>
                  <a:pt x="5422" y="1621"/>
                </a:lnTo>
                <a:lnTo>
                  <a:pt x="5434" y="1628"/>
                </a:lnTo>
                <a:lnTo>
                  <a:pt x="5446" y="1633"/>
                </a:lnTo>
                <a:lnTo>
                  <a:pt x="5460" y="1638"/>
                </a:lnTo>
                <a:lnTo>
                  <a:pt x="5473" y="1640"/>
                </a:lnTo>
                <a:lnTo>
                  <a:pt x="5488" y="1641"/>
                </a:lnTo>
                <a:lnTo>
                  <a:pt x="5497" y="1641"/>
                </a:lnTo>
                <a:lnTo>
                  <a:pt x="5506" y="1640"/>
                </a:lnTo>
                <a:lnTo>
                  <a:pt x="5514" y="1638"/>
                </a:lnTo>
                <a:lnTo>
                  <a:pt x="5522" y="1635"/>
                </a:lnTo>
                <a:lnTo>
                  <a:pt x="5536" y="1628"/>
                </a:lnTo>
                <a:lnTo>
                  <a:pt x="5551" y="1620"/>
                </a:lnTo>
                <a:lnTo>
                  <a:pt x="5565" y="1611"/>
                </a:lnTo>
                <a:lnTo>
                  <a:pt x="5579" y="1605"/>
                </a:lnTo>
                <a:lnTo>
                  <a:pt x="5587" y="1602"/>
                </a:lnTo>
                <a:lnTo>
                  <a:pt x="5596" y="1600"/>
                </a:lnTo>
                <a:lnTo>
                  <a:pt x="5604" y="1599"/>
                </a:lnTo>
                <a:lnTo>
                  <a:pt x="5614" y="1598"/>
                </a:lnTo>
                <a:lnTo>
                  <a:pt x="5621" y="1599"/>
                </a:lnTo>
                <a:lnTo>
                  <a:pt x="5626" y="1601"/>
                </a:lnTo>
                <a:lnTo>
                  <a:pt x="5631" y="1604"/>
                </a:lnTo>
                <a:lnTo>
                  <a:pt x="5635" y="1607"/>
                </a:lnTo>
                <a:lnTo>
                  <a:pt x="5642" y="1613"/>
                </a:lnTo>
                <a:lnTo>
                  <a:pt x="5647" y="1617"/>
                </a:lnTo>
                <a:lnTo>
                  <a:pt x="5647" y="1629"/>
                </a:lnTo>
                <a:lnTo>
                  <a:pt x="5647" y="1638"/>
                </a:lnTo>
                <a:lnTo>
                  <a:pt x="5647" y="1645"/>
                </a:lnTo>
                <a:lnTo>
                  <a:pt x="5647" y="1654"/>
                </a:lnTo>
                <a:lnTo>
                  <a:pt x="5647" y="1662"/>
                </a:lnTo>
                <a:lnTo>
                  <a:pt x="5649" y="1672"/>
                </a:lnTo>
                <a:lnTo>
                  <a:pt x="5652" y="1679"/>
                </a:lnTo>
                <a:lnTo>
                  <a:pt x="5655" y="1686"/>
                </a:lnTo>
                <a:lnTo>
                  <a:pt x="5659" y="1693"/>
                </a:lnTo>
                <a:lnTo>
                  <a:pt x="5664" y="1699"/>
                </a:lnTo>
                <a:lnTo>
                  <a:pt x="5668" y="1704"/>
                </a:lnTo>
                <a:lnTo>
                  <a:pt x="5674" y="1709"/>
                </a:lnTo>
                <a:lnTo>
                  <a:pt x="5674" y="1790"/>
                </a:lnTo>
                <a:lnTo>
                  <a:pt x="5666" y="1791"/>
                </a:lnTo>
                <a:lnTo>
                  <a:pt x="5657" y="1792"/>
                </a:lnTo>
                <a:lnTo>
                  <a:pt x="5649" y="1792"/>
                </a:lnTo>
                <a:lnTo>
                  <a:pt x="5641" y="1792"/>
                </a:lnTo>
                <a:lnTo>
                  <a:pt x="5623" y="1790"/>
                </a:lnTo>
                <a:lnTo>
                  <a:pt x="5608" y="1790"/>
                </a:lnTo>
                <a:lnTo>
                  <a:pt x="5604" y="1790"/>
                </a:lnTo>
                <a:lnTo>
                  <a:pt x="5602" y="1792"/>
                </a:lnTo>
                <a:lnTo>
                  <a:pt x="5600" y="1794"/>
                </a:lnTo>
                <a:lnTo>
                  <a:pt x="5598" y="1796"/>
                </a:lnTo>
                <a:lnTo>
                  <a:pt x="5595" y="1802"/>
                </a:lnTo>
                <a:lnTo>
                  <a:pt x="5593" y="1808"/>
                </a:lnTo>
                <a:lnTo>
                  <a:pt x="5595" y="1818"/>
                </a:lnTo>
                <a:lnTo>
                  <a:pt x="5597" y="1827"/>
                </a:lnTo>
                <a:lnTo>
                  <a:pt x="5600" y="1835"/>
                </a:lnTo>
                <a:lnTo>
                  <a:pt x="5604" y="1844"/>
                </a:lnTo>
                <a:lnTo>
                  <a:pt x="5609" y="1852"/>
                </a:lnTo>
                <a:lnTo>
                  <a:pt x="5614" y="1859"/>
                </a:lnTo>
                <a:lnTo>
                  <a:pt x="5620" y="1865"/>
                </a:lnTo>
                <a:lnTo>
                  <a:pt x="5626" y="1871"/>
                </a:lnTo>
                <a:lnTo>
                  <a:pt x="5637" y="1881"/>
                </a:lnTo>
                <a:lnTo>
                  <a:pt x="5647" y="1890"/>
                </a:lnTo>
                <a:lnTo>
                  <a:pt x="5651" y="1896"/>
                </a:lnTo>
                <a:lnTo>
                  <a:pt x="5653" y="1899"/>
                </a:lnTo>
                <a:lnTo>
                  <a:pt x="5654" y="1903"/>
                </a:lnTo>
                <a:lnTo>
                  <a:pt x="5654" y="1907"/>
                </a:lnTo>
                <a:lnTo>
                  <a:pt x="5747" y="1919"/>
                </a:lnTo>
                <a:lnTo>
                  <a:pt x="5754" y="1918"/>
                </a:lnTo>
                <a:lnTo>
                  <a:pt x="5761" y="1917"/>
                </a:lnTo>
                <a:lnTo>
                  <a:pt x="5768" y="1915"/>
                </a:lnTo>
                <a:lnTo>
                  <a:pt x="5775" y="1912"/>
                </a:lnTo>
                <a:lnTo>
                  <a:pt x="5780" y="1908"/>
                </a:lnTo>
                <a:lnTo>
                  <a:pt x="5786" y="1904"/>
                </a:lnTo>
                <a:lnTo>
                  <a:pt x="5792" y="1899"/>
                </a:lnTo>
                <a:lnTo>
                  <a:pt x="5797" y="1892"/>
                </a:lnTo>
                <a:lnTo>
                  <a:pt x="5807" y="1880"/>
                </a:lnTo>
                <a:lnTo>
                  <a:pt x="5815" y="1865"/>
                </a:lnTo>
                <a:lnTo>
                  <a:pt x="5823" y="1850"/>
                </a:lnTo>
                <a:lnTo>
                  <a:pt x="5830" y="1832"/>
                </a:lnTo>
                <a:lnTo>
                  <a:pt x="5835" y="1815"/>
                </a:lnTo>
                <a:lnTo>
                  <a:pt x="5841" y="1797"/>
                </a:lnTo>
                <a:lnTo>
                  <a:pt x="5845" y="1779"/>
                </a:lnTo>
                <a:lnTo>
                  <a:pt x="5847" y="1763"/>
                </a:lnTo>
                <a:lnTo>
                  <a:pt x="5852" y="1733"/>
                </a:lnTo>
                <a:lnTo>
                  <a:pt x="5853" y="1709"/>
                </a:lnTo>
                <a:lnTo>
                  <a:pt x="5853" y="1694"/>
                </a:lnTo>
                <a:lnTo>
                  <a:pt x="5853" y="1677"/>
                </a:lnTo>
                <a:lnTo>
                  <a:pt x="5853" y="1657"/>
                </a:lnTo>
                <a:lnTo>
                  <a:pt x="5853" y="1635"/>
                </a:lnTo>
                <a:lnTo>
                  <a:pt x="5853" y="1623"/>
                </a:lnTo>
                <a:lnTo>
                  <a:pt x="5853" y="1612"/>
                </a:lnTo>
                <a:lnTo>
                  <a:pt x="5855" y="1607"/>
                </a:lnTo>
                <a:lnTo>
                  <a:pt x="5858" y="1604"/>
                </a:lnTo>
                <a:lnTo>
                  <a:pt x="5865" y="1601"/>
                </a:lnTo>
                <a:lnTo>
                  <a:pt x="5873" y="1598"/>
                </a:lnTo>
                <a:lnTo>
                  <a:pt x="5873" y="1568"/>
                </a:lnTo>
                <a:lnTo>
                  <a:pt x="5867" y="1564"/>
                </a:lnTo>
                <a:lnTo>
                  <a:pt x="5859" y="1558"/>
                </a:lnTo>
                <a:lnTo>
                  <a:pt x="5850" y="1551"/>
                </a:lnTo>
                <a:lnTo>
                  <a:pt x="5843" y="1543"/>
                </a:lnTo>
                <a:lnTo>
                  <a:pt x="5835" y="1534"/>
                </a:lnTo>
                <a:lnTo>
                  <a:pt x="5830" y="1525"/>
                </a:lnTo>
                <a:lnTo>
                  <a:pt x="5827" y="1520"/>
                </a:lnTo>
                <a:lnTo>
                  <a:pt x="5826" y="1516"/>
                </a:lnTo>
                <a:lnTo>
                  <a:pt x="5826" y="1511"/>
                </a:lnTo>
                <a:lnTo>
                  <a:pt x="5826" y="1506"/>
                </a:lnTo>
                <a:lnTo>
                  <a:pt x="5816" y="1498"/>
                </a:lnTo>
                <a:lnTo>
                  <a:pt x="5808" y="1490"/>
                </a:lnTo>
                <a:lnTo>
                  <a:pt x="5799" y="1481"/>
                </a:lnTo>
                <a:lnTo>
                  <a:pt x="5791" y="1472"/>
                </a:lnTo>
                <a:lnTo>
                  <a:pt x="5776" y="1451"/>
                </a:lnTo>
                <a:lnTo>
                  <a:pt x="5761" y="1428"/>
                </a:lnTo>
                <a:lnTo>
                  <a:pt x="5748" y="1404"/>
                </a:lnTo>
                <a:lnTo>
                  <a:pt x="5735" y="1378"/>
                </a:lnTo>
                <a:lnTo>
                  <a:pt x="5721" y="1353"/>
                </a:lnTo>
                <a:lnTo>
                  <a:pt x="5707" y="1327"/>
                </a:lnTo>
                <a:lnTo>
                  <a:pt x="5700" y="1316"/>
                </a:lnTo>
                <a:lnTo>
                  <a:pt x="5692" y="1307"/>
                </a:lnTo>
                <a:lnTo>
                  <a:pt x="5684" y="1299"/>
                </a:lnTo>
                <a:lnTo>
                  <a:pt x="5674" y="1291"/>
                </a:lnTo>
                <a:lnTo>
                  <a:pt x="5664" y="1285"/>
                </a:lnTo>
                <a:lnTo>
                  <a:pt x="5652" y="1279"/>
                </a:lnTo>
                <a:lnTo>
                  <a:pt x="5640" y="1274"/>
                </a:lnTo>
                <a:lnTo>
                  <a:pt x="5628" y="1270"/>
                </a:lnTo>
                <a:lnTo>
                  <a:pt x="5600" y="1263"/>
                </a:lnTo>
                <a:lnTo>
                  <a:pt x="5570" y="1256"/>
                </a:lnTo>
                <a:lnTo>
                  <a:pt x="5540" y="1249"/>
                </a:lnTo>
                <a:lnTo>
                  <a:pt x="5508" y="1241"/>
                </a:lnTo>
                <a:lnTo>
                  <a:pt x="5503" y="1252"/>
                </a:lnTo>
                <a:lnTo>
                  <a:pt x="5500" y="1265"/>
                </a:lnTo>
                <a:lnTo>
                  <a:pt x="5498" y="1272"/>
                </a:lnTo>
                <a:lnTo>
                  <a:pt x="5496" y="1279"/>
                </a:lnTo>
                <a:lnTo>
                  <a:pt x="5492" y="1285"/>
                </a:lnTo>
                <a:lnTo>
                  <a:pt x="5488" y="1291"/>
                </a:lnTo>
                <a:lnTo>
                  <a:pt x="5483" y="1284"/>
                </a:lnTo>
                <a:lnTo>
                  <a:pt x="5476" y="1278"/>
                </a:lnTo>
                <a:lnTo>
                  <a:pt x="5469" y="1275"/>
                </a:lnTo>
                <a:lnTo>
                  <a:pt x="5462" y="1272"/>
                </a:lnTo>
                <a:lnTo>
                  <a:pt x="5446" y="1267"/>
                </a:lnTo>
                <a:lnTo>
                  <a:pt x="5431" y="1264"/>
                </a:lnTo>
                <a:lnTo>
                  <a:pt x="5423" y="1262"/>
                </a:lnTo>
                <a:lnTo>
                  <a:pt x="5417" y="1260"/>
                </a:lnTo>
                <a:lnTo>
                  <a:pt x="5411" y="1257"/>
                </a:lnTo>
                <a:lnTo>
                  <a:pt x="5406" y="1254"/>
                </a:lnTo>
                <a:lnTo>
                  <a:pt x="5401" y="1249"/>
                </a:lnTo>
                <a:lnTo>
                  <a:pt x="5398" y="1244"/>
                </a:lnTo>
                <a:lnTo>
                  <a:pt x="5396" y="1237"/>
                </a:lnTo>
                <a:lnTo>
                  <a:pt x="5395" y="1229"/>
                </a:lnTo>
                <a:lnTo>
                  <a:pt x="5378" y="1226"/>
                </a:lnTo>
                <a:lnTo>
                  <a:pt x="5341" y="1218"/>
                </a:lnTo>
                <a:lnTo>
                  <a:pt x="5322" y="1214"/>
                </a:lnTo>
                <a:lnTo>
                  <a:pt x="5305" y="1210"/>
                </a:lnTo>
                <a:lnTo>
                  <a:pt x="5293" y="1207"/>
                </a:lnTo>
                <a:lnTo>
                  <a:pt x="5288" y="1204"/>
                </a:lnTo>
                <a:lnTo>
                  <a:pt x="5289" y="1197"/>
                </a:lnTo>
                <a:lnTo>
                  <a:pt x="5293" y="1191"/>
                </a:lnTo>
                <a:lnTo>
                  <a:pt x="5298" y="1185"/>
                </a:lnTo>
                <a:lnTo>
                  <a:pt x="5304" y="1180"/>
                </a:lnTo>
                <a:lnTo>
                  <a:pt x="5319" y="1167"/>
                </a:lnTo>
                <a:lnTo>
                  <a:pt x="5334" y="1154"/>
                </a:lnTo>
                <a:lnTo>
                  <a:pt x="5331" y="1147"/>
                </a:lnTo>
                <a:lnTo>
                  <a:pt x="5329" y="1140"/>
                </a:lnTo>
                <a:lnTo>
                  <a:pt x="5328" y="1132"/>
                </a:lnTo>
                <a:lnTo>
                  <a:pt x="5329" y="1125"/>
                </a:lnTo>
                <a:lnTo>
                  <a:pt x="5331" y="1117"/>
                </a:lnTo>
                <a:lnTo>
                  <a:pt x="5334" y="1108"/>
                </a:lnTo>
                <a:lnTo>
                  <a:pt x="5339" y="1100"/>
                </a:lnTo>
                <a:lnTo>
                  <a:pt x="5343" y="1092"/>
                </a:lnTo>
                <a:lnTo>
                  <a:pt x="5365" y="1064"/>
                </a:lnTo>
                <a:lnTo>
                  <a:pt x="5382" y="1043"/>
                </a:lnTo>
                <a:lnTo>
                  <a:pt x="5382" y="964"/>
                </a:lnTo>
                <a:lnTo>
                  <a:pt x="5388" y="962"/>
                </a:lnTo>
                <a:lnTo>
                  <a:pt x="5396" y="961"/>
                </a:lnTo>
                <a:lnTo>
                  <a:pt x="5402" y="961"/>
                </a:lnTo>
                <a:lnTo>
                  <a:pt x="5409" y="962"/>
                </a:lnTo>
                <a:lnTo>
                  <a:pt x="5423" y="963"/>
                </a:lnTo>
                <a:lnTo>
                  <a:pt x="5441" y="964"/>
                </a:lnTo>
                <a:lnTo>
                  <a:pt x="5465" y="964"/>
                </a:lnTo>
                <a:lnTo>
                  <a:pt x="5492" y="966"/>
                </a:lnTo>
                <a:lnTo>
                  <a:pt x="5521" y="968"/>
                </a:lnTo>
                <a:lnTo>
                  <a:pt x="5552" y="970"/>
                </a:lnTo>
                <a:lnTo>
                  <a:pt x="5583" y="972"/>
                </a:lnTo>
                <a:lnTo>
                  <a:pt x="5612" y="974"/>
                </a:lnTo>
                <a:lnTo>
                  <a:pt x="5641" y="975"/>
                </a:lnTo>
                <a:lnTo>
                  <a:pt x="5667" y="976"/>
                </a:lnTo>
                <a:lnTo>
                  <a:pt x="5671" y="975"/>
                </a:lnTo>
                <a:lnTo>
                  <a:pt x="5677" y="972"/>
                </a:lnTo>
                <a:lnTo>
                  <a:pt x="5682" y="968"/>
                </a:lnTo>
                <a:lnTo>
                  <a:pt x="5687" y="964"/>
                </a:lnTo>
                <a:lnTo>
                  <a:pt x="5674" y="945"/>
                </a:lnTo>
                <a:lnTo>
                  <a:pt x="5807" y="945"/>
                </a:lnTo>
                <a:lnTo>
                  <a:pt x="5809" y="949"/>
                </a:lnTo>
                <a:lnTo>
                  <a:pt x="5816" y="955"/>
                </a:lnTo>
                <a:lnTo>
                  <a:pt x="5825" y="962"/>
                </a:lnTo>
                <a:lnTo>
                  <a:pt x="5836" y="969"/>
                </a:lnTo>
                <a:lnTo>
                  <a:pt x="5857" y="982"/>
                </a:lnTo>
                <a:lnTo>
                  <a:pt x="5867" y="988"/>
                </a:lnTo>
                <a:lnTo>
                  <a:pt x="5871" y="988"/>
                </a:lnTo>
                <a:lnTo>
                  <a:pt x="5875" y="987"/>
                </a:lnTo>
                <a:lnTo>
                  <a:pt x="5878" y="985"/>
                </a:lnTo>
                <a:lnTo>
                  <a:pt x="5880" y="983"/>
                </a:lnTo>
                <a:lnTo>
                  <a:pt x="5884" y="979"/>
                </a:lnTo>
                <a:lnTo>
                  <a:pt x="5888" y="973"/>
                </a:lnTo>
                <a:lnTo>
                  <a:pt x="5892" y="967"/>
                </a:lnTo>
                <a:lnTo>
                  <a:pt x="5898" y="963"/>
                </a:lnTo>
                <a:lnTo>
                  <a:pt x="5902" y="961"/>
                </a:lnTo>
                <a:lnTo>
                  <a:pt x="5906" y="959"/>
                </a:lnTo>
                <a:lnTo>
                  <a:pt x="5913" y="958"/>
                </a:lnTo>
                <a:lnTo>
                  <a:pt x="5920" y="958"/>
                </a:lnTo>
                <a:lnTo>
                  <a:pt x="5911" y="954"/>
                </a:lnTo>
                <a:lnTo>
                  <a:pt x="5904" y="950"/>
                </a:lnTo>
                <a:lnTo>
                  <a:pt x="5900" y="945"/>
                </a:lnTo>
                <a:lnTo>
                  <a:pt x="5897" y="941"/>
                </a:lnTo>
                <a:lnTo>
                  <a:pt x="5894" y="935"/>
                </a:lnTo>
                <a:lnTo>
                  <a:pt x="5893" y="927"/>
                </a:lnTo>
                <a:lnTo>
                  <a:pt x="5893" y="916"/>
                </a:lnTo>
                <a:lnTo>
                  <a:pt x="5893" y="902"/>
                </a:lnTo>
                <a:lnTo>
                  <a:pt x="5893" y="886"/>
                </a:lnTo>
                <a:lnTo>
                  <a:pt x="5894" y="871"/>
                </a:lnTo>
                <a:lnTo>
                  <a:pt x="5897" y="858"/>
                </a:lnTo>
                <a:lnTo>
                  <a:pt x="5900" y="846"/>
                </a:lnTo>
                <a:lnTo>
                  <a:pt x="5902" y="841"/>
                </a:lnTo>
                <a:lnTo>
                  <a:pt x="5904" y="835"/>
                </a:lnTo>
                <a:lnTo>
                  <a:pt x="5906" y="831"/>
                </a:lnTo>
                <a:lnTo>
                  <a:pt x="5910" y="828"/>
                </a:lnTo>
                <a:lnTo>
                  <a:pt x="5913" y="825"/>
                </a:lnTo>
                <a:lnTo>
                  <a:pt x="5917" y="823"/>
                </a:lnTo>
                <a:lnTo>
                  <a:pt x="5922" y="822"/>
                </a:lnTo>
                <a:lnTo>
                  <a:pt x="5926" y="822"/>
                </a:lnTo>
                <a:lnTo>
                  <a:pt x="5945" y="822"/>
                </a:lnTo>
                <a:lnTo>
                  <a:pt x="5974" y="822"/>
                </a:lnTo>
                <a:lnTo>
                  <a:pt x="6006" y="822"/>
                </a:lnTo>
                <a:lnTo>
                  <a:pt x="6033" y="822"/>
                </a:lnTo>
                <a:lnTo>
                  <a:pt x="6037" y="828"/>
                </a:lnTo>
                <a:lnTo>
                  <a:pt x="6045" y="838"/>
                </a:lnTo>
                <a:lnTo>
                  <a:pt x="6055" y="849"/>
                </a:lnTo>
                <a:lnTo>
                  <a:pt x="6066" y="860"/>
                </a:lnTo>
                <a:lnTo>
                  <a:pt x="6077" y="871"/>
                </a:lnTo>
                <a:lnTo>
                  <a:pt x="6086" y="881"/>
                </a:lnTo>
                <a:lnTo>
                  <a:pt x="6094" y="887"/>
                </a:lnTo>
                <a:lnTo>
                  <a:pt x="6099" y="889"/>
                </a:lnTo>
                <a:lnTo>
                  <a:pt x="6102" y="881"/>
                </a:lnTo>
                <a:lnTo>
                  <a:pt x="6105" y="874"/>
                </a:lnTo>
                <a:lnTo>
                  <a:pt x="6108" y="867"/>
                </a:lnTo>
                <a:lnTo>
                  <a:pt x="6112" y="861"/>
                </a:lnTo>
                <a:lnTo>
                  <a:pt x="6116" y="855"/>
                </a:lnTo>
                <a:lnTo>
                  <a:pt x="6119" y="848"/>
                </a:lnTo>
                <a:lnTo>
                  <a:pt x="6123" y="839"/>
                </a:lnTo>
                <a:lnTo>
                  <a:pt x="6125" y="828"/>
                </a:lnTo>
                <a:lnTo>
                  <a:pt x="6128" y="830"/>
                </a:lnTo>
                <a:lnTo>
                  <a:pt x="6132" y="831"/>
                </a:lnTo>
                <a:lnTo>
                  <a:pt x="6135" y="832"/>
                </a:lnTo>
                <a:lnTo>
                  <a:pt x="6139" y="832"/>
                </a:lnTo>
                <a:lnTo>
                  <a:pt x="6144" y="832"/>
                </a:lnTo>
                <a:lnTo>
                  <a:pt x="6149" y="831"/>
                </a:lnTo>
                <a:lnTo>
                  <a:pt x="6153" y="830"/>
                </a:lnTo>
                <a:lnTo>
                  <a:pt x="6159" y="828"/>
                </a:lnTo>
                <a:lnTo>
                  <a:pt x="6148" y="815"/>
                </a:lnTo>
                <a:lnTo>
                  <a:pt x="6137" y="803"/>
                </a:lnTo>
                <a:lnTo>
                  <a:pt x="6133" y="796"/>
                </a:lnTo>
                <a:lnTo>
                  <a:pt x="6128" y="789"/>
                </a:lnTo>
                <a:lnTo>
                  <a:pt x="6126" y="782"/>
                </a:lnTo>
                <a:lnTo>
                  <a:pt x="6125" y="772"/>
                </a:lnTo>
                <a:lnTo>
                  <a:pt x="6126" y="767"/>
                </a:lnTo>
                <a:lnTo>
                  <a:pt x="6128" y="764"/>
                </a:lnTo>
                <a:lnTo>
                  <a:pt x="6132" y="761"/>
                </a:lnTo>
                <a:lnTo>
                  <a:pt x="6135" y="760"/>
                </a:lnTo>
                <a:lnTo>
                  <a:pt x="6140" y="759"/>
                </a:lnTo>
                <a:lnTo>
                  <a:pt x="6146" y="759"/>
                </a:lnTo>
                <a:lnTo>
                  <a:pt x="6152" y="760"/>
                </a:lnTo>
                <a:lnTo>
                  <a:pt x="6159" y="762"/>
                </a:lnTo>
                <a:lnTo>
                  <a:pt x="6188" y="771"/>
                </a:lnTo>
                <a:lnTo>
                  <a:pt x="6212" y="778"/>
                </a:lnTo>
                <a:lnTo>
                  <a:pt x="6202" y="779"/>
                </a:lnTo>
                <a:lnTo>
                  <a:pt x="6193" y="782"/>
                </a:lnTo>
                <a:lnTo>
                  <a:pt x="6184" y="784"/>
                </a:lnTo>
                <a:lnTo>
                  <a:pt x="6179" y="785"/>
                </a:lnTo>
                <a:lnTo>
                  <a:pt x="6180" y="792"/>
                </a:lnTo>
                <a:lnTo>
                  <a:pt x="6183" y="797"/>
                </a:lnTo>
                <a:lnTo>
                  <a:pt x="6186" y="802"/>
                </a:lnTo>
                <a:lnTo>
                  <a:pt x="6191" y="807"/>
                </a:lnTo>
                <a:lnTo>
                  <a:pt x="6201" y="815"/>
                </a:lnTo>
                <a:lnTo>
                  <a:pt x="6211" y="822"/>
                </a:lnTo>
                <a:lnTo>
                  <a:pt x="6222" y="829"/>
                </a:lnTo>
                <a:lnTo>
                  <a:pt x="6230" y="837"/>
                </a:lnTo>
                <a:lnTo>
                  <a:pt x="6234" y="842"/>
                </a:lnTo>
                <a:lnTo>
                  <a:pt x="6236" y="847"/>
                </a:lnTo>
                <a:lnTo>
                  <a:pt x="6238" y="853"/>
                </a:lnTo>
                <a:lnTo>
                  <a:pt x="6238" y="859"/>
                </a:lnTo>
                <a:lnTo>
                  <a:pt x="6237" y="867"/>
                </a:lnTo>
                <a:lnTo>
                  <a:pt x="6231" y="878"/>
                </a:lnTo>
                <a:lnTo>
                  <a:pt x="6224" y="893"/>
                </a:lnTo>
                <a:lnTo>
                  <a:pt x="6215" y="907"/>
                </a:lnTo>
                <a:lnTo>
                  <a:pt x="6206" y="922"/>
                </a:lnTo>
                <a:lnTo>
                  <a:pt x="6200" y="937"/>
                </a:lnTo>
                <a:lnTo>
                  <a:pt x="6196" y="944"/>
                </a:lnTo>
                <a:lnTo>
                  <a:pt x="6194" y="952"/>
                </a:lnTo>
                <a:lnTo>
                  <a:pt x="6192" y="958"/>
                </a:lnTo>
                <a:lnTo>
                  <a:pt x="6192" y="964"/>
                </a:lnTo>
                <a:lnTo>
                  <a:pt x="6193" y="970"/>
                </a:lnTo>
                <a:lnTo>
                  <a:pt x="6195" y="974"/>
                </a:lnTo>
                <a:lnTo>
                  <a:pt x="6198" y="977"/>
                </a:lnTo>
                <a:lnTo>
                  <a:pt x="6202" y="979"/>
                </a:lnTo>
                <a:lnTo>
                  <a:pt x="6205" y="981"/>
                </a:lnTo>
                <a:lnTo>
                  <a:pt x="6208" y="984"/>
                </a:lnTo>
                <a:lnTo>
                  <a:pt x="6211" y="988"/>
                </a:lnTo>
                <a:lnTo>
                  <a:pt x="6212" y="994"/>
                </a:lnTo>
                <a:lnTo>
                  <a:pt x="6212" y="1001"/>
                </a:lnTo>
                <a:lnTo>
                  <a:pt x="6211" y="1010"/>
                </a:lnTo>
                <a:lnTo>
                  <a:pt x="6208" y="1018"/>
                </a:lnTo>
                <a:lnTo>
                  <a:pt x="6204" y="1026"/>
                </a:lnTo>
                <a:lnTo>
                  <a:pt x="6202" y="1030"/>
                </a:lnTo>
                <a:lnTo>
                  <a:pt x="6200" y="1033"/>
                </a:lnTo>
                <a:lnTo>
                  <a:pt x="6196" y="1036"/>
                </a:lnTo>
                <a:lnTo>
                  <a:pt x="6192" y="1039"/>
                </a:lnTo>
                <a:lnTo>
                  <a:pt x="6188" y="1041"/>
                </a:lnTo>
                <a:lnTo>
                  <a:pt x="6183" y="1042"/>
                </a:lnTo>
                <a:lnTo>
                  <a:pt x="6178" y="1043"/>
                </a:lnTo>
                <a:lnTo>
                  <a:pt x="6172" y="1043"/>
                </a:lnTo>
                <a:lnTo>
                  <a:pt x="6173" y="1062"/>
                </a:lnTo>
                <a:lnTo>
                  <a:pt x="6175" y="1079"/>
                </a:lnTo>
                <a:lnTo>
                  <a:pt x="6181" y="1095"/>
                </a:lnTo>
                <a:lnTo>
                  <a:pt x="6186" y="1111"/>
                </a:lnTo>
                <a:lnTo>
                  <a:pt x="6194" y="1126"/>
                </a:lnTo>
                <a:lnTo>
                  <a:pt x="6204" y="1140"/>
                </a:lnTo>
                <a:lnTo>
                  <a:pt x="6214" y="1153"/>
                </a:lnTo>
                <a:lnTo>
                  <a:pt x="6226" y="1166"/>
                </a:lnTo>
                <a:lnTo>
                  <a:pt x="6238" y="1179"/>
                </a:lnTo>
                <a:lnTo>
                  <a:pt x="6252" y="1190"/>
                </a:lnTo>
                <a:lnTo>
                  <a:pt x="6267" y="1201"/>
                </a:lnTo>
                <a:lnTo>
                  <a:pt x="6281" y="1211"/>
                </a:lnTo>
                <a:lnTo>
                  <a:pt x="6296" y="1220"/>
                </a:lnTo>
                <a:lnTo>
                  <a:pt x="6313" y="1230"/>
                </a:lnTo>
                <a:lnTo>
                  <a:pt x="6328" y="1239"/>
                </a:lnTo>
                <a:lnTo>
                  <a:pt x="6345" y="1247"/>
                </a:lnTo>
                <a:lnTo>
                  <a:pt x="6352" y="1251"/>
                </a:lnTo>
                <a:lnTo>
                  <a:pt x="6360" y="1256"/>
                </a:lnTo>
                <a:lnTo>
                  <a:pt x="6365" y="1261"/>
                </a:lnTo>
                <a:lnTo>
                  <a:pt x="6371" y="1267"/>
                </a:lnTo>
                <a:lnTo>
                  <a:pt x="6379" y="1282"/>
                </a:lnTo>
                <a:lnTo>
                  <a:pt x="6387" y="1297"/>
                </a:lnTo>
                <a:lnTo>
                  <a:pt x="6392" y="1304"/>
                </a:lnTo>
                <a:lnTo>
                  <a:pt x="6396" y="1311"/>
                </a:lnTo>
                <a:lnTo>
                  <a:pt x="6402" y="1318"/>
                </a:lnTo>
                <a:lnTo>
                  <a:pt x="6407" y="1325"/>
                </a:lnTo>
                <a:lnTo>
                  <a:pt x="6415" y="1331"/>
                </a:lnTo>
                <a:lnTo>
                  <a:pt x="6422" y="1337"/>
                </a:lnTo>
                <a:lnTo>
                  <a:pt x="6432" y="1342"/>
                </a:lnTo>
                <a:lnTo>
                  <a:pt x="6444" y="1346"/>
                </a:lnTo>
                <a:lnTo>
                  <a:pt x="6452" y="1347"/>
                </a:lnTo>
                <a:lnTo>
                  <a:pt x="6464" y="1351"/>
                </a:lnTo>
                <a:lnTo>
                  <a:pt x="6471" y="1353"/>
                </a:lnTo>
                <a:lnTo>
                  <a:pt x="6476" y="1356"/>
                </a:lnTo>
                <a:lnTo>
                  <a:pt x="6481" y="1360"/>
                </a:lnTo>
                <a:lnTo>
                  <a:pt x="6484" y="1364"/>
                </a:lnTo>
                <a:lnTo>
                  <a:pt x="6491" y="1374"/>
                </a:lnTo>
                <a:lnTo>
                  <a:pt x="6497" y="1384"/>
                </a:lnTo>
                <a:lnTo>
                  <a:pt x="6506" y="1395"/>
                </a:lnTo>
                <a:lnTo>
                  <a:pt x="6515" y="1404"/>
                </a:lnTo>
                <a:lnTo>
                  <a:pt x="6525" y="1413"/>
                </a:lnTo>
                <a:lnTo>
                  <a:pt x="6533" y="1420"/>
                </a:lnTo>
                <a:lnTo>
                  <a:pt x="6538" y="1422"/>
                </a:lnTo>
                <a:lnTo>
                  <a:pt x="6542" y="1424"/>
                </a:lnTo>
                <a:lnTo>
                  <a:pt x="6547" y="1425"/>
                </a:lnTo>
                <a:lnTo>
                  <a:pt x="6551" y="1426"/>
                </a:lnTo>
                <a:lnTo>
                  <a:pt x="6554" y="1425"/>
                </a:lnTo>
                <a:lnTo>
                  <a:pt x="6558" y="1425"/>
                </a:lnTo>
                <a:lnTo>
                  <a:pt x="6561" y="1423"/>
                </a:lnTo>
                <a:lnTo>
                  <a:pt x="6564" y="1421"/>
                </a:lnTo>
                <a:lnTo>
                  <a:pt x="6570" y="1416"/>
                </a:lnTo>
                <a:lnTo>
                  <a:pt x="6575" y="1410"/>
                </a:lnTo>
                <a:lnTo>
                  <a:pt x="6578" y="1402"/>
                </a:lnTo>
                <a:lnTo>
                  <a:pt x="6582" y="1391"/>
                </a:lnTo>
                <a:lnTo>
                  <a:pt x="6583" y="1381"/>
                </a:lnTo>
                <a:lnTo>
                  <a:pt x="6584" y="1370"/>
                </a:lnTo>
                <a:lnTo>
                  <a:pt x="6583" y="1366"/>
                </a:lnTo>
                <a:lnTo>
                  <a:pt x="6582" y="1362"/>
                </a:lnTo>
                <a:lnTo>
                  <a:pt x="6579" y="1359"/>
                </a:lnTo>
                <a:lnTo>
                  <a:pt x="6576" y="1356"/>
                </a:lnTo>
                <a:lnTo>
                  <a:pt x="6570" y="1350"/>
                </a:lnTo>
                <a:lnTo>
                  <a:pt x="6561" y="1345"/>
                </a:lnTo>
                <a:lnTo>
                  <a:pt x="6552" y="1340"/>
                </a:lnTo>
                <a:lnTo>
                  <a:pt x="6544" y="1333"/>
                </a:lnTo>
                <a:lnTo>
                  <a:pt x="6542" y="1329"/>
                </a:lnTo>
                <a:lnTo>
                  <a:pt x="6539" y="1325"/>
                </a:lnTo>
                <a:lnTo>
                  <a:pt x="6538" y="1320"/>
                </a:lnTo>
                <a:lnTo>
                  <a:pt x="6538" y="1315"/>
                </a:lnTo>
                <a:lnTo>
                  <a:pt x="6539" y="1313"/>
                </a:lnTo>
                <a:lnTo>
                  <a:pt x="6542" y="1310"/>
                </a:lnTo>
                <a:lnTo>
                  <a:pt x="6547" y="1308"/>
                </a:lnTo>
                <a:lnTo>
                  <a:pt x="6552" y="1306"/>
                </a:lnTo>
                <a:lnTo>
                  <a:pt x="6565" y="1301"/>
                </a:lnTo>
                <a:lnTo>
                  <a:pt x="6577" y="1297"/>
                </a:lnTo>
                <a:lnTo>
                  <a:pt x="6569" y="1280"/>
                </a:lnTo>
                <a:lnTo>
                  <a:pt x="6560" y="1268"/>
                </a:lnTo>
                <a:lnTo>
                  <a:pt x="6550" y="1256"/>
                </a:lnTo>
                <a:lnTo>
                  <a:pt x="6538" y="1241"/>
                </a:lnTo>
                <a:lnTo>
                  <a:pt x="6540" y="1239"/>
                </a:lnTo>
                <a:lnTo>
                  <a:pt x="6544" y="1238"/>
                </a:lnTo>
                <a:lnTo>
                  <a:pt x="6550" y="1237"/>
                </a:lnTo>
                <a:lnTo>
                  <a:pt x="6556" y="1236"/>
                </a:lnTo>
                <a:lnTo>
                  <a:pt x="6572" y="1235"/>
                </a:lnTo>
                <a:lnTo>
                  <a:pt x="6590" y="1235"/>
                </a:lnTo>
                <a:lnTo>
                  <a:pt x="6583" y="1229"/>
                </a:lnTo>
                <a:lnTo>
                  <a:pt x="6572" y="1219"/>
                </a:lnTo>
                <a:lnTo>
                  <a:pt x="6566" y="1214"/>
                </a:lnTo>
                <a:lnTo>
                  <a:pt x="6562" y="1210"/>
                </a:lnTo>
                <a:lnTo>
                  <a:pt x="6559" y="1207"/>
                </a:lnTo>
                <a:lnTo>
                  <a:pt x="6558" y="1204"/>
                </a:lnTo>
                <a:lnTo>
                  <a:pt x="6550" y="1199"/>
                </a:lnTo>
                <a:lnTo>
                  <a:pt x="6544" y="1194"/>
                </a:lnTo>
                <a:lnTo>
                  <a:pt x="6540" y="1187"/>
                </a:lnTo>
                <a:lnTo>
                  <a:pt x="6537" y="1180"/>
                </a:lnTo>
                <a:lnTo>
                  <a:pt x="6533" y="1173"/>
                </a:lnTo>
                <a:lnTo>
                  <a:pt x="6532" y="1163"/>
                </a:lnTo>
                <a:lnTo>
                  <a:pt x="6531" y="1153"/>
                </a:lnTo>
                <a:lnTo>
                  <a:pt x="6531" y="1142"/>
                </a:lnTo>
                <a:lnTo>
                  <a:pt x="6536" y="1142"/>
                </a:lnTo>
                <a:lnTo>
                  <a:pt x="6540" y="1140"/>
                </a:lnTo>
                <a:lnTo>
                  <a:pt x="6545" y="1138"/>
                </a:lnTo>
                <a:lnTo>
                  <a:pt x="6549" y="1136"/>
                </a:lnTo>
                <a:lnTo>
                  <a:pt x="6552" y="1133"/>
                </a:lnTo>
                <a:lnTo>
                  <a:pt x="6555" y="1130"/>
                </a:lnTo>
                <a:lnTo>
                  <a:pt x="6556" y="1127"/>
                </a:lnTo>
                <a:lnTo>
                  <a:pt x="6558" y="1124"/>
                </a:lnTo>
                <a:lnTo>
                  <a:pt x="6539" y="1118"/>
                </a:lnTo>
                <a:lnTo>
                  <a:pt x="6522" y="1110"/>
                </a:lnTo>
                <a:lnTo>
                  <a:pt x="6508" y="1103"/>
                </a:lnTo>
                <a:lnTo>
                  <a:pt x="6496" y="1095"/>
                </a:lnTo>
                <a:lnTo>
                  <a:pt x="6476" y="1078"/>
                </a:lnTo>
                <a:lnTo>
                  <a:pt x="6460" y="1063"/>
                </a:lnTo>
                <a:lnTo>
                  <a:pt x="6452" y="1055"/>
                </a:lnTo>
                <a:lnTo>
                  <a:pt x="6444" y="1048"/>
                </a:lnTo>
                <a:lnTo>
                  <a:pt x="6437" y="1043"/>
                </a:lnTo>
                <a:lnTo>
                  <a:pt x="6427" y="1039"/>
                </a:lnTo>
                <a:lnTo>
                  <a:pt x="6417" y="1036"/>
                </a:lnTo>
                <a:lnTo>
                  <a:pt x="6406" y="1035"/>
                </a:lnTo>
                <a:lnTo>
                  <a:pt x="6393" y="1035"/>
                </a:lnTo>
                <a:lnTo>
                  <a:pt x="6377" y="1037"/>
                </a:lnTo>
                <a:lnTo>
                  <a:pt x="6375" y="1038"/>
                </a:lnTo>
                <a:lnTo>
                  <a:pt x="6373" y="1037"/>
                </a:lnTo>
                <a:lnTo>
                  <a:pt x="6372" y="1036"/>
                </a:lnTo>
                <a:lnTo>
                  <a:pt x="6370" y="1035"/>
                </a:lnTo>
                <a:lnTo>
                  <a:pt x="6368" y="1031"/>
                </a:lnTo>
                <a:lnTo>
                  <a:pt x="6365" y="1025"/>
                </a:lnTo>
                <a:lnTo>
                  <a:pt x="6363" y="1009"/>
                </a:lnTo>
                <a:lnTo>
                  <a:pt x="6360" y="990"/>
                </a:lnTo>
                <a:lnTo>
                  <a:pt x="6358" y="981"/>
                </a:lnTo>
                <a:lnTo>
                  <a:pt x="6354" y="972"/>
                </a:lnTo>
                <a:lnTo>
                  <a:pt x="6351" y="963"/>
                </a:lnTo>
                <a:lnTo>
                  <a:pt x="6346" y="956"/>
                </a:lnTo>
                <a:lnTo>
                  <a:pt x="6340" y="949"/>
                </a:lnTo>
                <a:lnTo>
                  <a:pt x="6332" y="943"/>
                </a:lnTo>
                <a:lnTo>
                  <a:pt x="6328" y="941"/>
                </a:lnTo>
                <a:lnTo>
                  <a:pt x="6323" y="940"/>
                </a:lnTo>
                <a:lnTo>
                  <a:pt x="6317" y="939"/>
                </a:lnTo>
                <a:lnTo>
                  <a:pt x="6312" y="939"/>
                </a:lnTo>
                <a:lnTo>
                  <a:pt x="6392" y="889"/>
                </a:lnTo>
                <a:lnTo>
                  <a:pt x="6396" y="890"/>
                </a:lnTo>
                <a:lnTo>
                  <a:pt x="6399" y="894"/>
                </a:lnTo>
                <a:lnTo>
                  <a:pt x="6403" y="898"/>
                </a:lnTo>
                <a:lnTo>
                  <a:pt x="6405" y="902"/>
                </a:lnTo>
                <a:lnTo>
                  <a:pt x="6408" y="907"/>
                </a:lnTo>
                <a:lnTo>
                  <a:pt x="6413" y="911"/>
                </a:lnTo>
                <a:lnTo>
                  <a:pt x="6415" y="912"/>
                </a:lnTo>
                <a:lnTo>
                  <a:pt x="6418" y="913"/>
                </a:lnTo>
                <a:lnTo>
                  <a:pt x="6421" y="914"/>
                </a:lnTo>
                <a:lnTo>
                  <a:pt x="6425" y="914"/>
                </a:lnTo>
                <a:lnTo>
                  <a:pt x="6435" y="913"/>
                </a:lnTo>
                <a:lnTo>
                  <a:pt x="6446" y="910"/>
                </a:lnTo>
                <a:lnTo>
                  <a:pt x="6458" y="906"/>
                </a:lnTo>
                <a:lnTo>
                  <a:pt x="6470" y="901"/>
                </a:lnTo>
                <a:lnTo>
                  <a:pt x="6495" y="888"/>
                </a:lnTo>
                <a:lnTo>
                  <a:pt x="6525" y="877"/>
                </a:lnTo>
                <a:lnTo>
                  <a:pt x="6544" y="877"/>
                </a:lnTo>
                <a:lnTo>
                  <a:pt x="6547" y="885"/>
                </a:lnTo>
                <a:lnTo>
                  <a:pt x="6551" y="893"/>
                </a:lnTo>
                <a:lnTo>
                  <a:pt x="6556" y="899"/>
                </a:lnTo>
                <a:lnTo>
                  <a:pt x="6562" y="905"/>
                </a:lnTo>
                <a:lnTo>
                  <a:pt x="6576" y="915"/>
                </a:lnTo>
                <a:lnTo>
                  <a:pt x="6590" y="927"/>
                </a:lnTo>
                <a:lnTo>
                  <a:pt x="6596" y="906"/>
                </a:lnTo>
                <a:lnTo>
                  <a:pt x="6601" y="884"/>
                </a:lnTo>
                <a:lnTo>
                  <a:pt x="6605" y="873"/>
                </a:lnTo>
                <a:lnTo>
                  <a:pt x="6609" y="863"/>
                </a:lnTo>
                <a:lnTo>
                  <a:pt x="6614" y="854"/>
                </a:lnTo>
                <a:lnTo>
                  <a:pt x="6619" y="845"/>
                </a:lnTo>
                <a:lnTo>
                  <a:pt x="6626" y="835"/>
                </a:lnTo>
                <a:lnTo>
                  <a:pt x="6633" y="827"/>
                </a:lnTo>
                <a:lnTo>
                  <a:pt x="6642" y="821"/>
                </a:lnTo>
                <a:lnTo>
                  <a:pt x="6651" y="815"/>
                </a:lnTo>
                <a:lnTo>
                  <a:pt x="6662" y="810"/>
                </a:lnTo>
                <a:lnTo>
                  <a:pt x="6674" y="806"/>
                </a:lnTo>
                <a:lnTo>
                  <a:pt x="6688" y="804"/>
                </a:lnTo>
                <a:lnTo>
                  <a:pt x="6704" y="803"/>
                </a:lnTo>
                <a:lnTo>
                  <a:pt x="6701" y="799"/>
                </a:lnTo>
                <a:lnTo>
                  <a:pt x="6700" y="794"/>
                </a:lnTo>
                <a:lnTo>
                  <a:pt x="6700" y="790"/>
                </a:lnTo>
                <a:lnTo>
                  <a:pt x="6701" y="785"/>
                </a:lnTo>
                <a:lnTo>
                  <a:pt x="6702" y="775"/>
                </a:lnTo>
                <a:lnTo>
                  <a:pt x="6704" y="766"/>
                </a:lnTo>
                <a:lnTo>
                  <a:pt x="6709" y="770"/>
                </a:lnTo>
                <a:lnTo>
                  <a:pt x="6715" y="773"/>
                </a:lnTo>
                <a:lnTo>
                  <a:pt x="6721" y="775"/>
                </a:lnTo>
                <a:lnTo>
                  <a:pt x="6729" y="777"/>
                </a:lnTo>
                <a:lnTo>
                  <a:pt x="6744" y="778"/>
                </a:lnTo>
                <a:lnTo>
                  <a:pt x="6763" y="778"/>
                </a:lnTo>
                <a:lnTo>
                  <a:pt x="6774" y="781"/>
                </a:lnTo>
                <a:lnTo>
                  <a:pt x="6787" y="784"/>
                </a:lnTo>
                <a:lnTo>
                  <a:pt x="6795" y="785"/>
                </a:lnTo>
                <a:lnTo>
                  <a:pt x="6801" y="784"/>
                </a:lnTo>
                <a:lnTo>
                  <a:pt x="6809" y="783"/>
                </a:lnTo>
                <a:lnTo>
                  <a:pt x="6817" y="778"/>
                </a:lnTo>
                <a:lnTo>
                  <a:pt x="6813" y="767"/>
                </a:lnTo>
                <a:lnTo>
                  <a:pt x="6813" y="762"/>
                </a:lnTo>
                <a:lnTo>
                  <a:pt x="6816" y="757"/>
                </a:lnTo>
                <a:lnTo>
                  <a:pt x="6817" y="742"/>
                </a:lnTo>
                <a:lnTo>
                  <a:pt x="6790" y="738"/>
                </a:lnTo>
                <a:lnTo>
                  <a:pt x="6766" y="733"/>
                </a:lnTo>
                <a:lnTo>
                  <a:pt x="6743" y="727"/>
                </a:lnTo>
                <a:lnTo>
                  <a:pt x="6722" y="720"/>
                </a:lnTo>
                <a:lnTo>
                  <a:pt x="6685" y="706"/>
                </a:lnTo>
                <a:lnTo>
                  <a:pt x="6650" y="692"/>
                </a:lnTo>
                <a:lnTo>
                  <a:pt x="6632" y="685"/>
                </a:lnTo>
                <a:lnTo>
                  <a:pt x="6616" y="678"/>
                </a:lnTo>
                <a:lnTo>
                  <a:pt x="6598" y="672"/>
                </a:lnTo>
                <a:lnTo>
                  <a:pt x="6579" y="666"/>
                </a:lnTo>
                <a:lnTo>
                  <a:pt x="6561" y="662"/>
                </a:lnTo>
                <a:lnTo>
                  <a:pt x="6541" y="658"/>
                </a:lnTo>
                <a:lnTo>
                  <a:pt x="6520" y="656"/>
                </a:lnTo>
                <a:lnTo>
                  <a:pt x="6497" y="655"/>
                </a:lnTo>
                <a:lnTo>
                  <a:pt x="6543" y="659"/>
                </a:lnTo>
                <a:lnTo>
                  <a:pt x="6582" y="663"/>
                </a:lnTo>
                <a:lnTo>
                  <a:pt x="6592" y="663"/>
                </a:lnTo>
                <a:lnTo>
                  <a:pt x="6600" y="663"/>
                </a:lnTo>
                <a:lnTo>
                  <a:pt x="6610" y="662"/>
                </a:lnTo>
                <a:lnTo>
                  <a:pt x="6619" y="660"/>
                </a:lnTo>
                <a:lnTo>
                  <a:pt x="6628" y="658"/>
                </a:lnTo>
                <a:lnTo>
                  <a:pt x="6638" y="654"/>
                </a:lnTo>
                <a:lnTo>
                  <a:pt x="6648" y="649"/>
                </a:lnTo>
                <a:lnTo>
                  <a:pt x="6657" y="643"/>
                </a:lnTo>
                <a:lnTo>
                  <a:pt x="6653" y="637"/>
                </a:lnTo>
                <a:lnTo>
                  <a:pt x="6649" y="632"/>
                </a:lnTo>
                <a:lnTo>
                  <a:pt x="6644" y="627"/>
                </a:lnTo>
                <a:lnTo>
                  <a:pt x="6639" y="624"/>
                </a:lnTo>
                <a:lnTo>
                  <a:pt x="6628" y="618"/>
                </a:lnTo>
                <a:lnTo>
                  <a:pt x="6616" y="612"/>
                </a:lnTo>
                <a:lnTo>
                  <a:pt x="6605" y="607"/>
                </a:lnTo>
                <a:lnTo>
                  <a:pt x="6593" y="601"/>
                </a:lnTo>
                <a:lnTo>
                  <a:pt x="6587" y="598"/>
                </a:lnTo>
                <a:lnTo>
                  <a:pt x="6581" y="593"/>
                </a:lnTo>
                <a:lnTo>
                  <a:pt x="6576" y="588"/>
                </a:lnTo>
                <a:lnTo>
                  <a:pt x="6571" y="582"/>
                </a:lnTo>
                <a:lnTo>
                  <a:pt x="6597" y="582"/>
                </a:lnTo>
                <a:lnTo>
                  <a:pt x="6600" y="587"/>
                </a:lnTo>
                <a:lnTo>
                  <a:pt x="6605" y="592"/>
                </a:lnTo>
                <a:lnTo>
                  <a:pt x="6610" y="599"/>
                </a:lnTo>
                <a:lnTo>
                  <a:pt x="6617" y="604"/>
                </a:lnTo>
                <a:lnTo>
                  <a:pt x="6626" y="610"/>
                </a:lnTo>
                <a:lnTo>
                  <a:pt x="6634" y="615"/>
                </a:lnTo>
                <a:lnTo>
                  <a:pt x="6640" y="617"/>
                </a:lnTo>
                <a:lnTo>
                  <a:pt x="6645" y="618"/>
                </a:lnTo>
                <a:lnTo>
                  <a:pt x="6651" y="619"/>
                </a:lnTo>
                <a:lnTo>
                  <a:pt x="6657" y="619"/>
                </a:lnTo>
                <a:lnTo>
                  <a:pt x="6665" y="618"/>
                </a:lnTo>
                <a:lnTo>
                  <a:pt x="6670" y="617"/>
                </a:lnTo>
                <a:lnTo>
                  <a:pt x="6673" y="615"/>
                </a:lnTo>
                <a:lnTo>
                  <a:pt x="6675" y="612"/>
                </a:lnTo>
                <a:lnTo>
                  <a:pt x="6678" y="610"/>
                </a:lnTo>
                <a:lnTo>
                  <a:pt x="6683" y="608"/>
                </a:lnTo>
                <a:lnTo>
                  <a:pt x="6691" y="606"/>
                </a:lnTo>
                <a:lnTo>
                  <a:pt x="6704" y="606"/>
                </a:lnTo>
                <a:lnTo>
                  <a:pt x="6718" y="606"/>
                </a:lnTo>
                <a:lnTo>
                  <a:pt x="6730" y="607"/>
                </a:lnTo>
                <a:lnTo>
                  <a:pt x="6742" y="609"/>
                </a:lnTo>
                <a:lnTo>
                  <a:pt x="6752" y="612"/>
                </a:lnTo>
                <a:lnTo>
                  <a:pt x="6762" y="616"/>
                </a:lnTo>
                <a:lnTo>
                  <a:pt x="6771" y="619"/>
                </a:lnTo>
                <a:lnTo>
                  <a:pt x="6778" y="623"/>
                </a:lnTo>
                <a:lnTo>
                  <a:pt x="6786" y="627"/>
                </a:lnTo>
                <a:lnTo>
                  <a:pt x="6799" y="636"/>
                </a:lnTo>
                <a:lnTo>
                  <a:pt x="6812" y="645"/>
                </a:lnTo>
                <a:lnTo>
                  <a:pt x="6827" y="654"/>
                </a:lnTo>
                <a:lnTo>
                  <a:pt x="6843" y="661"/>
                </a:lnTo>
                <a:lnTo>
                  <a:pt x="6943" y="661"/>
                </a:lnTo>
                <a:lnTo>
                  <a:pt x="6945" y="667"/>
                </a:lnTo>
                <a:lnTo>
                  <a:pt x="6950" y="673"/>
                </a:lnTo>
                <a:lnTo>
                  <a:pt x="6955" y="676"/>
                </a:lnTo>
                <a:lnTo>
                  <a:pt x="6961" y="678"/>
                </a:lnTo>
                <a:lnTo>
                  <a:pt x="6971" y="680"/>
                </a:lnTo>
                <a:lnTo>
                  <a:pt x="6982" y="680"/>
                </a:lnTo>
                <a:lnTo>
                  <a:pt x="6989" y="680"/>
                </a:lnTo>
                <a:lnTo>
                  <a:pt x="7006" y="680"/>
                </a:lnTo>
                <a:lnTo>
                  <a:pt x="7027" y="678"/>
                </a:lnTo>
                <a:lnTo>
                  <a:pt x="7049" y="674"/>
                </a:lnTo>
                <a:lnTo>
                  <a:pt x="7031" y="668"/>
                </a:lnTo>
                <a:lnTo>
                  <a:pt x="7011" y="659"/>
                </a:lnTo>
                <a:lnTo>
                  <a:pt x="7002" y="654"/>
                </a:lnTo>
                <a:lnTo>
                  <a:pt x="6996" y="647"/>
                </a:lnTo>
                <a:lnTo>
                  <a:pt x="6993" y="644"/>
                </a:lnTo>
                <a:lnTo>
                  <a:pt x="6991" y="640"/>
                </a:lnTo>
                <a:lnTo>
                  <a:pt x="6989" y="636"/>
                </a:lnTo>
                <a:lnTo>
                  <a:pt x="6989" y="631"/>
                </a:lnTo>
                <a:lnTo>
                  <a:pt x="6990" y="621"/>
                </a:lnTo>
                <a:lnTo>
                  <a:pt x="6991" y="614"/>
                </a:lnTo>
                <a:lnTo>
                  <a:pt x="6992" y="608"/>
                </a:lnTo>
                <a:lnTo>
                  <a:pt x="6992" y="602"/>
                </a:lnTo>
                <a:lnTo>
                  <a:pt x="6991" y="593"/>
                </a:lnTo>
                <a:lnTo>
                  <a:pt x="6989" y="582"/>
                </a:lnTo>
                <a:lnTo>
                  <a:pt x="6975" y="581"/>
                </a:lnTo>
                <a:lnTo>
                  <a:pt x="6961" y="579"/>
                </a:lnTo>
                <a:lnTo>
                  <a:pt x="6947" y="577"/>
                </a:lnTo>
                <a:lnTo>
                  <a:pt x="6934" y="573"/>
                </a:lnTo>
                <a:lnTo>
                  <a:pt x="6910" y="564"/>
                </a:lnTo>
                <a:lnTo>
                  <a:pt x="6886" y="553"/>
                </a:lnTo>
                <a:lnTo>
                  <a:pt x="6861" y="543"/>
                </a:lnTo>
                <a:lnTo>
                  <a:pt x="6835" y="535"/>
                </a:lnTo>
                <a:lnTo>
                  <a:pt x="6821" y="531"/>
                </a:lnTo>
                <a:lnTo>
                  <a:pt x="6807" y="529"/>
                </a:lnTo>
                <a:lnTo>
                  <a:pt x="6793" y="527"/>
                </a:lnTo>
                <a:lnTo>
                  <a:pt x="6776" y="526"/>
                </a:lnTo>
                <a:lnTo>
                  <a:pt x="6769" y="527"/>
                </a:lnTo>
                <a:lnTo>
                  <a:pt x="6761" y="531"/>
                </a:lnTo>
                <a:lnTo>
                  <a:pt x="6756" y="533"/>
                </a:lnTo>
                <a:lnTo>
                  <a:pt x="6753" y="536"/>
                </a:lnTo>
                <a:lnTo>
                  <a:pt x="6751" y="540"/>
                </a:lnTo>
                <a:lnTo>
                  <a:pt x="6750" y="544"/>
                </a:lnTo>
                <a:lnTo>
                  <a:pt x="6751" y="547"/>
                </a:lnTo>
                <a:lnTo>
                  <a:pt x="6752" y="548"/>
                </a:lnTo>
                <a:lnTo>
                  <a:pt x="6754" y="550"/>
                </a:lnTo>
                <a:lnTo>
                  <a:pt x="6757" y="552"/>
                </a:lnTo>
                <a:lnTo>
                  <a:pt x="6765" y="555"/>
                </a:lnTo>
                <a:lnTo>
                  <a:pt x="6775" y="559"/>
                </a:lnTo>
                <a:lnTo>
                  <a:pt x="6785" y="563"/>
                </a:lnTo>
                <a:lnTo>
                  <a:pt x="6795" y="567"/>
                </a:lnTo>
                <a:lnTo>
                  <a:pt x="6799" y="570"/>
                </a:lnTo>
                <a:lnTo>
                  <a:pt x="6803" y="574"/>
                </a:lnTo>
                <a:lnTo>
                  <a:pt x="6807" y="577"/>
                </a:lnTo>
                <a:lnTo>
                  <a:pt x="6810" y="582"/>
                </a:lnTo>
                <a:lnTo>
                  <a:pt x="6778" y="567"/>
                </a:lnTo>
                <a:lnTo>
                  <a:pt x="6751" y="552"/>
                </a:lnTo>
                <a:lnTo>
                  <a:pt x="6728" y="539"/>
                </a:lnTo>
                <a:lnTo>
                  <a:pt x="6706" y="528"/>
                </a:lnTo>
                <a:lnTo>
                  <a:pt x="6684" y="517"/>
                </a:lnTo>
                <a:lnTo>
                  <a:pt x="6660" y="506"/>
                </a:lnTo>
                <a:lnTo>
                  <a:pt x="6631" y="494"/>
                </a:lnTo>
                <a:lnTo>
                  <a:pt x="6597" y="483"/>
                </a:lnTo>
                <a:lnTo>
                  <a:pt x="6573" y="477"/>
                </a:lnTo>
                <a:lnTo>
                  <a:pt x="6548" y="471"/>
                </a:lnTo>
                <a:lnTo>
                  <a:pt x="6525" y="466"/>
                </a:lnTo>
                <a:lnTo>
                  <a:pt x="6500" y="462"/>
                </a:lnTo>
                <a:lnTo>
                  <a:pt x="6454" y="455"/>
                </a:lnTo>
                <a:lnTo>
                  <a:pt x="6408" y="450"/>
                </a:lnTo>
                <a:lnTo>
                  <a:pt x="6363" y="443"/>
                </a:lnTo>
                <a:lnTo>
                  <a:pt x="6318" y="436"/>
                </a:lnTo>
                <a:lnTo>
                  <a:pt x="6295" y="432"/>
                </a:lnTo>
                <a:lnTo>
                  <a:pt x="6272" y="427"/>
                </a:lnTo>
                <a:lnTo>
                  <a:pt x="6249" y="422"/>
                </a:lnTo>
                <a:lnTo>
                  <a:pt x="6225" y="415"/>
                </a:lnTo>
                <a:lnTo>
                  <a:pt x="6146" y="415"/>
                </a:lnTo>
                <a:lnTo>
                  <a:pt x="6133" y="407"/>
                </a:lnTo>
                <a:lnTo>
                  <a:pt x="6121" y="402"/>
                </a:lnTo>
                <a:lnTo>
                  <a:pt x="6114" y="400"/>
                </a:lnTo>
                <a:lnTo>
                  <a:pt x="6106" y="398"/>
                </a:lnTo>
                <a:lnTo>
                  <a:pt x="6096" y="397"/>
                </a:lnTo>
                <a:lnTo>
                  <a:pt x="6085" y="397"/>
                </a:lnTo>
                <a:lnTo>
                  <a:pt x="6071" y="398"/>
                </a:lnTo>
                <a:lnTo>
                  <a:pt x="6058" y="400"/>
                </a:lnTo>
                <a:lnTo>
                  <a:pt x="6045" y="403"/>
                </a:lnTo>
                <a:lnTo>
                  <a:pt x="6033" y="406"/>
                </a:lnTo>
                <a:lnTo>
                  <a:pt x="6020" y="410"/>
                </a:lnTo>
                <a:lnTo>
                  <a:pt x="6007" y="412"/>
                </a:lnTo>
                <a:lnTo>
                  <a:pt x="5993" y="415"/>
                </a:lnTo>
                <a:lnTo>
                  <a:pt x="5979" y="415"/>
                </a:lnTo>
                <a:lnTo>
                  <a:pt x="5971" y="415"/>
                </a:lnTo>
                <a:lnTo>
                  <a:pt x="5960" y="412"/>
                </a:lnTo>
                <a:lnTo>
                  <a:pt x="5945" y="409"/>
                </a:lnTo>
                <a:lnTo>
                  <a:pt x="5929" y="405"/>
                </a:lnTo>
                <a:lnTo>
                  <a:pt x="5913" y="400"/>
                </a:lnTo>
                <a:lnTo>
                  <a:pt x="5899" y="395"/>
                </a:lnTo>
                <a:lnTo>
                  <a:pt x="5887" y="389"/>
                </a:lnTo>
                <a:lnTo>
                  <a:pt x="5880" y="384"/>
                </a:lnTo>
                <a:lnTo>
                  <a:pt x="5833" y="384"/>
                </a:lnTo>
                <a:lnTo>
                  <a:pt x="5835" y="394"/>
                </a:lnTo>
                <a:lnTo>
                  <a:pt x="5838" y="402"/>
                </a:lnTo>
                <a:lnTo>
                  <a:pt x="5843" y="410"/>
                </a:lnTo>
                <a:lnTo>
                  <a:pt x="5847" y="417"/>
                </a:lnTo>
                <a:lnTo>
                  <a:pt x="5853" y="423"/>
                </a:lnTo>
                <a:lnTo>
                  <a:pt x="5859" y="429"/>
                </a:lnTo>
                <a:lnTo>
                  <a:pt x="5866" y="435"/>
                </a:lnTo>
                <a:lnTo>
                  <a:pt x="5872" y="439"/>
                </a:lnTo>
                <a:lnTo>
                  <a:pt x="5895" y="454"/>
                </a:lnTo>
                <a:lnTo>
                  <a:pt x="5906" y="459"/>
                </a:lnTo>
                <a:lnTo>
                  <a:pt x="5883" y="448"/>
                </a:lnTo>
                <a:lnTo>
                  <a:pt x="5860" y="435"/>
                </a:lnTo>
                <a:lnTo>
                  <a:pt x="5848" y="430"/>
                </a:lnTo>
                <a:lnTo>
                  <a:pt x="5834" y="425"/>
                </a:lnTo>
                <a:lnTo>
                  <a:pt x="5826" y="424"/>
                </a:lnTo>
                <a:lnTo>
                  <a:pt x="5819" y="422"/>
                </a:lnTo>
                <a:lnTo>
                  <a:pt x="5810" y="422"/>
                </a:lnTo>
                <a:lnTo>
                  <a:pt x="5800" y="421"/>
                </a:lnTo>
                <a:lnTo>
                  <a:pt x="5804" y="417"/>
                </a:lnTo>
                <a:lnTo>
                  <a:pt x="5807" y="412"/>
                </a:lnTo>
                <a:lnTo>
                  <a:pt x="5809" y="405"/>
                </a:lnTo>
                <a:lnTo>
                  <a:pt x="5813" y="397"/>
                </a:lnTo>
                <a:lnTo>
                  <a:pt x="5796" y="397"/>
                </a:lnTo>
                <a:lnTo>
                  <a:pt x="5781" y="396"/>
                </a:lnTo>
                <a:lnTo>
                  <a:pt x="5767" y="395"/>
                </a:lnTo>
                <a:lnTo>
                  <a:pt x="5754" y="390"/>
                </a:lnTo>
                <a:lnTo>
                  <a:pt x="5753" y="395"/>
                </a:lnTo>
                <a:lnTo>
                  <a:pt x="5752" y="399"/>
                </a:lnTo>
                <a:lnTo>
                  <a:pt x="5751" y="402"/>
                </a:lnTo>
                <a:lnTo>
                  <a:pt x="5748" y="405"/>
                </a:lnTo>
                <a:lnTo>
                  <a:pt x="5745" y="407"/>
                </a:lnTo>
                <a:lnTo>
                  <a:pt x="5742" y="409"/>
                </a:lnTo>
                <a:lnTo>
                  <a:pt x="5737" y="411"/>
                </a:lnTo>
                <a:lnTo>
                  <a:pt x="5733" y="412"/>
                </a:lnTo>
                <a:lnTo>
                  <a:pt x="5724" y="414"/>
                </a:lnTo>
                <a:lnTo>
                  <a:pt x="5714" y="415"/>
                </a:lnTo>
                <a:lnTo>
                  <a:pt x="5703" y="415"/>
                </a:lnTo>
                <a:lnTo>
                  <a:pt x="5693" y="415"/>
                </a:lnTo>
                <a:lnTo>
                  <a:pt x="5667" y="415"/>
                </a:lnTo>
                <a:lnTo>
                  <a:pt x="5643" y="413"/>
                </a:lnTo>
                <a:lnTo>
                  <a:pt x="5621" y="411"/>
                </a:lnTo>
                <a:lnTo>
                  <a:pt x="5599" y="409"/>
                </a:lnTo>
                <a:lnTo>
                  <a:pt x="5578" y="407"/>
                </a:lnTo>
                <a:lnTo>
                  <a:pt x="5557" y="408"/>
                </a:lnTo>
                <a:lnTo>
                  <a:pt x="5546" y="409"/>
                </a:lnTo>
                <a:lnTo>
                  <a:pt x="5536" y="410"/>
                </a:lnTo>
                <a:lnTo>
                  <a:pt x="5525" y="412"/>
                </a:lnTo>
                <a:lnTo>
                  <a:pt x="5514" y="415"/>
                </a:lnTo>
                <a:lnTo>
                  <a:pt x="5528" y="430"/>
                </a:lnTo>
                <a:lnTo>
                  <a:pt x="5539" y="439"/>
                </a:lnTo>
                <a:lnTo>
                  <a:pt x="5551" y="450"/>
                </a:lnTo>
                <a:lnTo>
                  <a:pt x="5567" y="465"/>
                </a:lnTo>
                <a:lnTo>
                  <a:pt x="5531" y="450"/>
                </a:lnTo>
                <a:lnTo>
                  <a:pt x="5497" y="437"/>
                </a:lnTo>
                <a:lnTo>
                  <a:pt x="5465" y="426"/>
                </a:lnTo>
                <a:lnTo>
                  <a:pt x="5433" y="414"/>
                </a:lnTo>
                <a:lnTo>
                  <a:pt x="5419" y="407"/>
                </a:lnTo>
                <a:lnTo>
                  <a:pt x="5404" y="400"/>
                </a:lnTo>
                <a:lnTo>
                  <a:pt x="5388" y="392"/>
                </a:lnTo>
                <a:lnTo>
                  <a:pt x="5374" y="383"/>
                </a:lnTo>
                <a:lnTo>
                  <a:pt x="5360" y="373"/>
                </a:lnTo>
                <a:lnTo>
                  <a:pt x="5344" y="362"/>
                </a:lnTo>
                <a:lnTo>
                  <a:pt x="5330" y="350"/>
                </a:lnTo>
                <a:lnTo>
                  <a:pt x="5315" y="336"/>
                </a:lnTo>
                <a:lnTo>
                  <a:pt x="5109" y="336"/>
                </a:lnTo>
                <a:lnTo>
                  <a:pt x="5104" y="337"/>
                </a:lnTo>
                <a:lnTo>
                  <a:pt x="5099" y="339"/>
                </a:lnTo>
                <a:lnTo>
                  <a:pt x="5094" y="343"/>
                </a:lnTo>
                <a:lnTo>
                  <a:pt x="5090" y="348"/>
                </a:lnTo>
                <a:lnTo>
                  <a:pt x="5009" y="354"/>
                </a:lnTo>
                <a:lnTo>
                  <a:pt x="5003" y="353"/>
                </a:lnTo>
                <a:lnTo>
                  <a:pt x="4996" y="353"/>
                </a:lnTo>
                <a:lnTo>
                  <a:pt x="4991" y="351"/>
                </a:lnTo>
                <a:lnTo>
                  <a:pt x="4986" y="349"/>
                </a:lnTo>
                <a:lnTo>
                  <a:pt x="4979" y="344"/>
                </a:lnTo>
                <a:lnTo>
                  <a:pt x="4972" y="339"/>
                </a:lnTo>
                <a:lnTo>
                  <a:pt x="4964" y="332"/>
                </a:lnTo>
                <a:lnTo>
                  <a:pt x="4956" y="327"/>
                </a:lnTo>
                <a:lnTo>
                  <a:pt x="4951" y="325"/>
                </a:lnTo>
                <a:lnTo>
                  <a:pt x="4945" y="324"/>
                </a:lnTo>
                <a:lnTo>
                  <a:pt x="4938" y="323"/>
                </a:lnTo>
                <a:lnTo>
                  <a:pt x="4929" y="323"/>
                </a:lnTo>
                <a:lnTo>
                  <a:pt x="4924" y="323"/>
                </a:lnTo>
                <a:lnTo>
                  <a:pt x="4918" y="324"/>
                </a:lnTo>
                <a:lnTo>
                  <a:pt x="4916" y="326"/>
                </a:lnTo>
                <a:lnTo>
                  <a:pt x="4913" y="329"/>
                </a:lnTo>
                <a:lnTo>
                  <a:pt x="4911" y="331"/>
                </a:lnTo>
                <a:lnTo>
                  <a:pt x="4907" y="333"/>
                </a:lnTo>
                <a:lnTo>
                  <a:pt x="4903" y="334"/>
                </a:lnTo>
                <a:lnTo>
                  <a:pt x="4896" y="336"/>
                </a:lnTo>
                <a:lnTo>
                  <a:pt x="4884" y="334"/>
                </a:lnTo>
                <a:lnTo>
                  <a:pt x="4873" y="332"/>
                </a:lnTo>
                <a:lnTo>
                  <a:pt x="4863" y="328"/>
                </a:lnTo>
                <a:lnTo>
                  <a:pt x="4853" y="324"/>
                </a:lnTo>
                <a:lnTo>
                  <a:pt x="4836" y="314"/>
                </a:lnTo>
                <a:lnTo>
                  <a:pt x="4816" y="304"/>
                </a:lnTo>
                <a:lnTo>
                  <a:pt x="4830" y="292"/>
                </a:lnTo>
                <a:lnTo>
                  <a:pt x="4826" y="290"/>
                </a:lnTo>
                <a:lnTo>
                  <a:pt x="4816" y="286"/>
                </a:lnTo>
                <a:lnTo>
                  <a:pt x="4808" y="284"/>
                </a:lnTo>
                <a:lnTo>
                  <a:pt x="4799" y="282"/>
                </a:lnTo>
                <a:lnTo>
                  <a:pt x="4789" y="281"/>
                </a:lnTo>
                <a:lnTo>
                  <a:pt x="4777" y="279"/>
                </a:lnTo>
                <a:lnTo>
                  <a:pt x="4766" y="281"/>
                </a:lnTo>
                <a:lnTo>
                  <a:pt x="4757" y="281"/>
                </a:lnTo>
                <a:lnTo>
                  <a:pt x="4748" y="283"/>
                </a:lnTo>
                <a:lnTo>
                  <a:pt x="4740" y="285"/>
                </a:lnTo>
                <a:lnTo>
                  <a:pt x="4728" y="290"/>
                </a:lnTo>
                <a:lnTo>
                  <a:pt x="4717" y="295"/>
                </a:lnTo>
                <a:lnTo>
                  <a:pt x="4710" y="301"/>
                </a:lnTo>
                <a:lnTo>
                  <a:pt x="4701" y="306"/>
                </a:lnTo>
                <a:lnTo>
                  <a:pt x="4698" y="308"/>
                </a:lnTo>
                <a:lnTo>
                  <a:pt x="4693" y="309"/>
                </a:lnTo>
                <a:lnTo>
                  <a:pt x="4689" y="310"/>
                </a:lnTo>
                <a:lnTo>
                  <a:pt x="4683" y="310"/>
                </a:lnTo>
                <a:lnTo>
                  <a:pt x="4670" y="310"/>
                </a:lnTo>
                <a:lnTo>
                  <a:pt x="4657" y="310"/>
                </a:lnTo>
                <a:lnTo>
                  <a:pt x="4657" y="279"/>
                </a:lnTo>
                <a:lnTo>
                  <a:pt x="4650" y="275"/>
                </a:lnTo>
                <a:lnTo>
                  <a:pt x="4644" y="272"/>
                </a:lnTo>
                <a:lnTo>
                  <a:pt x="4638" y="271"/>
                </a:lnTo>
                <a:lnTo>
                  <a:pt x="4633" y="270"/>
                </a:lnTo>
                <a:lnTo>
                  <a:pt x="4627" y="271"/>
                </a:lnTo>
                <a:lnTo>
                  <a:pt x="4621" y="272"/>
                </a:lnTo>
                <a:lnTo>
                  <a:pt x="4613" y="275"/>
                </a:lnTo>
                <a:lnTo>
                  <a:pt x="4604" y="279"/>
                </a:lnTo>
                <a:lnTo>
                  <a:pt x="4603" y="277"/>
                </a:lnTo>
                <a:lnTo>
                  <a:pt x="4601" y="275"/>
                </a:lnTo>
                <a:lnTo>
                  <a:pt x="4599" y="273"/>
                </a:lnTo>
                <a:lnTo>
                  <a:pt x="4597" y="272"/>
                </a:lnTo>
                <a:lnTo>
                  <a:pt x="4589" y="270"/>
                </a:lnTo>
                <a:lnTo>
                  <a:pt x="4579" y="268"/>
                </a:lnTo>
                <a:lnTo>
                  <a:pt x="4557" y="267"/>
                </a:lnTo>
                <a:lnTo>
                  <a:pt x="4532" y="267"/>
                </a:lnTo>
                <a:lnTo>
                  <a:pt x="4486" y="271"/>
                </a:lnTo>
                <a:lnTo>
                  <a:pt x="4465" y="273"/>
                </a:lnTo>
                <a:lnTo>
                  <a:pt x="4398" y="273"/>
                </a:lnTo>
                <a:lnTo>
                  <a:pt x="4399" y="276"/>
                </a:lnTo>
                <a:lnTo>
                  <a:pt x="4400" y="279"/>
                </a:lnTo>
                <a:lnTo>
                  <a:pt x="4402" y="283"/>
                </a:lnTo>
                <a:lnTo>
                  <a:pt x="4405" y="285"/>
                </a:lnTo>
                <a:lnTo>
                  <a:pt x="4409" y="288"/>
                </a:lnTo>
                <a:lnTo>
                  <a:pt x="4412" y="290"/>
                </a:lnTo>
                <a:lnTo>
                  <a:pt x="4415" y="292"/>
                </a:lnTo>
                <a:lnTo>
                  <a:pt x="4418" y="292"/>
                </a:lnTo>
                <a:lnTo>
                  <a:pt x="4420" y="299"/>
                </a:lnTo>
                <a:lnTo>
                  <a:pt x="4425" y="307"/>
                </a:lnTo>
                <a:lnTo>
                  <a:pt x="4432" y="316"/>
                </a:lnTo>
                <a:lnTo>
                  <a:pt x="4438" y="323"/>
                </a:lnTo>
                <a:lnTo>
                  <a:pt x="4429" y="323"/>
                </a:lnTo>
                <a:lnTo>
                  <a:pt x="4420" y="324"/>
                </a:lnTo>
                <a:lnTo>
                  <a:pt x="4412" y="326"/>
                </a:lnTo>
                <a:lnTo>
                  <a:pt x="4403" y="329"/>
                </a:lnTo>
                <a:lnTo>
                  <a:pt x="4394" y="331"/>
                </a:lnTo>
                <a:lnTo>
                  <a:pt x="4383" y="333"/>
                </a:lnTo>
                <a:lnTo>
                  <a:pt x="4373" y="334"/>
                </a:lnTo>
                <a:lnTo>
                  <a:pt x="4358" y="336"/>
                </a:lnTo>
                <a:lnTo>
                  <a:pt x="4337" y="334"/>
                </a:lnTo>
                <a:lnTo>
                  <a:pt x="4317" y="331"/>
                </a:lnTo>
                <a:lnTo>
                  <a:pt x="4295" y="327"/>
                </a:lnTo>
                <a:lnTo>
                  <a:pt x="4272" y="323"/>
                </a:lnTo>
                <a:lnTo>
                  <a:pt x="4250" y="318"/>
                </a:lnTo>
                <a:lnTo>
                  <a:pt x="4228" y="314"/>
                </a:lnTo>
                <a:lnTo>
                  <a:pt x="4206" y="311"/>
                </a:lnTo>
                <a:lnTo>
                  <a:pt x="4186" y="310"/>
                </a:lnTo>
                <a:lnTo>
                  <a:pt x="4176" y="310"/>
                </a:lnTo>
                <a:lnTo>
                  <a:pt x="4166" y="310"/>
                </a:lnTo>
                <a:lnTo>
                  <a:pt x="4166" y="348"/>
                </a:lnTo>
                <a:lnTo>
                  <a:pt x="4139" y="348"/>
                </a:lnTo>
                <a:lnTo>
                  <a:pt x="4131" y="345"/>
                </a:lnTo>
                <a:lnTo>
                  <a:pt x="4122" y="342"/>
                </a:lnTo>
                <a:lnTo>
                  <a:pt x="4113" y="340"/>
                </a:lnTo>
                <a:lnTo>
                  <a:pt x="4102" y="338"/>
                </a:lnTo>
                <a:lnTo>
                  <a:pt x="4082" y="333"/>
                </a:lnTo>
                <a:lnTo>
                  <a:pt x="4060" y="330"/>
                </a:lnTo>
                <a:lnTo>
                  <a:pt x="4039" y="326"/>
                </a:lnTo>
                <a:lnTo>
                  <a:pt x="4019" y="321"/>
                </a:lnTo>
                <a:lnTo>
                  <a:pt x="4009" y="318"/>
                </a:lnTo>
                <a:lnTo>
                  <a:pt x="4000" y="314"/>
                </a:lnTo>
                <a:lnTo>
                  <a:pt x="3993" y="310"/>
                </a:lnTo>
                <a:lnTo>
                  <a:pt x="3986" y="304"/>
                </a:lnTo>
                <a:lnTo>
                  <a:pt x="3946" y="304"/>
                </a:lnTo>
                <a:lnTo>
                  <a:pt x="3953" y="317"/>
                </a:lnTo>
                <a:lnTo>
                  <a:pt x="3960" y="329"/>
                </a:lnTo>
                <a:lnTo>
                  <a:pt x="3941" y="318"/>
                </a:lnTo>
                <a:lnTo>
                  <a:pt x="3920" y="305"/>
                </a:lnTo>
                <a:lnTo>
                  <a:pt x="3898" y="294"/>
                </a:lnTo>
                <a:lnTo>
                  <a:pt x="3880" y="286"/>
                </a:lnTo>
                <a:lnTo>
                  <a:pt x="3820" y="286"/>
                </a:lnTo>
                <a:lnTo>
                  <a:pt x="3820" y="287"/>
                </a:lnTo>
                <a:lnTo>
                  <a:pt x="3819" y="288"/>
                </a:lnTo>
                <a:lnTo>
                  <a:pt x="3818" y="288"/>
                </a:lnTo>
                <a:lnTo>
                  <a:pt x="3816" y="287"/>
                </a:lnTo>
                <a:lnTo>
                  <a:pt x="3809" y="286"/>
                </a:lnTo>
                <a:lnTo>
                  <a:pt x="3800" y="283"/>
                </a:lnTo>
                <a:lnTo>
                  <a:pt x="3777" y="274"/>
                </a:lnTo>
                <a:lnTo>
                  <a:pt x="3752" y="265"/>
                </a:lnTo>
                <a:lnTo>
                  <a:pt x="3727" y="256"/>
                </a:lnTo>
                <a:lnTo>
                  <a:pt x="3706" y="249"/>
                </a:lnTo>
                <a:lnTo>
                  <a:pt x="3698" y="247"/>
                </a:lnTo>
                <a:lnTo>
                  <a:pt x="3694" y="246"/>
                </a:lnTo>
                <a:lnTo>
                  <a:pt x="3693" y="246"/>
                </a:lnTo>
                <a:lnTo>
                  <a:pt x="3692" y="247"/>
                </a:lnTo>
                <a:lnTo>
                  <a:pt x="3693" y="248"/>
                </a:lnTo>
                <a:lnTo>
                  <a:pt x="3694" y="249"/>
                </a:lnTo>
                <a:lnTo>
                  <a:pt x="3677" y="249"/>
                </a:lnTo>
                <a:lnTo>
                  <a:pt x="3663" y="251"/>
                </a:lnTo>
                <a:lnTo>
                  <a:pt x="3650" y="253"/>
                </a:lnTo>
                <a:lnTo>
                  <a:pt x="3637" y="255"/>
                </a:lnTo>
                <a:lnTo>
                  <a:pt x="3624" y="257"/>
                </a:lnTo>
                <a:lnTo>
                  <a:pt x="3608" y="259"/>
                </a:lnTo>
                <a:lnTo>
                  <a:pt x="3593" y="261"/>
                </a:lnTo>
                <a:lnTo>
                  <a:pt x="3574" y="261"/>
                </a:lnTo>
                <a:lnTo>
                  <a:pt x="3559" y="261"/>
                </a:lnTo>
                <a:lnTo>
                  <a:pt x="3544" y="260"/>
                </a:lnTo>
                <a:lnTo>
                  <a:pt x="3528" y="258"/>
                </a:lnTo>
                <a:lnTo>
                  <a:pt x="3515" y="256"/>
                </a:lnTo>
                <a:lnTo>
                  <a:pt x="3488" y="252"/>
                </a:lnTo>
                <a:lnTo>
                  <a:pt x="3461" y="246"/>
                </a:lnTo>
                <a:lnTo>
                  <a:pt x="3435" y="240"/>
                </a:lnTo>
                <a:lnTo>
                  <a:pt x="3408" y="236"/>
                </a:lnTo>
                <a:lnTo>
                  <a:pt x="3394" y="234"/>
                </a:lnTo>
                <a:lnTo>
                  <a:pt x="3379" y="232"/>
                </a:lnTo>
                <a:lnTo>
                  <a:pt x="3365" y="231"/>
                </a:lnTo>
                <a:lnTo>
                  <a:pt x="3348" y="231"/>
                </a:lnTo>
                <a:lnTo>
                  <a:pt x="3334" y="227"/>
                </a:lnTo>
                <a:lnTo>
                  <a:pt x="3313" y="219"/>
                </a:lnTo>
                <a:lnTo>
                  <a:pt x="3304" y="216"/>
                </a:lnTo>
                <a:lnTo>
                  <a:pt x="3296" y="214"/>
                </a:lnTo>
                <a:lnTo>
                  <a:pt x="3293" y="214"/>
                </a:lnTo>
                <a:lnTo>
                  <a:pt x="3291" y="215"/>
                </a:lnTo>
                <a:lnTo>
                  <a:pt x="3289" y="216"/>
                </a:lnTo>
                <a:lnTo>
                  <a:pt x="3289" y="218"/>
                </a:lnTo>
                <a:lnTo>
                  <a:pt x="3289" y="221"/>
                </a:lnTo>
                <a:lnTo>
                  <a:pt x="3290" y="226"/>
                </a:lnTo>
                <a:lnTo>
                  <a:pt x="3292" y="229"/>
                </a:lnTo>
                <a:lnTo>
                  <a:pt x="3295" y="233"/>
                </a:lnTo>
                <a:lnTo>
                  <a:pt x="3302" y="240"/>
                </a:lnTo>
                <a:lnTo>
                  <a:pt x="3310" y="247"/>
                </a:lnTo>
                <a:lnTo>
                  <a:pt x="3320" y="252"/>
                </a:lnTo>
                <a:lnTo>
                  <a:pt x="3328" y="257"/>
                </a:lnTo>
                <a:lnTo>
                  <a:pt x="3336" y="260"/>
                </a:lnTo>
                <a:lnTo>
                  <a:pt x="3341" y="261"/>
                </a:lnTo>
                <a:lnTo>
                  <a:pt x="3332" y="260"/>
                </a:lnTo>
                <a:lnTo>
                  <a:pt x="3323" y="257"/>
                </a:lnTo>
                <a:lnTo>
                  <a:pt x="3314" y="255"/>
                </a:lnTo>
                <a:lnTo>
                  <a:pt x="3305" y="251"/>
                </a:lnTo>
                <a:lnTo>
                  <a:pt x="3290" y="244"/>
                </a:lnTo>
                <a:lnTo>
                  <a:pt x="3273" y="235"/>
                </a:lnTo>
                <a:lnTo>
                  <a:pt x="3257" y="225"/>
                </a:lnTo>
                <a:lnTo>
                  <a:pt x="3239" y="213"/>
                </a:lnTo>
                <a:lnTo>
                  <a:pt x="3219" y="203"/>
                </a:lnTo>
                <a:lnTo>
                  <a:pt x="3195" y="193"/>
                </a:lnTo>
                <a:lnTo>
                  <a:pt x="3198" y="192"/>
                </a:lnTo>
                <a:lnTo>
                  <a:pt x="3200" y="190"/>
                </a:lnTo>
                <a:lnTo>
                  <a:pt x="3201" y="186"/>
                </a:lnTo>
                <a:lnTo>
                  <a:pt x="3201" y="181"/>
                </a:lnTo>
                <a:lnTo>
                  <a:pt x="3202" y="173"/>
                </a:lnTo>
                <a:lnTo>
                  <a:pt x="3202" y="169"/>
                </a:lnTo>
                <a:lnTo>
                  <a:pt x="3169" y="169"/>
                </a:lnTo>
                <a:lnTo>
                  <a:pt x="3164" y="170"/>
                </a:lnTo>
                <a:lnTo>
                  <a:pt x="3159" y="173"/>
                </a:lnTo>
                <a:lnTo>
                  <a:pt x="3154" y="177"/>
                </a:lnTo>
                <a:lnTo>
                  <a:pt x="3149" y="181"/>
                </a:lnTo>
                <a:lnTo>
                  <a:pt x="3153" y="187"/>
                </a:lnTo>
                <a:lnTo>
                  <a:pt x="3156" y="193"/>
                </a:lnTo>
                <a:lnTo>
                  <a:pt x="3144" y="196"/>
                </a:lnTo>
                <a:lnTo>
                  <a:pt x="3133" y="199"/>
                </a:lnTo>
                <a:lnTo>
                  <a:pt x="3122" y="203"/>
                </a:lnTo>
                <a:lnTo>
                  <a:pt x="3112" y="206"/>
                </a:lnTo>
                <a:lnTo>
                  <a:pt x="3093" y="215"/>
                </a:lnTo>
                <a:lnTo>
                  <a:pt x="3076" y="225"/>
                </a:lnTo>
                <a:lnTo>
                  <a:pt x="3058" y="235"/>
                </a:lnTo>
                <a:lnTo>
                  <a:pt x="3040" y="245"/>
                </a:lnTo>
                <a:lnTo>
                  <a:pt x="3030" y="249"/>
                </a:lnTo>
                <a:lnTo>
                  <a:pt x="3020" y="253"/>
                </a:lnTo>
                <a:lnTo>
                  <a:pt x="3008" y="257"/>
                </a:lnTo>
                <a:lnTo>
                  <a:pt x="2997" y="261"/>
                </a:lnTo>
                <a:lnTo>
                  <a:pt x="2997" y="257"/>
                </a:lnTo>
                <a:lnTo>
                  <a:pt x="2998" y="252"/>
                </a:lnTo>
                <a:lnTo>
                  <a:pt x="2999" y="248"/>
                </a:lnTo>
                <a:lnTo>
                  <a:pt x="3002" y="243"/>
                </a:lnTo>
                <a:lnTo>
                  <a:pt x="3008" y="235"/>
                </a:lnTo>
                <a:lnTo>
                  <a:pt x="3016" y="226"/>
                </a:lnTo>
                <a:lnTo>
                  <a:pt x="3026" y="217"/>
                </a:lnTo>
                <a:lnTo>
                  <a:pt x="3038" y="209"/>
                </a:lnTo>
                <a:lnTo>
                  <a:pt x="3052" y="201"/>
                </a:lnTo>
                <a:lnTo>
                  <a:pt x="3065" y="193"/>
                </a:lnTo>
                <a:lnTo>
                  <a:pt x="3093" y="179"/>
                </a:lnTo>
                <a:lnTo>
                  <a:pt x="3122" y="165"/>
                </a:lnTo>
                <a:lnTo>
                  <a:pt x="3148" y="154"/>
                </a:lnTo>
                <a:lnTo>
                  <a:pt x="3169" y="144"/>
                </a:lnTo>
                <a:lnTo>
                  <a:pt x="3157" y="136"/>
                </a:lnTo>
                <a:lnTo>
                  <a:pt x="3144" y="129"/>
                </a:lnTo>
                <a:lnTo>
                  <a:pt x="3130" y="122"/>
                </a:lnTo>
                <a:lnTo>
                  <a:pt x="3114" y="115"/>
                </a:lnTo>
                <a:lnTo>
                  <a:pt x="3098" y="107"/>
                </a:lnTo>
                <a:lnTo>
                  <a:pt x="3080" y="102"/>
                </a:lnTo>
                <a:lnTo>
                  <a:pt x="3063" y="96"/>
                </a:lnTo>
                <a:lnTo>
                  <a:pt x="3044" y="91"/>
                </a:lnTo>
                <a:lnTo>
                  <a:pt x="3024" y="86"/>
                </a:lnTo>
                <a:lnTo>
                  <a:pt x="3004" y="82"/>
                </a:lnTo>
                <a:lnTo>
                  <a:pt x="2985" y="79"/>
                </a:lnTo>
                <a:lnTo>
                  <a:pt x="2965" y="76"/>
                </a:lnTo>
                <a:lnTo>
                  <a:pt x="2944" y="74"/>
                </a:lnTo>
                <a:lnTo>
                  <a:pt x="2923" y="72"/>
                </a:lnTo>
                <a:lnTo>
                  <a:pt x="2903" y="71"/>
                </a:lnTo>
                <a:lnTo>
                  <a:pt x="2884" y="70"/>
                </a:lnTo>
                <a:lnTo>
                  <a:pt x="2875" y="71"/>
                </a:lnTo>
                <a:lnTo>
                  <a:pt x="2867" y="72"/>
                </a:lnTo>
                <a:lnTo>
                  <a:pt x="2862" y="74"/>
                </a:lnTo>
                <a:lnTo>
                  <a:pt x="2856" y="76"/>
                </a:lnTo>
                <a:lnTo>
                  <a:pt x="2850" y="79"/>
                </a:lnTo>
                <a:lnTo>
                  <a:pt x="2843" y="81"/>
                </a:lnTo>
                <a:lnTo>
                  <a:pt x="2834" y="82"/>
                </a:lnTo>
                <a:lnTo>
                  <a:pt x="2823" y="83"/>
                </a:lnTo>
                <a:lnTo>
                  <a:pt x="2723" y="64"/>
                </a:lnTo>
                <a:lnTo>
                  <a:pt x="2724" y="58"/>
                </a:lnTo>
                <a:lnTo>
                  <a:pt x="2726" y="52"/>
                </a:lnTo>
                <a:lnTo>
                  <a:pt x="2729" y="47"/>
                </a:lnTo>
                <a:lnTo>
                  <a:pt x="2731" y="42"/>
                </a:lnTo>
                <a:lnTo>
                  <a:pt x="2738" y="33"/>
                </a:lnTo>
                <a:lnTo>
                  <a:pt x="2744" y="21"/>
                </a:lnTo>
                <a:lnTo>
                  <a:pt x="2743" y="19"/>
                </a:lnTo>
                <a:lnTo>
                  <a:pt x="2742" y="17"/>
                </a:lnTo>
                <a:lnTo>
                  <a:pt x="2739" y="15"/>
                </a:lnTo>
                <a:lnTo>
                  <a:pt x="2735" y="13"/>
                </a:lnTo>
                <a:lnTo>
                  <a:pt x="2727" y="10"/>
                </a:lnTo>
                <a:lnTo>
                  <a:pt x="2717" y="9"/>
                </a:lnTo>
                <a:lnTo>
                  <a:pt x="2712" y="5"/>
                </a:lnTo>
                <a:lnTo>
                  <a:pt x="2707" y="1"/>
                </a:lnTo>
                <a:lnTo>
                  <a:pt x="2701" y="0"/>
                </a:lnTo>
                <a:lnTo>
                  <a:pt x="2696" y="0"/>
                </a:lnTo>
                <a:lnTo>
                  <a:pt x="2691" y="3"/>
                </a:lnTo>
                <a:lnTo>
                  <a:pt x="2687" y="7"/>
                </a:lnTo>
                <a:lnTo>
                  <a:pt x="2685" y="13"/>
                </a:lnTo>
                <a:lnTo>
                  <a:pt x="2684" y="21"/>
                </a:lnTo>
                <a:lnTo>
                  <a:pt x="2667" y="24"/>
                </a:lnTo>
                <a:lnTo>
                  <a:pt x="2653" y="29"/>
                </a:lnTo>
                <a:lnTo>
                  <a:pt x="2641" y="34"/>
                </a:lnTo>
                <a:lnTo>
                  <a:pt x="2630" y="40"/>
                </a:lnTo>
                <a:lnTo>
                  <a:pt x="2610" y="53"/>
                </a:lnTo>
                <a:lnTo>
                  <a:pt x="2590" y="64"/>
                </a:lnTo>
                <a:lnTo>
                  <a:pt x="2618" y="83"/>
                </a:lnTo>
                <a:lnTo>
                  <a:pt x="2611" y="83"/>
                </a:lnTo>
                <a:lnTo>
                  <a:pt x="2597" y="83"/>
                </a:lnTo>
                <a:lnTo>
                  <a:pt x="2575" y="83"/>
                </a:lnTo>
                <a:lnTo>
                  <a:pt x="2551" y="83"/>
                </a:lnTo>
                <a:lnTo>
                  <a:pt x="2567" y="97"/>
                </a:lnTo>
                <a:lnTo>
                  <a:pt x="2587" y="118"/>
                </a:lnTo>
                <a:lnTo>
                  <a:pt x="2598" y="128"/>
                </a:lnTo>
                <a:lnTo>
                  <a:pt x="2610" y="136"/>
                </a:lnTo>
                <a:lnTo>
                  <a:pt x="2617" y="140"/>
                </a:lnTo>
                <a:lnTo>
                  <a:pt x="2623" y="142"/>
                </a:lnTo>
                <a:lnTo>
                  <a:pt x="2630" y="144"/>
                </a:lnTo>
                <a:lnTo>
                  <a:pt x="2638" y="144"/>
                </a:lnTo>
                <a:lnTo>
                  <a:pt x="2630" y="144"/>
                </a:lnTo>
                <a:lnTo>
                  <a:pt x="2623" y="142"/>
                </a:lnTo>
                <a:lnTo>
                  <a:pt x="2618" y="140"/>
                </a:lnTo>
                <a:lnTo>
                  <a:pt x="2611" y="137"/>
                </a:lnTo>
                <a:lnTo>
                  <a:pt x="2600" y="130"/>
                </a:lnTo>
                <a:lnTo>
                  <a:pt x="2590" y="121"/>
                </a:lnTo>
                <a:lnTo>
                  <a:pt x="2579" y="110"/>
                </a:lnTo>
                <a:lnTo>
                  <a:pt x="2567" y="100"/>
                </a:lnTo>
                <a:lnTo>
                  <a:pt x="2561" y="95"/>
                </a:lnTo>
                <a:lnTo>
                  <a:pt x="2554" y="90"/>
                </a:lnTo>
                <a:lnTo>
                  <a:pt x="2547" y="86"/>
                </a:lnTo>
                <a:lnTo>
                  <a:pt x="2538" y="83"/>
                </a:lnTo>
                <a:lnTo>
                  <a:pt x="2465" y="114"/>
                </a:lnTo>
                <a:lnTo>
                  <a:pt x="2462" y="110"/>
                </a:lnTo>
                <a:lnTo>
                  <a:pt x="2455" y="104"/>
                </a:lnTo>
                <a:lnTo>
                  <a:pt x="2451" y="100"/>
                </a:lnTo>
                <a:lnTo>
                  <a:pt x="2446" y="98"/>
                </a:lnTo>
                <a:lnTo>
                  <a:pt x="2439" y="95"/>
                </a:lnTo>
                <a:lnTo>
                  <a:pt x="2431" y="95"/>
                </a:lnTo>
                <a:lnTo>
                  <a:pt x="2410" y="95"/>
                </a:lnTo>
                <a:lnTo>
                  <a:pt x="2391" y="98"/>
                </a:lnTo>
                <a:lnTo>
                  <a:pt x="2372" y="101"/>
                </a:lnTo>
                <a:lnTo>
                  <a:pt x="2354" y="105"/>
                </a:lnTo>
                <a:lnTo>
                  <a:pt x="2319" y="117"/>
                </a:lnTo>
                <a:lnTo>
                  <a:pt x="2284" y="129"/>
                </a:lnTo>
                <a:lnTo>
                  <a:pt x="2250" y="141"/>
                </a:lnTo>
                <a:lnTo>
                  <a:pt x="2214" y="152"/>
                </a:lnTo>
                <a:lnTo>
                  <a:pt x="2195" y="156"/>
                </a:lnTo>
                <a:lnTo>
                  <a:pt x="2175" y="159"/>
                </a:lnTo>
                <a:lnTo>
                  <a:pt x="2155" y="161"/>
                </a:lnTo>
                <a:lnTo>
                  <a:pt x="2133" y="162"/>
                </a:lnTo>
                <a:lnTo>
                  <a:pt x="2134" y="167"/>
                </a:lnTo>
                <a:lnTo>
                  <a:pt x="2137" y="173"/>
                </a:lnTo>
                <a:lnTo>
                  <a:pt x="2142" y="178"/>
                </a:lnTo>
                <a:lnTo>
                  <a:pt x="2149" y="183"/>
                </a:lnTo>
                <a:lnTo>
                  <a:pt x="2157" y="187"/>
                </a:lnTo>
                <a:lnTo>
                  <a:pt x="2167" y="190"/>
                </a:lnTo>
                <a:lnTo>
                  <a:pt x="2175" y="193"/>
                </a:lnTo>
                <a:lnTo>
                  <a:pt x="2185" y="193"/>
                </a:lnTo>
                <a:lnTo>
                  <a:pt x="2186" y="198"/>
                </a:lnTo>
                <a:lnTo>
                  <a:pt x="2187" y="203"/>
                </a:lnTo>
                <a:lnTo>
                  <a:pt x="2190" y="208"/>
                </a:lnTo>
                <a:lnTo>
                  <a:pt x="2192" y="213"/>
                </a:lnTo>
                <a:lnTo>
                  <a:pt x="2198" y="225"/>
                </a:lnTo>
                <a:lnTo>
                  <a:pt x="2207" y="235"/>
                </a:lnTo>
                <a:lnTo>
                  <a:pt x="2216" y="244"/>
                </a:lnTo>
                <a:lnTo>
                  <a:pt x="2225" y="251"/>
                </a:lnTo>
                <a:lnTo>
                  <a:pt x="2233" y="257"/>
                </a:lnTo>
                <a:lnTo>
                  <a:pt x="2239" y="261"/>
                </a:lnTo>
                <a:lnTo>
                  <a:pt x="2233" y="261"/>
                </a:lnTo>
                <a:lnTo>
                  <a:pt x="2227" y="260"/>
                </a:lnTo>
                <a:lnTo>
                  <a:pt x="2223" y="259"/>
                </a:lnTo>
                <a:lnTo>
                  <a:pt x="2217" y="257"/>
                </a:lnTo>
                <a:lnTo>
                  <a:pt x="2214" y="254"/>
                </a:lnTo>
                <a:lnTo>
                  <a:pt x="2209" y="251"/>
                </a:lnTo>
                <a:lnTo>
                  <a:pt x="2206" y="248"/>
                </a:lnTo>
                <a:lnTo>
                  <a:pt x="2203" y="244"/>
                </a:lnTo>
                <a:lnTo>
                  <a:pt x="2198" y="236"/>
                </a:lnTo>
                <a:lnTo>
                  <a:pt x="2195" y="225"/>
                </a:lnTo>
                <a:lnTo>
                  <a:pt x="2193" y="213"/>
                </a:lnTo>
                <a:lnTo>
                  <a:pt x="2192" y="200"/>
                </a:lnTo>
                <a:lnTo>
                  <a:pt x="2190" y="201"/>
                </a:lnTo>
                <a:lnTo>
                  <a:pt x="2186" y="202"/>
                </a:lnTo>
                <a:lnTo>
                  <a:pt x="2182" y="202"/>
                </a:lnTo>
                <a:lnTo>
                  <a:pt x="2179" y="202"/>
                </a:lnTo>
                <a:lnTo>
                  <a:pt x="2169" y="200"/>
                </a:lnTo>
                <a:lnTo>
                  <a:pt x="2159" y="200"/>
                </a:lnTo>
                <a:lnTo>
                  <a:pt x="2150" y="200"/>
                </a:lnTo>
                <a:lnTo>
                  <a:pt x="2141" y="202"/>
                </a:lnTo>
                <a:lnTo>
                  <a:pt x="2134" y="205"/>
                </a:lnTo>
                <a:lnTo>
                  <a:pt x="2126" y="209"/>
                </a:lnTo>
                <a:lnTo>
                  <a:pt x="2118" y="212"/>
                </a:lnTo>
                <a:lnTo>
                  <a:pt x="2111" y="215"/>
                </a:lnTo>
                <a:lnTo>
                  <a:pt x="2102" y="217"/>
                </a:lnTo>
                <a:lnTo>
                  <a:pt x="2093" y="218"/>
                </a:lnTo>
                <a:lnTo>
                  <a:pt x="2083" y="217"/>
                </a:lnTo>
                <a:lnTo>
                  <a:pt x="2073" y="214"/>
                </a:lnTo>
                <a:lnTo>
                  <a:pt x="2066" y="210"/>
                </a:lnTo>
                <a:lnTo>
                  <a:pt x="2059" y="206"/>
                </a:lnTo>
                <a:lnTo>
                  <a:pt x="2020" y="218"/>
                </a:lnTo>
                <a:lnTo>
                  <a:pt x="2013" y="218"/>
                </a:lnTo>
                <a:lnTo>
                  <a:pt x="2000" y="219"/>
                </a:lnTo>
                <a:lnTo>
                  <a:pt x="1992" y="221"/>
                </a:lnTo>
                <a:lnTo>
                  <a:pt x="1985" y="223"/>
                </a:lnTo>
                <a:lnTo>
                  <a:pt x="1983" y="225"/>
                </a:lnTo>
                <a:lnTo>
                  <a:pt x="1981" y="227"/>
                </a:lnTo>
                <a:lnTo>
                  <a:pt x="1980" y="229"/>
                </a:lnTo>
                <a:lnTo>
                  <a:pt x="1980" y="231"/>
                </a:lnTo>
                <a:lnTo>
                  <a:pt x="1980" y="234"/>
                </a:lnTo>
                <a:lnTo>
                  <a:pt x="1982" y="238"/>
                </a:lnTo>
                <a:lnTo>
                  <a:pt x="1984" y="242"/>
                </a:lnTo>
                <a:lnTo>
                  <a:pt x="1988" y="245"/>
                </a:lnTo>
                <a:lnTo>
                  <a:pt x="1996" y="253"/>
                </a:lnTo>
                <a:lnTo>
                  <a:pt x="2009" y="261"/>
                </a:lnTo>
                <a:lnTo>
                  <a:pt x="2023" y="270"/>
                </a:lnTo>
                <a:lnTo>
                  <a:pt x="2038" y="278"/>
                </a:lnTo>
                <a:lnTo>
                  <a:pt x="2056" y="287"/>
                </a:lnTo>
                <a:lnTo>
                  <a:pt x="2074" y="295"/>
                </a:lnTo>
                <a:lnTo>
                  <a:pt x="2112" y="311"/>
                </a:lnTo>
                <a:lnTo>
                  <a:pt x="2148" y="324"/>
                </a:lnTo>
                <a:lnTo>
                  <a:pt x="2178" y="334"/>
                </a:lnTo>
                <a:lnTo>
                  <a:pt x="2198" y="342"/>
                </a:lnTo>
                <a:lnTo>
                  <a:pt x="2200" y="352"/>
                </a:lnTo>
                <a:lnTo>
                  <a:pt x="2202" y="361"/>
                </a:lnTo>
                <a:lnTo>
                  <a:pt x="2204" y="369"/>
                </a:lnTo>
                <a:lnTo>
                  <a:pt x="2207" y="376"/>
                </a:lnTo>
                <a:lnTo>
                  <a:pt x="2216" y="389"/>
                </a:lnTo>
                <a:lnTo>
                  <a:pt x="2226" y="403"/>
                </a:lnTo>
                <a:lnTo>
                  <a:pt x="2214" y="405"/>
                </a:lnTo>
                <a:lnTo>
                  <a:pt x="2203" y="404"/>
                </a:lnTo>
                <a:lnTo>
                  <a:pt x="2193" y="402"/>
                </a:lnTo>
                <a:lnTo>
                  <a:pt x="2184" y="399"/>
                </a:lnTo>
                <a:lnTo>
                  <a:pt x="2177" y="394"/>
                </a:lnTo>
                <a:lnTo>
                  <a:pt x="2169" y="387"/>
                </a:lnTo>
                <a:lnTo>
                  <a:pt x="2161" y="381"/>
                </a:lnTo>
                <a:lnTo>
                  <a:pt x="2155" y="374"/>
                </a:lnTo>
                <a:lnTo>
                  <a:pt x="2142" y="360"/>
                </a:lnTo>
                <a:lnTo>
                  <a:pt x="2129" y="345"/>
                </a:lnTo>
                <a:lnTo>
                  <a:pt x="2123" y="339"/>
                </a:lnTo>
                <a:lnTo>
                  <a:pt x="2115" y="332"/>
                </a:lnTo>
                <a:lnTo>
                  <a:pt x="2107" y="327"/>
                </a:lnTo>
                <a:lnTo>
                  <a:pt x="2100" y="323"/>
                </a:lnTo>
                <a:lnTo>
                  <a:pt x="2065" y="315"/>
                </a:lnTo>
                <a:lnTo>
                  <a:pt x="2020" y="305"/>
                </a:lnTo>
                <a:lnTo>
                  <a:pt x="2009" y="302"/>
                </a:lnTo>
                <a:lnTo>
                  <a:pt x="1999" y="298"/>
                </a:lnTo>
                <a:lnTo>
                  <a:pt x="1989" y="293"/>
                </a:lnTo>
                <a:lnTo>
                  <a:pt x="1980" y="288"/>
                </a:lnTo>
                <a:lnTo>
                  <a:pt x="1972" y="281"/>
                </a:lnTo>
                <a:lnTo>
                  <a:pt x="1967" y="273"/>
                </a:lnTo>
                <a:lnTo>
                  <a:pt x="1964" y="269"/>
                </a:lnTo>
                <a:lnTo>
                  <a:pt x="1962" y="265"/>
                </a:lnTo>
                <a:lnTo>
                  <a:pt x="1960" y="260"/>
                </a:lnTo>
                <a:lnTo>
                  <a:pt x="1960" y="255"/>
                </a:lnTo>
                <a:lnTo>
                  <a:pt x="1947" y="255"/>
                </a:lnTo>
                <a:lnTo>
                  <a:pt x="1940" y="255"/>
                </a:lnTo>
                <a:lnTo>
                  <a:pt x="1933" y="256"/>
                </a:lnTo>
                <a:lnTo>
                  <a:pt x="1927" y="258"/>
                </a:lnTo>
                <a:lnTo>
                  <a:pt x="1922" y="261"/>
                </a:lnTo>
                <a:lnTo>
                  <a:pt x="1916" y="264"/>
                </a:lnTo>
                <a:lnTo>
                  <a:pt x="1910" y="267"/>
                </a:lnTo>
                <a:lnTo>
                  <a:pt x="1903" y="270"/>
                </a:lnTo>
                <a:lnTo>
                  <a:pt x="1895" y="272"/>
                </a:lnTo>
                <a:lnTo>
                  <a:pt x="1887" y="273"/>
                </a:lnTo>
                <a:lnTo>
                  <a:pt x="1882" y="287"/>
                </a:lnTo>
                <a:lnTo>
                  <a:pt x="1879" y="297"/>
                </a:lnTo>
                <a:lnTo>
                  <a:pt x="1877" y="301"/>
                </a:lnTo>
                <a:lnTo>
                  <a:pt x="1875" y="305"/>
                </a:lnTo>
                <a:lnTo>
                  <a:pt x="1871" y="308"/>
                </a:lnTo>
                <a:lnTo>
                  <a:pt x="1867" y="310"/>
                </a:lnTo>
                <a:lnTo>
                  <a:pt x="1871" y="316"/>
                </a:lnTo>
                <a:lnTo>
                  <a:pt x="1876" y="320"/>
                </a:lnTo>
                <a:lnTo>
                  <a:pt x="1882" y="325"/>
                </a:lnTo>
                <a:lnTo>
                  <a:pt x="1889" y="328"/>
                </a:lnTo>
                <a:lnTo>
                  <a:pt x="1903" y="334"/>
                </a:lnTo>
                <a:lnTo>
                  <a:pt x="1921" y="340"/>
                </a:lnTo>
                <a:lnTo>
                  <a:pt x="1959" y="349"/>
                </a:lnTo>
                <a:lnTo>
                  <a:pt x="2000" y="360"/>
                </a:lnTo>
                <a:lnTo>
                  <a:pt x="1954" y="360"/>
                </a:lnTo>
                <a:lnTo>
                  <a:pt x="1929" y="354"/>
                </a:lnTo>
                <a:lnTo>
                  <a:pt x="1906" y="349"/>
                </a:lnTo>
                <a:lnTo>
                  <a:pt x="1886" y="344"/>
                </a:lnTo>
                <a:lnTo>
                  <a:pt x="1866" y="338"/>
                </a:lnTo>
                <a:lnTo>
                  <a:pt x="1857" y="333"/>
                </a:lnTo>
                <a:lnTo>
                  <a:pt x="1849" y="328"/>
                </a:lnTo>
                <a:lnTo>
                  <a:pt x="1842" y="322"/>
                </a:lnTo>
                <a:lnTo>
                  <a:pt x="1835" y="315"/>
                </a:lnTo>
                <a:lnTo>
                  <a:pt x="1828" y="307"/>
                </a:lnTo>
                <a:lnTo>
                  <a:pt x="1823" y="298"/>
                </a:lnTo>
                <a:lnTo>
                  <a:pt x="1817" y="287"/>
                </a:lnTo>
                <a:lnTo>
                  <a:pt x="1814" y="273"/>
                </a:lnTo>
                <a:lnTo>
                  <a:pt x="1787" y="273"/>
                </a:lnTo>
                <a:lnTo>
                  <a:pt x="1787" y="282"/>
                </a:lnTo>
                <a:lnTo>
                  <a:pt x="1786" y="288"/>
                </a:lnTo>
                <a:lnTo>
                  <a:pt x="1785" y="293"/>
                </a:lnTo>
                <a:lnTo>
                  <a:pt x="1782" y="298"/>
                </a:lnTo>
                <a:lnTo>
                  <a:pt x="1776" y="306"/>
                </a:lnTo>
                <a:lnTo>
                  <a:pt x="1767" y="316"/>
                </a:lnTo>
                <a:lnTo>
                  <a:pt x="1771" y="323"/>
                </a:lnTo>
                <a:lnTo>
                  <a:pt x="1775" y="328"/>
                </a:lnTo>
                <a:lnTo>
                  <a:pt x="1779" y="332"/>
                </a:lnTo>
                <a:lnTo>
                  <a:pt x="1785" y="336"/>
                </a:lnTo>
                <a:lnTo>
                  <a:pt x="1793" y="342"/>
                </a:lnTo>
                <a:lnTo>
                  <a:pt x="1803" y="346"/>
                </a:lnTo>
                <a:lnTo>
                  <a:pt x="1813" y="351"/>
                </a:lnTo>
                <a:lnTo>
                  <a:pt x="1823" y="358"/>
                </a:lnTo>
                <a:lnTo>
                  <a:pt x="1827" y="363"/>
                </a:lnTo>
                <a:lnTo>
                  <a:pt x="1832" y="369"/>
                </a:lnTo>
                <a:lnTo>
                  <a:pt x="1836" y="376"/>
                </a:lnTo>
                <a:lnTo>
                  <a:pt x="1841" y="384"/>
                </a:lnTo>
                <a:lnTo>
                  <a:pt x="1842" y="389"/>
                </a:lnTo>
                <a:lnTo>
                  <a:pt x="1843" y="396"/>
                </a:lnTo>
                <a:lnTo>
                  <a:pt x="1844" y="402"/>
                </a:lnTo>
                <a:lnTo>
                  <a:pt x="1844" y="409"/>
                </a:lnTo>
                <a:lnTo>
                  <a:pt x="1844" y="415"/>
                </a:lnTo>
                <a:lnTo>
                  <a:pt x="1844" y="420"/>
                </a:lnTo>
                <a:lnTo>
                  <a:pt x="1845" y="424"/>
                </a:lnTo>
                <a:lnTo>
                  <a:pt x="1847" y="427"/>
                </a:lnTo>
                <a:lnTo>
                  <a:pt x="1859" y="436"/>
                </a:lnTo>
                <a:lnTo>
                  <a:pt x="1868" y="444"/>
                </a:lnTo>
                <a:lnTo>
                  <a:pt x="1872" y="448"/>
                </a:lnTo>
                <a:lnTo>
                  <a:pt x="1878" y="451"/>
                </a:lnTo>
                <a:lnTo>
                  <a:pt x="1884" y="452"/>
                </a:lnTo>
                <a:lnTo>
                  <a:pt x="1893" y="453"/>
                </a:lnTo>
                <a:lnTo>
                  <a:pt x="1902" y="452"/>
                </a:lnTo>
                <a:lnTo>
                  <a:pt x="1910" y="450"/>
                </a:lnTo>
                <a:lnTo>
                  <a:pt x="1917" y="446"/>
                </a:lnTo>
                <a:lnTo>
                  <a:pt x="1923" y="443"/>
                </a:lnTo>
                <a:lnTo>
                  <a:pt x="1929" y="439"/>
                </a:lnTo>
                <a:lnTo>
                  <a:pt x="1936" y="436"/>
                </a:lnTo>
                <a:lnTo>
                  <a:pt x="1944" y="434"/>
                </a:lnTo>
                <a:lnTo>
                  <a:pt x="1954" y="433"/>
                </a:lnTo>
                <a:lnTo>
                  <a:pt x="1961" y="434"/>
                </a:lnTo>
                <a:lnTo>
                  <a:pt x="1970" y="435"/>
                </a:lnTo>
                <a:lnTo>
                  <a:pt x="1978" y="437"/>
                </a:lnTo>
                <a:lnTo>
                  <a:pt x="1985" y="439"/>
                </a:lnTo>
                <a:lnTo>
                  <a:pt x="1999" y="445"/>
                </a:lnTo>
                <a:lnTo>
                  <a:pt x="2013" y="453"/>
                </a:lnTo>
                <a:lnTo>
                  <a:pt x="2027" y="459"/>
                </a:lnTo>
                <a:lnTo>
                  <a:pt x="2041" y="465"/>
                </a:lnTo>
                <a:lnTo>
                  <a:pt x="2048" y="467"/>
                </a:lnTo>
                <a:lnTo>
                  <a:pt x="2056" y="469"/>
                </a:lnTo>
                <a:lnTo>
                  <a:pt x="2065" y="470"/>
                </a:lnTo>
                <a:lnTo>
                  <a:pt x="2073" y="471"/>
                </a:lnTo>
                <a:lnTo>
                  <a:pt x="2076" y="482"/>
                </a:lnTo>
                <a:lnTo>
                  <a:pt x="2078" y="492"/>
                </a:lnTo>
                <a:lnTo>
                  <a:pt x="2082" y="503"/>
                </a:lnTo>
                <a:lnTo>
                  <a:pt x="2086" y="511"/>
                </a:lnTo>
                <a:lnTo>
                  <a:pt x="2090" y="515"/>
                </a:lnTo>
                <a:lnTo>
                  <a:pt x="2093" y="518"/>
                </a:lnTo>
                <a:lnTo>
                  <a:pt x="2097" y="522"/>
                </a:lnTo>
                <a:lnTo>
                  <a:pt x="2102" y="525"/>
                </a:lnTo>
                <a:lnTo>
                  <a:pt x="2106" y="527"/>
                </a:lnTo>
                <a:lnTo>
                  <a:pt x="2113" y="529"/>
                </a:lnTo>
                <a:lnTo>
                  <a:pt x="2118" y="531"/>
                </a:lnTo>
                <a:lnTo>
                  <a:pt x="2126" y="532"/>
                </a:lnTo>
                <a:lnTo>
                  <a:pt x="2111" y="532"/>
                </a:lnTo>
                <a:lnTo>
                  <a:pt x="2100" y="532"/>
                </a:lnTo>
                <a:lnTo>
                  <a:pt x="2093" y="532"/>
                </a:lnTo>
                <a:lnTo>
                  <a:pt x="2086" y="531"/>
                </a:lnTo>
                <a:lnTo>
                  <a:pt x="2081" y="530"/>
                </a:lnTo>
                <a:lnTo>
                  <a:pt x="2076" y="529"/>
                </a:lnTo>
                <a:lnTo>
                  <a:pt x="2067" y="524"/>
                </a:lnTo>
                <a:lnTo>
                  <a:pt x="2059" y="519"/>
                </a:lnTo>
                <a:lnTo>
                  <a:pt x="2052" y="513"/>
                </a:lnTo>
                <a:lnTo>
                  <a:pt x="2046" y="506"/>
                </a:lnTo>
                <a:lnTo>
                  <a:pt x="2040" y="497"/>
                </a:lnTo>
                <a:lnTo>
                  <a:pt x="2035" y="489"/>
                </a:lnTo>
                <a:lnTo>
                  <a:pt x="2030" y="481"/>
                </a:lnTo>
                <a:lnTo>
                  <a:pt x="2024" y="473"/>
                </a:lnTo>
                <a:lnTo>
                  <a:pt x="2017" y="466"/>
                </a:lnTo>
                <a:lnTo>
                  <a:pt x="2011" y="460"/>
                </a:lnTo>
                <a:lnTo>
                  <a:pt x="2002" y="454"/>
                </a:lnTo>
                <a:lnTo>
                  <a:pt x="1992" y="450"/>
                </a:lnTo>
                <a:lnTo>
                  <a:pt x="1980" y="448"/>
                </a:lnTo>
                <a:lnTo>
                  <a:pt x="1967" y="446"/>
                </a:lnTo>
                <a:lnTo>
                  <a:pt x="1959" y="446"/>
                </a:lnTo>
                <a:lnTo>
                  <a:pt x="1953" y="449"/>
                </a:lnTo>
                <a:lnTo>
                  <a:pt x="1946" y="451"/>
                </a:lnTo>
                <a:lnTo>
                  <a:pt x="1939" y="453"/>
                </a:lnTo>
                <a:lnTo>
                  <a:pt x="1927" y="459"/>
                </a:lnTo>
                <a:lnTo>
                  <a:pt x="1913" y="465"/>
                </a:lnTo>
                <a:lnTo>
                  <a:pt x="1918" y="477"/>
                </a:lnTo>
                <a:lnTo>
                  <a:pt x="1932" y="499"/>
                </a:lnTo>
                <a:lnTo>
                  <a:pt x="1939" y="512"/>
                </a:lnTo>
                <a:lnTo>
                  <a:pt x="1947" y="523"/>
                </a:lnTo>
                <a:lnTo>
                  <a:pt x="1954" y="532"/>
                </a:lnTo>
                <a:lnTo>
                  <a:pt x="1960" y="538"/>
                </a:lnTo>
                <a:lnTo>
                  <a:pt x="1945" y="554"/>
                </a:lnTo>
                <a:lnTo>
                  <a:pt x="1929" y="573"/>
                </a:lnTo>
                <a:lnTo>
                  <a:pt x="1924" y="578"/>
                </a:lnTo>
                <a:lnTo>
                  <a:pt x="1918" y="581"/>
                </a:lnTo>
                <a:lnTo>
                  <a:pt x="1913" y="585"/>
                </a:lnTo>
                <a:lnTo>
                  <a:pt x="1906" y="588"/>
                </a:lnTo>
                <a:lnTo>
                  <a:pt x="1900" y="590"/>
                </a:lnTo>
                <a:lnTo>
                  <a:pt x="1892" y="592"/>
                </a:lnTo>
                <a:lnTo>
                  <a:pt x="1883" y="593"/>
                </a:lnTo>
                <a:lnTo>
                  <a:pt x="1873" y="594"/>
                </a:lnTo>
                <a:lnTo>
                  <a:pt x="1855" y="595"/>
                </a:lnTo>
                <a:lnTo>
                  <a:pt x="1838" y="597"/>
                </a:lnTo>
                <a:lnTo>
                  <a:pt x="1823" y="600"/>
                </a:lnTo>
                <a:lnTo>
                  <a:pt x="1810" y="603"/>
                </a:lnTo>
                <a:lnTo>
                  <a:pt x="1797" y="604"/>
                </a:lnTo>
                <a:lnTo>
                  <a:pt x="1785" y="604"/>
                </a:lnTo>
                <a:lnTo>
                  <a:pt x="1779" y="603"/>
                </a:lnTo>
                <a:lnTo>
                  <a:pt x="1772" y="601"/>
                </a:lnTo>
                <a:lnTo>
                  <a:pt x="1767" y="598"/>
                </a:lnTo>
                <a:lnTo>
                  <a:pt x="1760" y="594"/>
                </a:lnTo>
                <a:lnTo>
                  <a:pt x="1778" y="593"/>
                </a:lnTo>
                <a:lnTo>
                  <a:pt x="1793" y="591"/>
                </a:lnTo>
                <a:lnTo>
                  <a:pt x="1806" y="589"/>
                </a:lnTo>
                <a:lnTo>
                  <a:pt x="1821" y="588"/>
                </a:lnTo>
                <a:lnTo>
                  <a:pt x="1826" y="587"/>
                </a:lnTo>
                <a:lnTo>
                  <a:pt x="1832" y="586"/>
                </a:lnTo>
                <a:lnTo>
                  <a:pt x="1837" y="585"/>
                </a:lnTo>
                <a:lnTo>
                  <a:pt x="1843" y="583"/>
                </a:lnTo>
                <a:lnTo>
                  <a:pt x="1847" y="580"/>
                </a:lnTo>
                <a:lnTo>
                  <a:pt x="1852" y="577"/>
                </a:lnTo>
                <a:lnTo>
                  <a:pt x="1856" y="573"/>
                </a:lnTo>
                <a:lnTo>
                  <a:pt x="1859" y="569"/>
                </a:lnTo>
                <a:lnTo>
                  <a:pt x="1866" y="560"/>
                </a:lnTo>
                <a:lnTo>
                  <a:pt x="1870" y="548"/>
                </a:lnTo>
                <a:lnTo>
                  <a:pt x="1872" y="538"/>
                </a:lnTo>
                <a:lnTo>
                  <a:pt x="1873" y="526"/>
                </a:lnTo>
                <a:lnTo>
                  <a:pt x="1873" y="520"/>
                </a:lnTo>
                <a:lnTo>
                  <a:pt x="1873" y="512"/>
                </a:lnTo>
                <a:lnTo>
                  <a:pt x="1873" y="499"/>
                </a:lnTo>
                <a:lnTo>
                  <a:pt x="1873" y="483"/>
                </a:lnTo>
                <a:lnTo>
                  <a:pt x="1860" y="480"/>
                </a:lnTo>
                <a:lnTo>
                  <a:pt x="1849" y="476"/>
                </a:lnTo>
                <a:lnTo>
                  <a:pt x="1839" y="470"/>
                </a:lnTo>
                <a:lnTo>
                  <a:pt x="1832" y="464"/>
                </a:lnTo>
                <a:lnTo>
                  <a:pt x="1824" y="457"/>
                </a:lnTo>
                <a:lnTo>
                  <a:pt x="1817" y="449"/>
                </a:lnTo>
                <a:lnTo>
                  <a:pt x="1812" y="440"/>
                </a:lnTo>
                <a:lnTo>
                  <a:pt x="1806" y="431"/>
                </a:lnTo>
                <a:lnTo>
                  <a:pt x="1796" y="413"/>
                </a:lnTo>
                <a:lnTo>
                  <a:pt x="1785" y="396"/>
                </a:lnTo>
                <a:lnTo>
                  <a:pt x="1778" y="387"/>
                </a:lnTo>
                <a:lnTo>
                  <a:pt x="1771" y="379"/>
                </a:lnTo>
                <a:lnTo>
                  <a:pt x="1764" y="372"/>
                </a:lnTo>
                <a:lnTo>
                  <a:pt x="1754" y="366"/>
                </a:lnTo>
                <a:lnTo>
                  <a:pt x="1708" y="348"/>
                </a:lnTo>
                <a:lnTo>
                  <a:pt x="1705" y="342"/>
                </a:lnTo>
                <a:lnTo>
                  <a:pt x="1707" y="333"/>
                </a:lnTo>
                <a:lnTo>
                  <a:pt x="1708" y="324"/>
                </a:lnTo>
                <a:lnTo>
                  <a:pt x="1709" y="313"/>
                </a:lnTo>
                <a:lnTo>
                  <a:pt x="1710" y="303"/>
                </a:lnTo>
                <a:lnTo>
                  <a:pt x="1709" y="294"/>
                </a:lnTo>
                <a:lnTo>
                  <a:pt x="1708" y="290"/>
                </a:lnTo>
                <a:lnTo>
                  <a:pt x="1707" y="286"/>
                </a:lnTo>
                <a:lnTo>
                  <a:pt x="1704" y="283"/>
                </a:lnTo>
                <a:lnTo>
                  <a:pt x="1701" y="279"/>
                </a:lnTo>
                <a:lnTo>
                  <a:pt x="1698" y="276"/>
                </a:lnTo>
                <a:lnTo>
                  <a:pt x="1693" y="273"/>
                </a:lnTo>
                <a:lnTo>
                  <a:pt x="1689" y="271"/>
                </a:lnTo>
                <a:lnTo>
                  <a:pt x="1682" y="269"/>
                </a:lnTo>
                <a:lnTo>
                  <a:pt x="1669" y="266"/>
                </a:lnTo>
                <a:lnTo>
                  <a:pt x="1654" y="263"/>
                </a:lnTo>
                <a:lnTo>
                  <a:pt x="1618" y="261"/>
                </a:lnTo>
                <a:lnTo>
                  <a:pt x="1581" y="261"/>
                </a:lnTo>
                <a:lnTo>
                  <a:pt x="1596" y="257"/>
                </a:lnTo>
                <a:lnTo>
                  <a:pt x="1609" y="253"/>
                </a:lnTo>
                <a:lnTo>
                  <a:pt x="1613" y="249"/>
                </a:lnTo>
                <a:lnTo>
                  <a:pt x="1618" y="245"/>
                </a:lnTo>
                <a:lnTo>
                  <a:pt x="1620" y="239"/>
                </a:lnTo>
                <a:lnTo>
                  <a:pt x="1621" y="231"/>
                </a:lnTo>
                <a:lnTo>
                  <a:pt x="1608" y="231"/>
                </a:lnTo>
                <a:lnTo>
                  <a:pt x="1596" y="231"/>
                </a:lnTo>
                <a:lnTo>
                  <a:pt x="1581" y="231"/>
                </a:lnTo>
                <a:lnTo>
                  <a:pt x="1562" y="231"/>
                </a:lnTo>
                <a:lnTo>
                  <a:pt x="1559" y="246"/>
                </a:lnTo>
                <a:lnTo>
                  <a:pt x="1555" y="263"/>
                </a:lnTo>
                <a:lnTo>
                  <a:pt x="1550" y="279"/>
                </a:lnTo>
                <a:lnTo>
                  <a:pt x="1548" y="292"/>
                </a:lnTo>
                <a:lnTo>
                  <a:pt x="1548" y="294"/>
                </a:lnTo>
                <a:lnTo>
                  <a:pt x="1550" y="295"/>
                </a:lnTo>
                <a:lnTo>
                  <a:pt x="1552" y="295"/>
                </a:lnTo>
                <a:lnTo>
                  <a:pt x="1555" y="295"/>
                </a:lnTo>
                <a:lnTo>
                  <a:pt x="1559" y="293"/>
                </a:lnTo>
                <a:lnTo>
                  <a:pt x="1562" y="292"/>
                </a:lnTo>
                <a:lnTo>
                  <a:pt x="1562" y="323"/>
                </a:lnTo>
                <a:lnTo>
                  <a:pt x="1552" y="327"/>
                </a:lnTo>
                <a:lnTo>
                  <a:pt x="1543" y="331"/>
                </a:lnTo>
                <a:lnTo>
                  <a:pt x="1537" y="332"/>
                </a:lnTo>
                <a:lnTo>
                  <a:pt x="1531" y="334"/>
                </a:lnTo>
                <a:lnTo>
                  <a:pt x="1524" y="334"/>
                </a:lnTo>
                <a:lnTo>
                  <a:pt x="1514" y="336"/>
                </a:lnTo>
                <a:lnTo>
                  <a:pt x="1514" y="345"/>
                </a:lnTo>
                <a:lnTo>
                  <a:pt x="1514" y="354"/>
                </a:lnTo>
                <a:lnTo>
                  <a:pt x="1532" y="375"/>
                </a:lnTo>
                <a:lnTo>
                  <a:pt x="1555" y="404"/>
                </a:lnTo>
                <a:lnTo>
                  <a:pt x="1562" y="411"/>
                </a:lnTo>
                <a:lnTo>
                  <a:pt x="1569" y="418"/>
                </a:lnTo>
                <a:lnTo>
                  <a:pt x="1577" y="424"/>
                </a:lnTo>
                <a:lnTo>
                  <a:pt x="1585" y="429"/>
                </a:lnTo>
                <a:lnTo>
                  <a:pt x="1593" y="433"/>
                </a:lnTo>
                <a:lnTo>
                  <a:pt x="1602" y="437"/>
                </a:lnTo>
                <a:lnTo>
                  <a:pt x="1611" y="439"/>
                </a:lnTo>
                <a:lnTo>
                  <a:pt x="1621" y="439"/>
                </a:lnTo>
                <a:lnTo>
                  <a:pt x="1622" y="445"/>
                </a:lnTo>
                <a:lnTo>
                  <a:pt x="1623" y="451"/>
                </a:lnTo>
                <a:lnTo>
                  <a:pt x="1625" y="455"/>
                </a:lnTo>
                <a:lnTo>
                  <a:pt x="1629" y="458"/>
                </a:lnTo>
                <a:lnTo>
                  <a:pt x="1636" y="465"/>
                </a:lnTo>
                <a:lnTo>
                  <a:pt x="1645" y="471"/>
                </a:lnTo>
                <a:lnTo>
                  <a:pt x="1654" y="477"/>
                </a:lnTo>
                <a:lnTo>
                  <a:pt x="1663" y="483"/>
                </a:lnTo>
                <a:lnTo>
                  <a:pt x="1667" y="487"/>
                </a:lnTo>
                <a:lnTo>
                  <a:pt x="1670" y="491"/>
                </a:lnTo>
                <a:lnTo>
                  <a:pt x="1673" y="496"/>
                </a:lnTo>
                <a:lnTo>
                  <a:pt x="1674" y="501"/>
                </a:lnTo>
                <a:lnTo>
                  <a:pt x="1667" y="501"/>
                </a:lnTo>
                <a:lnTo>
                  <a:pt x="1654" y="501"/>
                </a:lnTo>
                <a:lnTo>
                  <a:pt x="1645" y="499"/>
                </a:lnTo>
                <a:lnTo>
                  <a:pt x="1625" y="494"/>
                </a:lnTo>
                <a:lnTo>
                  <a:pt x="1599" y="487"/>
                </a:lnTo>
                <a:lnTo>
                  <a:pt x="1568" y="478"/>
                </a:lnTo>
                <a:lnTo>
                  <a:pt x="1539" y="468"/>
                </a:lnTo>
                <a:lnTo>
                  <a:pt x="1513" y="458"/>
                </a:lnTo>
                <a:lnTo>
                  <a:pt x="1502" y="453"/>
                </a:lnTo>
                <a:lnTo>
                  <a:pt x="1495" y="448"/>
                </a:lnTo>
                <a:lnTo>
                  <a:pt x="1492" y="445"/>
                </a:lnTo>
                <a:lnTo>
                  <a:pt x="1490" y="443"/>
                </a:lnTo>
                <a:lnTo>
                  <a:pt x="1488" y="441"/>
                </a:lnTo>
                <a:lnTo>
                  <a:pt x="1488" y="439"/>
                </a:lnTo>
                <a:lnTo>
                  <a:pt x="1467" y="439"/>
                </a:lnTo>
                <a:lnTo>
                  <a:pt x="1432" y="436"/>
                </a:lnTo>
                <a:lnTo>
                  <a:pt x="1389" y="432"/>
                </a:lnTo>
                <a:lnTo>
                  <a:pt x="1343" y="425"/>
                </a:lnTo>
                <a:lnTo>
                  <a:pt x="1320" y="421"/>
                </a:lnTo>
                <a:lnTo>
                  <a:pt x="1298" y="417"/>
                </a:lnTo>
                <a:lnTo>
                  <a:pt x="1277" y="412"/>
                </a:lnTo>
                <a:lnTo>
                  <a:pt x="1260" y="406"/>
                </a:lnTo>
                <a:lnTo>
                  <a:pt x="1251" y="403"/>
                </a:lnTo>
                <a:lnTo>
                  <a:pt x="1244" y="400"/>
                </a:lnTo>
                <a:lnTo>
                  <a:pt x="1238" y="397"/>
                </a:lnTo>
                <a:lnTo>
                  <a:pt x="1232" y="394"/>
                </a:lnTo>
                <a:lnTo>
                  <a:pt x="1228" y="389"/>
                </a:lnTo>
                <a:lnTo>
                  <a:pt x="1225" y="386"/>
                </a:lnTo>
                <a:lnTo>
                  <a:pt x="1223" y="382"/>
                </a:lnTo>
                <a:lnTo>
                  <a:pt x="1222" y="378"/>
                </a:lnTo>
                <a:lnTo>
                  <a:pt x="1210" y="381"/>
                </a:lnTo>
                <a:lnTo>
                  <a:pt x="1203" y="384"/>
                </a:lnTo>
                <a:lnTo>
                  <a:pt x="1203" y="389"/>
                </a:lnTo>
                <a:lnTo>
                  <a:pt x="1204" y="395"/>
                </a:lnTo>
                <a:lnTo>
                  <a:pt x="1205" y="399"/>
                </a:lnTo>
                <a:lnTo>
                  <a:pt x="1207" y="403"/>
                </a:lnTo>
                <a:lnTo>
                  <a:pt x="1211" y="410"/>
                </a:lnTo>
                <a:lnTo>
                  <a:pt x="1218" y="416"/>
                </a:lnTo>
                <a:lnTo>
                  <a:pt x="1225" y="421"/>
                </a:lnTo>
                <a:lnTo>
                  <a:pt x="1233" y="425"/>
                </a:lnTo>
                <a:lnTo>
                  <a:pt x="1243" y="429"/>
                </a:lnTo>
                <a:lnTo>
                  <a:pt x="1253" y="433"/>
                </a:lnTo>
                <a:lnTo>
                  <a:pt x="1274" y="442"/>
                </a:lnTo>
                <a:lnTo>
                  <a:pt x="1295" y="452"/>
                </a:lnTo>
                <a:lnTo>
                  <a:pt x="1305" y="458"/>
                </a:lnTo>
                <a:lnTo>
                  <a:pt x="1313" y="465"/>
                </a:lnTo>
                <a:lnTo>
                  <a:pt x="1322" y="473"/>
                </a:lnTo>
                <a:lnTo>
                  <a:pt x="1329" y="483"/>
                </a:lnTo>
                <a:lnTo>
                  <a:pt x="1319" y="483"/>
                </a:lnTo>
                <a:lnTo>
                  <a:pt x="1309" y="483"/>
                </a:lnTo>
                <a:lnTo>
                  <a:pt x="1297" y="481"/>
                </a:lnTo>
                <a:lnTo>
                  <a:pt x="1281" y="477"/>
                </a:lnTo>
                <a:lnTo>
                  <a:pt x="1272" y="475"/>
                </a:lnTo>
                <a:lnTo>
                  <a:pt x="1262" y="473"/>
                </a:lnTo>
                <a:lnTo>
                  <a:pt x="1252" y="471"/>
                </a:lnTo>
                <a:lnTo>
                  <a:pt x="1242" y="471"/>
                </a:lnTo>
                <a:lnTo>
                  <a:pt x="1232" y="471"/>
                </a:lnTo>
                <a:lnTo>
                  <a:pt x="1221" y="473"/>
                </a:lnTo>
                <a:lnTo>
                  <a:pt x="1210" y="475"/>
                </a:lnTo>
                <a:lnTo>
                  <a:pt x="1198" y="477"/>
                </a:lnTo>
                <a:lnTo>
                  <a:pt x="1174" y="484"/>
                </a:lnTo>
                <a:lnTo>
                  <a:pt x="1149" y="492"/>
                </a:lnTo>
                <a:lnTo>
                  <a:pt x="1122" y="500"/>
                </a:lnTo>
                <a:lnTo>
                  <a:pt x="1097" y="508"/>
                </a:lnTo>
                <a:lnTo>
                  <a:pt x="1085" y="510"/>
                </a:lnTo>
                <a:lnTo>
                  <a:pt x="1073" y="512"/>
                </a:lnTo>
                <a:lnTo>
                  <a:pt x="1061" y="514"/>
                </a:lnTo>
                <a:lnTo>
                  <a:pt x="1050" y="514"/>
                </a:lnTo>
                <a:lnTo>
                  <a:pt x="1046" y="513"/>
                </a:lnTo>
                <a:lnTo>
                  <a:pt x="1042" y="511"/>
                </a:lnTo>
                <a:lnTo>
                  <a:pt x="1040" y="507"/>
                </a:lnTo>
                <a:lnTo>
                  <a:pt x="1040" y="503"/>
                </a:lnTo>
                <a:lnTo>
                  <a:pt x="1040" y="496"/>
                </a:lnTo>
                <a:lnTo>
                  <a:pt x="1042" y="490"/>
                </a:lnTo>
                <a:lnTo>
                  <a:pt x="1046" y="484"/>
                </a:lnTo>
                <a:lnTo>
                  <a:pt x="1050" y="477"/>
                </a:lnTo>
                <a:lnTo>
                  <a:pt x="1040" y="473"/>
                </a:lnTo>
                <a:lnTo>
                  <a:pt x="1030" y="472"/>
                </a:lnTo>
                <a:lnTo>
                  <a:pt x="1019" y="471"/>
                </a:lnTo>
                <a:lnTo>
                  <a:pt x="1009" y="471"/>
                </a:lnTo>
                <a:lnTo>
                  <a:pt x="1007" y="475"/>
                </a:lnTo>
                <a:lnTo>
                  <a:pt x="1004" y="477"/>
                </a:lnTo>
                <a:lnTo>
                  <a:pt x="999" y="479"/>
                </a:lnTo>
                <a:lnTo>
                  <a:pt x="994" y="480"/>
                </a:lnTo>
                <a:lnTo>
                  <a:pt x="984" y="480"/>
                </a:lnTo>
                <a:lnTo>
                  <a:pt x="972" y="479"/>
                </a:lnTo>
                <a:lnTo>
                  <a:pt x="961" y="477"/>
                </a:lnTo>
                <a:lnTo>
                  <a:pt x="949" y="477"/>
                </a:lnTo>
                <a:lnTo>
                  <a:pt x="943" y="477"/>
                </a:lnTo>
                <a:lnTo>
                  <a:pt x="939" y="478"/>
                </a:lnTo>
                <a:lnTo>
                  <a:pt x="934" y="480"/>
                </a:lnTo>
                <a:lnTo>
                  <a:pt x="930" y="483"/>
                </a:lnTo>
                <a:lnTo>
                  <a:pt x="924" y="489"/>
                </a:lnTo>
                <a:lnTo>
                  <a:pt x="916" y="495"/>
                </a:lnTo>
                <a:lnTo>
                  <a:pt x="908" y="500"/>
                </a:lnTo>
                <a:lnTo>
                  <a:pt x="900" y="505"/>
                </a:lnTo>
                <a:lnTo>
                  <a:pt x="882" y="513"/>
                </a:lnTo>
                <a:lnTo>
                  <a:pt x="864" y="522"/>
                </a:lnTo>
                <a:lnTo>
                  <a:pt x="857" y="526"/>
                </a:lnTo>
                <a:lnTo>
                  <a:pt x="849" y="532"/>
                </a:lnTo>
                <a:lnTo>
                  <a:pt x="841" y="538"/>
                </a:lnTo>
                <a:lnTo>
                  <a:pt x="836" y="545"/>
                </a:lnTo>
                <a:lnTo>
                  <a:pt x="830" y="553"/>
                </a:lnTo>
                <a:lnTo>
                  <a:pt x="827" y="564"/>
                </a:lnTo>
                <a:lnTo>
                  <a:pt x="825" y="575"/>
                </a:lnTo>
                <a:lnTo>
                  <a:pt x="824" y="588"/>
                </a:lnTo>
                <a:lnTo>
                  <a:pt x="810" y="584"/>
                </a:lnTo>
                <a:lnTo>
                  <a:pt x="797" y="581"/>
                </a:lnTo>
                <a:lnTo>
                  <a:pt x="791" y="581"/>
                </a:lnTo>
                <a:lnTo>
                  <a:pt x="784" y="582"/>
                </a:lnTo>
                <a:lnTo>
                  <a:pt x="778" y="584"/>
                </a:lnTo>
                <a:lnTo>
                  <a:pt x="771" y="588"/>
                </a:lnTo>
                <a:lnTo>
                  <a:pt x="758" y="582"/>
                </a:lnTo>
                <a:lnTo>
                  <a:pt x="740" y="575"/>
                </a:lnTo>
                <a:lnTo>
                  <a:pt x="732" y="571"/>
                </a:lnTo>
                <a:lnTo>
                  <a:pt x="724" y="566"/>
                </a:lnTo>
                <a:lnTo>
                  <a:pt x="716" y="562"/>
                </a:lnTo>
                <a:lnTo>
                  <a:pt x="711" y="556"/>
                </a:lnTo>
                <a:lnTo>
                  <a:pt x="711" y="526"/>
                </a:lnTo>
                <a:lnTo>
                  <a:pt x="721" y="526"/>
                </a:lnTo>
                <a:lnTo>
                  <a:pt x="730" y="526"/>
                </a:lnTo>
                <a:lnTo>
                  <a:pt x="738" y="526"/>
                </a:lnTo>
                <a:lnTo>
                  <a:pt x="744" y="526"/>
                </a:lnTo>
                <a:lnTo>
                  <a:pt x="740" y="516"/>
                </a:lnTo>
                <a:lnTo>
                  <a:pt x="736" y="507"/>
                </a:lnTo>
                <a:lnTo>
                  <a:pt x="730" y="499"/>
                </a:lnTo>
                <a:lnTo>
                  <a:pt x="723" y="493"/>
                </a:lnTo>
                <a:lnTo>
                  <a:pt x="714" y="488"/>
                </a:lnTo>
                <a:lnTo>
                  <a:pt x="704" y="485"/>
                </a:lnTo>
                <a:lnTo>
                  <a:pt x="692" y="483"/>
                </a:lnTo>
                <a:lnTo>
                  <a:pt x="678" y="483"/>
                </a:lnTo>
                <a:lnTo>
                  <a:pt x="668" y="483"/>
                </a:lnTo>
                <a:lnTo>
                  <a:pt x="656" y="483"/>
                </a:lnTo>
                <a:lnTo>
                  <a:pt x="643" y="483"/>
                </a:lnTo>
                <a:lnTo>
                  <a:pt x="624" y="483"/>
                </a:lnTo>
                <a:lnTo>
                  <a:pt x="627" y="487"/>
                </a:lnTo>
                <a:lnTo>
                  <a:pt x="632" y="491"/>
                </a:lnTo>
                <a:lnTo>
                  <a:pt x="636" y="495"/>
                </a:lnTo>
                <a:lnTo>
                  <a:pt x="640" y="498"/>
                </a:lnTo>
                <a:lnTo>
                  <a:pt x="645" y="501"/>
                </a:lnTo>
                <a:lnTo>
                  <a:pt x="648" y="506"/>
                </a:lnTo>
                <a:lnTo>
                  <a:pt x="650" y="510"/>
                </a:lnTo>
                <a:lnTo>
                  <a:pt x="651" y="514"/>
                </a:lnTo>
                <a:lnTo>
                  <a:pt x="650" y="519"/>
                </a:lnTo>
                <a:lnTo>
                  <a:pt x="649" y="523"/>
                </a:lnTo>
                <a:lnTo>
                  <a:pt x="648" y="525"/>
                </a:lnTo>
                <a:lnTo>
                  <a:pt x="646" y="528"/>
                </a:lnTo>
                <a:lnTo>
                  <a:pt x="643" y="530"/>
                </a:lnTo>
                <a:lnTo>
                  <a:pt x="638" y="532"/>
                </a:lnTo>
                <a:lnTo>
                  <a:pt x="647" y="541"/>
                </a:lnTo>
                <a:lnTo>
                  <a:pt x="656" y="550"/>
                </a:lnTo>
                <a:lnTo>
                  <a:pt x="661" y="554"/>
                </a:lnTo>
                <a:lnTo>
                  <a:pt x="668" y="557"/>
                </a:lnTo>
                <a:lnTo>
                  <a:pt x="676" y="561"/>
                </a:lnTo>
                <a:lnTo>
                  <a:pt x="684" y="564"/>
                </a:lnTo>
                <a:lnTo>
                  <a:pt x="684" y="619"/>
                </a:lnTo>
                <a:lnTo>
                  <a:pt x="677" y="619"/>
                </a:lnTo>
                <a:lnTo>
                  <a:pt x="665" y="619"/>
                </a:lnTo>
                <a:lnTo>
                  <a:pt x="659" y="610"/>
                </a:lnTo>
                <a:lnTo>
                  <a:pt x="654" y="604"/>
                </a:lnTo>
                <a:lnTo>
                  <a:pt x="647" y="599"/>
                </a:lnTo>
                <a:lnTo>
                  <a:pt x="639" y="595"/>
                </a:lnTo>
                <a:lnTo>
                  <a:pt x="623" y="589"/>
                </a:lnTo>
                <a:lnTo>
                  <a:pt x="604" y="582"/>
                </a:lnTo>
                <a:lnTo>
                  <a:pt x="602" y="585"/>
                </a:lnTo>
                <a:lnTo>
                  <a:pt x="599" y="589"/>
                </a:lnTo>
                <a:lnTo>
                  <a:pt x="594" y="593"/>
                </a:lnTo>
                <a:lnTo>
                  <a:pt x="588" y="597"/>
                </a:lnTo>
                <a:lnTo>
                  <a:pt x="575" y="606"/>
                </a:lnTo>
                <a:lnTo>
                  <a:pt x="559" y="615"/>
                </a:lnTo>
                <a:lnTo>
                  <a:pt x="544" y="624"/>
                </a:lnTo>
                <a:lnTo>
                  <a:pt x="531" y="631"/>
                </a:lnTo>
                <a:lnTo>
                  <a:pt x="525" y="635"/>
                </a:lnTo>
                <a:lnTo>
                  <a:pt x="522" y="638"/>
                </a:lnTo>
                <a:lnTo>
                  <a:pt x="519" y="641"/>
                </a:lnTo>
                <a:lnTo>
                  <a:pt x="519" y="643"/>
                </a:lnTo>
                <a:lnTo>
                  <a:pt x="519" y="647"/>
                </a:lnTo>
                <a:lnTo>
                  <a:pt x="520" y="651"/>
                </a:lnTo>
                <a:lnTo>
                  <a:pt x="521" y="655"/>
                </a:lnTo>
                <a:lnTo>
                  <a:pt x="523" y="658"/>
                </a:lnTo>
                <a:lnTo>
                  <a:pt x="528" y="663"/>
                </a:lnTo>
                <a:lnTo>
                  <a:pt x="536" y="667"/>
                </a:lnTo>
                <a:lnTo>
                  <a:pt x="543" y="673"/>
                </a:lnTo>
                <a:lnTo>
                  <a:pt x="549" y="678"/>
                </a:lnTo>
                <a:lnTo>
                  <a:pt x="551" y="681"/>
                </a:lnTo>
                <a:lnTo>
                  <a:pt x="555" y="685"/>
                </a:lnTo>
                <a:lnTo>
                  <a:pt x="557" y="688"/>
                </a:lnTo>
                <a:lnTo>
                  <a:pt x="558" y="693"/>
                </a:lnTo>
                <a:lnTo>
                  <a:pt x="471" y="693"/>
                </a:lnTo>
                <a:lnTo>
                  <a:pt x="467" y="705"/>
                </a:lnTo>
                <a:lnTo>
                  <a:pt x="464" y="721"/>
                </a:lnTo>
                <a:lnTo>
                  <a:pt x="460" y="730"/>
                </a:lnTo>
                <a:lnTo>
                  <a:pt x="457" y="736"/>
                </a:lnTo>
                <a:lnTo>
                  <a:pt x="454" y="739"/>
                </a:lnTo>
                <a:lnTo>
                  <a:pt x="452" y="740"/>
                </a:lnTo>
                <a:lnTo>
                  <a:pt x="448" y="742"/>
                </a:lnTo>
                <a:lnTo>
                  <a:pt x="445" y="742"/>
                </a:lnTo>
                <a:lnTo>
                  <a:pt x="433" y="742"/>
                </a:lnTo>
                <a:lnTo>
                  <a:pt x="420" y="741"/>
                </a:lnTo>
                <a:lnTo>
                  <a:pt x="407" y="739"/>
                </a:lnTo>
                <a:lnTo>
                  <a:pt x="393" y="736"/>
                </a:lnTo>
                <a:lnTo>
                  <a:pt x="380" y="733"/>
                </a:lnTo>
                <a:lnTo>
                  <a:pt x="367" y="729"/>
                </a:lnTo>
                <a:lnTo>
                  <a:pt x="355" y="723"/>
                </a:lnTo>
                <a:lnTo>
                  <a:pt x="344" y="718"/>
                </a:lnTo>
                <a:lnTo>
                  <a:pt x="333" y="711"/>
                </a:lnTo>
                <a:lnTo>
                  <a:pt x="323" y="704"/>
                </a:lnTo>
                <a:lnTo>
                  <a:pt x="314" y="696"/>
                </a:lnTo>
                <a:lnTo>
                  <a:pt x="307" y="687"/>
                </a:lnTo>
                <a:lnTo>
                  <a:pt x="301" y="678"/>
                </a:lnTo>
                <a:lnTo>
                  <a:pt x="296" y="666"/>
                </a:lnTo>
                <a:lnTo>
                  <a:pt x="293" y="655"/>
                </a:lnTo>
                <a:lnTo>
                  <a:pt x="292" y="643"/>
                </a:lnTo>
                <a:lnTo>
                  <a:pt x="289" y="636"/>
                </a:lnTo>
                <a:lnTo>
                  <a:pt x="286" y="625"/>
                </a:lnTo>
                <a:lnTo>
                  <a:pt x="273" y="622"/>
                </a:lnTo>
                <a:lnTo>
                  <a:pt x="254" y="616"/>
                </a:lnTo>
                <a:lnTo>
                  <a:pt x="232" y="609"/>
                </a:lnTo>
                <a:lnTo>
                  <a:pt x="209" y="601"/>
                </a:lnTo>
                <a:lnTo>
                  <a:pt x="188" y="592"/>
                </a:lnTo>
                <a:lnTo>
                  <a:pt x="169" y="582"/>
                </a:lnTo>
                <a:lnTo>
                  <a:pt x="163" y="578"/>
                </a:lnTo>
                <a:lnTo>
                  <a:pt x="157" y="573"/>
                </a:lnTo>
                <a:lnTo>
                  <a:pt x="154" y="568"/>
                </a:lnTo>
                <a:lnTo>
                  <a:pt x="153" y="564"/>
                </a:lnTo>
                <a:lnTo>
                  <a:pt x="162" y="567"/>
                </a:lnTo>
                <a:lnTo>
                  <a:pt x="183" y="574"/>
                </a:lnTo>
                <a:lnTo>
                  <a:pt x="211" y="582"/>
                </a:lnTo>
                <a:lnTo>
                  <a:pt x="244" y="590"/>
                </a:lnTo>
                <a:lnTo>
                  <a:pt x="277" y="598"/>
                </a:lnTo>
                <a:lnTo>
                  <a:pt x="308" y="605"/>
                </a:lnTo>
                <a:lnTo>
                  <a:pt x="332" y="610"/>
                </a:lnTo>
                <a:lnTo>
                  <a:pt x="345" y="612"/>
                </a:lnTo>
                <a:lnTo>
                  <a:pt x="368" y="612"/>
                </a:lnTo>
                <a:lnTo>
                  <a:pt x="390" y="612"/>
                </a:lnTo>
                <a:lnTo>
                  <a:pt x="414" y="612"/>
                </a:lnTo>
                <a:lnTo>
                  <a:pt x="445" y="612"/>
                </a:lnTo>
                <a:lnTo>
                  <a:pt x="454" y="612"/>
                </a:lnTo>
                <a:lnTo>
                  <a:pt x="461" y="611"/>
                </a:lnTo>
                <a:lnTo>
                  <a:pt x="469" y="609"/>
                </a:lnTo>
                <a:lnTo>
                  <a:pt x="477" y="607"/>
                </a:lnTo>
                <a:lnTo>
                  <a:pt x="490" y="601"/>
                </a:lnTo>
                <a:lnTo>
                  <a:pt x="502" y="594"/>
                </a:lnTo>
                <a:lnTo>
                  <a:pt x="514" y="585"/>
                </a:lnTo>
                <a:lnTo>
                  <a:pt x="524" y="576"/>
                </a:lnTo>
                <a:lnTo>
                  <a:pt x="535" y="567"/>
                </a:lnTo>
                <a:lnTo>
                  <a:pt x="545" y="556"/>
                </a:lnTo>
                <a:lnTo>
                  <a:pt x="536" y="547"/>
                </a:lnTo>
                <a:lnTo>
                  <a:pt x="527" y="536"/>
                </a:lnTo>
                <a:lnTo>
                  <a:pt x="523" y="531"/>
                </a:lnTo>
                <a:lnTo>
                  <a:pt x="517" y="527"/>
                </a:lnTo>
                <a:lnTo>
                  <a:pt x="512" y="523"/>
                </a:lnTo>
                <a:lnTo>
                  <a:pt x="505" y="520"/>
                </a:lnTo>
                <a:lnTo>
                  <a:pt x="500" y="518"/>
                </a:lnTo>
                <a:lnTo>
                  <a:pt x="484" y="511"/>
                </a:lnTo>
                <a:lnTo>
                  <a:pt x="459" y="499"/>
                </a:lnTo>
                <a:lnTo>
                  <a:pt x="424" y="487"/>
                </a:lnTo>
                <a:lnTo>
                  <a:pt x="403" y="481"/>
                </a:lnTo>
                <a:lnTo>
                  <a:pt x="379" y="475"/>
                </a:lnTo>
                <a:lnTo>
                  <a:pt x="352" y="469"/>
                </a:lnTo>
                <a:lnTo>
                  <a:pt x="323" y="463"/>
                </a:lnTo>
                <a:lnTo>
                  <a:pt x="291" y="458"/>
                </a:lnTo>
                <a:lnTo>
                  <a:pt x="256" y="453"/>
                </a:lnTo>
                <a:lnTo>
                  <a:pt x="219" y="449"/>
                </a:lnTo>
                <a:lnTo>
                  <a:pt x="179" y="446"/>
                </a:lnTo>
                <a:lnTo>
                  <a:pt x="172" y="446"/>
                </a:lnTo>
                <a:lnTo>
                  <a:pt x="165" y="445"/>
                </a:lnTo>
                <a:lnTo>
                  <a:pt x="158" y="444"/>
                </a:lnTo>
                <a:lnTo>
                  <a:pt x="152" y="442"/>
                </a:lnTo>
                <a:lnTo>
                  <a:pt x="150" y="440"/>
                </a:lnTo>
                <a:lnTo>
                  <a:pt x="146" y="438"/>
                </a:lnTo>
                <a:lnTo>
                  <a:pt x="144" y="436"/>
                </a:lnTo>
                <a:lnTo>
                  <a:pt x="143" y="433"/>
                </a:lnTo>
                <a:lnTo>
                  <a:pt x="141" y="425"/>
                </a:lnTo>
                <a:lnTo>
                  <a:pt x="140" y="415"/>
                </a:lnTo>
                <a:lnTo>
                  <a:pt x="120" y="420"/>
                </a:lnTo>
                <a:lnTo>
                  <a:pt x="99" y="425"/>
                </a:lnTo>
                <a:lnTo>
                  <a:pt x="77" y="431"/>
                </a:lnTo>
                <a:lnTo>
                  <a:pt x="53" y="439"/>
                </a:lnTo>
                <a:lnTo>
                  <a:pt x="50" y="441"/>
                </a:lnTo>
                <a:lnTo>
                  <a:pt x="43" y="445"/>
                </a:lnTo>
                <a:lnTo>
                  <a:pt x="40" y="446"/>
                </a:lnTo>
                <a:lnTo>
                  <a:pt x="37" y="448"/>
                </a:lnTo>
                <a:lnTo>
                  <a:pt x="34" y="448"/>
                </a:lnTo>
                <a:lnTo>
                  <a:pt x="33" y="446"/>
                </a:lnTo>
                <a:lnTo>
                  <a:pt x="0" y="483"/>
                </a:lnTo>
                <a:lnTo>
                  <a:pt x="4" y="488"/>
                </a:lnTo>
                <a:lnTo>
                  <a:pt x="8" y="493"/>
                </a:lnTo>
                <a:lnTo>
                  <a:pt x="13" y="498"/>
                </a:lnTo>
                <a:lnTo>
                  <a:pt x="18" y="503"/>
                </a:lnTo>
                <a:lnTo>
                  <a:pt x="29" y="509"/>
                </a:lnTo>
                <a:lnTo>
                  <a:pt x="40" y="515"/>
                </a:lnTo>
                <a:lnTo>
                  <a:pt x="62" y="524"/>
                </a:lnTo>
                <a:lnTo>
                  <a:pt x="79" y="532"/>
                </a:lnTo>
                <a:lnTo>
                  <a:pt x="77" y="540"/>
                </a:lnTo>
                <a:lnTo>
                  <a:pt x="74" y="547"/>
                </a:lnTo>
                <a:lnTo>
                  <a:pt x="71" y="552"/>
                </a:lnTo>
                <a:lnTo>
                  <a:pt x="67" y="556"/>
                </a:lnTo>
                <a:lnTo>
                  <a:pt x="64" y="562"/>
                </a:lnTo>
                <a:lnTo>
                  <a:pt x="62" y="567"/>
                </a:lnTo>
                <a:lnTo>
                  <a:pt x="61" y="574"/>
                </a:lnTo>
                <a:lnTo>
                  <a:pt x="60" y="582"/>
                </a:lnTo>
                <a:lnTo>
                  <a:pt x="61" y="589"/>
                </a:lnTo>
                <a:lnTo>
                  <a:pt x="65" y="597"/>
                </a:lnTo>
                <a:lnTo>
                  <a:pt x="71" y="605"/>
                </a:lnTo>
                <a:lnTo>
                  <a:pt x="77" y="614"/>
                </a:lnTo>
                <a:lnTo>
                  <a:pt x="84" y="621"/>
                </a:lnTo>
                <a:lnTo>
                  <a:pt x="90" y="626"/>
                </a:lnTo>
                <a:lnTo>
                  <a:pt x="96" y="630"/>
                </a:lnTo>
                <a:lnTo>
                  <a:pt x="99" y="631"/>
                </a:lnTo>
                <a:lnTo>
                  <a:pt x="100" y="647"/>
                </a:lnTo>
                <a:lnTo>
                  <a:pt x="102" y="662"/>
                </a:lnTo>
                <a:lnTo>
                  <a:pt x="106" y="677"/>
                </a:lnTo>
                <a:lnTo>
                  <a:pt x="111" y="689"/>
                </a:lnTo>
                <a:lnTo>
                  <a:pt x="117" y="700"/>
                </a:lnTo>
                <a:lnTo>
                  <a:pt x="123" y="710"/>
                </a:lnTo>
                <a:lnTo>
                  <a:pt x="131" y="719"/>
                </a:lnTo>
                <a:lnTo>
                  <a:pt x="140" y="728"/>
                </a:lnTo>
                <a:lnTo>
                  <a:pt x="149" y="736"/>
                </a:lnTo>
                <a:lnTo>
                  <a:pt x="158" y="743"/>
                </a:lnTo>
                <a:lnTo>
                  <a:pt x="168" y="750"/>
                </a:lnTo>
                <a:lnTo>
                  <a:pt x="178" y="756"/>
                </a:lnTo>
                <a:lnTo>
                  <a:pt x="199" y="767"/>
                </a:lnTo>
                <a:lnTo>
                  <a:pt x="219" y="778"/>
                </a:lnTo>
                <a:lnTo>
                  <a:pt x="184" y="815"/>
                </a:lnTo>
                <a:lnTo>
                  <a:pt x="146" y="856"/>
                </a:lnTo>
                <a:lnTo>
                  <a:pt x="128" y="875"/>
                </a:lnTo>
                <a:lnTo>
                  <a:pt x="109" y="892"/>
                </a:lnTo>
                <a:lnTo>
                  <a:pt x="100" y="899"/>
                </a:lnTo>
                <a:lnTo>
                  <a:pt x="90" y="905"/>
                </a:lnTo>
                <a:lnTo>
                  <a:pt x="82" y="910"/>
                </a:lnTo>
                <a:lnTo>
                  <a:pt x="73" y="914"/>
                </a:lnTo>
                <a:lnTo>
                  <a:pt x="74" y="917"/>
                </a:lnTo>
                <a:lnTo>
                  <a:pt x="75" y="920"/>
                </a:lnTo>
                <a:lnTo>
                  <a:pt x="77" y="923"/>
                </a:lnTo>
                <a:lnTo>
                  <a:pt x="80" y="926"/>
                </a:lnTo>
                <a:lnTo>
                  <a:pt x="88" y="934"/>
                </a:lnTo>
                <a:lnTo>
                  <a:pt x="96" y="942"/>
                </a:lnTo>
                <a:lnTo>
                  <a:pt x="105" y="951"/>
                </a:lnTo>
                <a:lnTo>
                  <a:pt x="112" y="958"/>
                </a:lnTo>
                <a:lnTo>
                  <a:pt x="118" y="965"/>
                </a:lnTo>
                <a:lnTo>
                  <a:pt x="120" y="970"/>
                </a:lnTo>
                <a:lnTo>
                  <a:pt x="116" y="976"/>
                </a:lnTo>
                <a:lnTo>
                  <a:pt x="112" y="981"/>
                </a:lnTo>
                <a:lnTo>
                  <a:pt x="110" y="987"/>
                </a:lnTo>
                <a:lnTo>
                  <a:pt x="109" y="993"/>
                </a:lnTo>
                <a:lnTo>
                  <a:pt x="109" y="1005"/>
                </a:lnTo>
                <a:lnTo>
                  <a:pt x="111" y="1017"/>
                </a:lnTo>
                <a:lnTo>
                  <a:pt x="113" y="1029"/>
                </a:lnTo>
                <a:lnTo>
                  <a:pt x="116" y="1042"/>
                </a:lnTo>
                <a:lnTo>
                  <a:pt x="117" y="1048"/>
                </a:lnTo>
                <a:lnTo>
                  <a:pt x="116" y="1054"/>
                </a:lnTo>
                <a:lnTo>
                  <a:pt x="114" y="1062"/>
                </a:lnTo>
                <a:lnTo>
                  <a:pt x="113" y="1069"/>
                </a:lnTo>
                <a:lnTo>
                  <a:pt x="120" y="1090"/>
                </a:lnTo>
                <a:lnTo>
                  <a:pt x="130" y="1115"/>
                </a:lnTo>
                <a:lnTo>
                  <a:pt x="142" y="1139"/>
                </a:lnTo>
                <a:lnTo>
                  <a:pt x="153" y="1160"/>
                </a:lnTo>
                <a:lnTo>
                  <a:pt x="192" y="1180"/>
                </a:lnTo>
                <a:lnTo>
                  <a:pt x="232" y="1180"/>
                </a:lnTo>
                <a:lnTo>
                  <a:pt x="240" y="1204"/>
                </a:lnTo>
                <a:lnTo>
                  <a:pt x="279" y="1192"/>
                </a:lnTo>
                <a:lnTo>
                  <a:pt x="312" y="1204"/>
                </a:lnTo>
                <a:lnTo>
                  <a:pt x="319" y="1253"/>
                </a:lnTo>
                <a:lnTo>
                  <a:pt x="365" y="1291"/>
                </a:lnTo>
                <a:lnTo>
                  <a:pt x="399" y="1309"/>
                </a:lnTo>
                <a:lnTo>
                  <a:pt x="425" y="1327"/>
                </a:lnTo>
                <a:lnTo>
                  <a:pt x="399" y="1346"/>
                </a:lnTo>
                <a:lnTo>
                  <a:pt x="352" y="1333"/>
                </a:lnTo>
                <a:lnTo>
                  <a:pt x="358" y="1358"/>
                </a:lnTo>
                <a:lnTo>
                  <a:pt x="373" y="1370"/>
                </a:lnTo>
                <a:lnTo>
                  <a:pt x="373" y="1401"/>
                </a:lnTo>
                <a:lnTo>
                  <a:pt x="365" y="140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071" name="Freeform 23"/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5319714" y="2274888"/>
            <a:ext cx="280987" cy="247650"/>
          </a:xfrm>
          <a:custGeom>
            <a:avLst/>
            <a:gdLst>
              <a:gd name="T0" fmla="*/ 406 w 647"/>
              <a:gd name="T1" fmla="*/ 27 h 470"/>
              <a:gd name="T2" fmla="*/ 428 w 647"/>
              <a:gd name="T3" fmla="*/ 45 h 470"/>
              <a:gd name="T4" fmla="*/ 458 w 647"/>
              <a:gd name="T5" fmla="*/ 60 h 470"/>
              <a:gd name="T6" fmla="*/ 512 w 647"/>
              <a:gd name="T7" fmla="*/ 78 h 470"/>
              <a:gd name="T8" fmla="*/ 538 w 647"/>
              <a:gd name="T9" fmla="*/ 81 h 470"/>
              <a:gd name="T10" fmla="*/ 562 w 647"/>
              <a:gd name="T11" fmla="*/ 99 h 470"/>
              <a:gd name="T12" fmla="*/ 567 w 647"/>
              <a:gd name="T13" fmla="*/ 97 h 470"/>
              <a:gd name="T14" fmla="*/ 575 w 647"/>
              <a:gd name="T15" fmla="*/ 85 h 470"/>
              <a:gd name="T16" fmla="*/ 583 w 647"/>
              <a:gd name="T17" fmla="*/ 78 h 470"/>
              <a:gd name="T18" fmla="*/ 603 w 647"/>
              <a:gd name="T19" fmla="*/ 80 h 470"/>
              <a:gd name="T20" fmla="*/ 624 w 647"/>
              <a:gd name="T21" fmla="*/ 79 h 470"/>
              <a:gd name="T22" fmla="*/ 640 w 647"/>
              <a:gd name="T23" fmla="*/ 84 h 470"/>
              <a:gd name="T24" fmla="*/ 646 w 647"/>
              <a:gd name="T25" fmla="*/ 103 h 470"/>
              <a:gd name="T26" fmla="*/ 646 w 647"/>
              <a:gd name="T27" fmla="*/ 123 h 470"/>
              <a:gd name="T28" fmla="*/ 618 w 647"/>
              <a:gd name="T29" fmla="*/ 131 h 470"/>
              <a:gd name="T30" fmla="*/ 586 w 647"/>
              <a:gd name="T31" fmla="*/ 146 h 470"/>
              <a:gd name="T32" fmla="*/ 560 w 647"/>
              <a:gd name="T33" fmla="*/ 165 h 470"/>
              <a:gd name="T34" fmla="*/ 504 w 647"/>
              <a:gd name="T35" fmla="*/ 214 h 470"/>
              <a:gd name="T36" fmla="*/ 489 w 647"/>
              <a:gd name="T37" fmla="*/ 227 h 470"/>
              <a:gd name="T38" fmla="*/ 474 w 647"/>
              <a:gd name="T39" fmla="*/ 254 h 470"/>
              <a:gd name="T40" fmla="*/ 473 w 647"/>
              <a:gd name="T41" fmla="*/ 282 h 470"/>
              <a:gd name="T42" fmla="*/ 473 w 647"/>
              <a:gd name="T43" fmla="*/ 311 h 470"/>
              <a:gd name="T44" fmla="*/ 463 w 647"/>
              <a:gd name="T45" fmla="*/ 340 h 470"/>
              <a:gd name="T46" fmla="*/ 450 w 647"/>
              <a:gd name="T47" fmla="*/ 354 h 470"/>
              <a:gd name="T48" fmla="*/ 411 w 647"/>
              <a:gd name="T49" fmla="*/ 384 h 470"/>
              <a:gd name="T50" fmla="*/ 383 w 647"/>
              <a:gd name="T51" fmla="*/ 411 h 470"/>
              <a:gd name="T52" fmla="*/ 374 w 647"/>
              <a:gd name="T53" fmla="*/ 425 h 470"/>
              <a:gd name="T54" fmla="*/ 369 w 647"/>
              <a:gd name="T55" fmla="*/ 432 h 470"/>
              <a:gd name="T56" fmla="*/ 310 w 647"/>
              <a:gd name="T57" fmla="*/ 429 h 470"/>
              <a:gd name="T58" fmla="*/ 257 w 647"/>
              <a:gd name="T59" fmla="*/ 434 h 470"/>
              <a:gd name="T60" fmla="*/ 224 w 647"/>
              <a:gd name="T61" fmla="*/ 446 h 470"/>
              <a:gd name="T62" fmla="*/ 193 w 647"/>
              <a:gd name="T63" fmla="*/ 467 h 470"/>
              <a:gd name="T64" fmla="*/ 179 w 647"/>
              <a:gd name="T65" fmla="*/ 469 h 470"/>
              <a:gd name="T66" fmla="*/ 169 w 647"/>
              <a:gd name="T67" fmla="*/ 461 h 470"/>
              <a:gd name="T68" fmla="*/ 153 w 647"/>
              <a:gd name="T69" fmla="*/ 432 h 470"/>
              <a:gd name="T70" fmla="*/ 140 w 647"/>
              <a:gd name="T71" fmla="*/ 414 h 470"/>
              <a:gd name="T72" fmla="*/ 122 w 647"/>
              <a:gd name="T73" fmla="*/ 400 h 470"/>
              <a:gd name="T74" fmla="*/ 114 w 647"/>
              <a:gd name="T75" fmla="*/ 379 h 470"/>
              <a:gd name="T76" fmla="*/ 126 w 647"/>
              <a:gd name="T77" fmla="*/ 336 h 470"/>
              <a:gd name="T78" fmla="*/ 127 w 647"/>
              <a:gd name="T79" fmla="*/ 267 h 470"/>
              <a:gd name="T80" fmla="*/ 147 w 647"/>
              <a:gd name="T81" fmla="*/ 206 h 470"/>
              <a:gd name="T82" fmla="*/ 168 w 647"/>
              <a:gd name="T83" fmla="*/ 149 h 470"/>
              <a:gd name="T84" fmla="*/ 172 w 647"/>
              <a:gd name="T85" fmla="*/ 131 h 470"/>
              <a:gd name="T86" fmla="*/ 116 w 647"/>
              <a:gd name="T87" fmla="*/ 123 h 470"/>
              <a:gd name="T88" fmla="*/ 62 w 647"/>
              <a:gd name="T89" fmla="*/ 109 h 470"/>
              <a:gd name="T90" fmla="*/ 17 w 647"/>
              <a:gd name="T91" fmla="*/ 93 h 470"/>
              <a:gd name="T92" fmla="*/ 0 w 647"/>
              <a:gd name="T93" fmla="*/ 38 h 470"/>
              <a:gd name="T94" fmla="*/ 23 w 647"/>
              <a:gd name="T95" fmla="*/ 34 h 470"/>
              <a:gd name="T96" fmla="*/ 51 w 647"/>
              <a:gd name="T97" fmla="*/ 20 h 470"/>
              <a:gd name="T98" fmla="*/ 73 w 647"/>
              <a:gd name="T99" fmla="*/ 4 h 470"/>
              <a:gd name="T100" fmla="*/ 86 w 647"/>
              <a:gd name="T101" fmla="*/ 0 h 470"/>
              <a:gd name="T102" fmla="*/ 132 w 647"/>
              <a:gd name="T103" fmla="*/ 7 h 470"/>
              <a:gd name="T104" fmla="*/ 171 w 647"/>
              <a:gd name="T105" fmla="*/ 17 h 470"/>
              <a:gd name="T106" fmla="*/ 209 w 647"/>
              <a:gd name="T107" fmla="*/ 20 h 470"/>
              <a:gd name="T108" fmla="*/ 235 w 647"/>
              <a:gd name="T109" fmla="*/ 29 h 470"/>
              <a:gd name="T110" fmla="*/ 258 w 647"/>
              <a:gd name="T111" fmla="*/ 37 h 470"/>
              <a:gd name="T112" fmla="*/ 385 w 647"/>
              <a:gd name="T113" fmla="*/ 26 h 4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47" h="470">
                <a:moveTo>
                  <a:pt x="399" y="14"/>
                </a:moveTo>
                <a:lnTo>
                  <a:pt x="402" y="20"/>
                </a:lnTo>
                <a:lnTo>
                  <a:pt x="406" y="27"/>
                </a:lnTo>
                <a:lnTo>
                  <a:pt x="413" y="33"/>
                </a:lnTo>
                <a:lnTo>
                  <a:pt x="421" y="39"/>
                </a:lnTo>
                <a:lnTo>
                  <a:pt x="428" y="45"/>
                </a:lnTo>
                <a:lnTo>
                  <a:pt x="438" y="51"/>
                </a:lnTo>
                <a:lnTo>
                  <a:pt x="448" y="56"/>
                </a:lnTo>
                <a:lnTo>
                  <a:pt x="458" y="60"/>
                </a:lnTo>
                <a:lnTo>
                  <a:pt x="480" y="70"/>
                </a:lnTo>
                <a:lnTo>
                  <a:pt x="501" y="76"/>
                </a:lnTo>
                <a:lnTo>
                  <a:pt x="512" y="78"/>
                </a:lnTo>
                <a:lnTo>
                  <a:pt x="521" y="80"/>
                </a:lnTo>
                <a:lnTo>
                  <a:pt x="530" y="81"/>
                </a:lnTo>
                <a:lnTo>
                  <a:pt x="538" y="81"/>
                </a:lnTo>
                <a:lnTo>
                  <a:pt x="548" y="88"/>
                </a:lnTo>
                <a:lnTo>
                  <a:pt x="561" y="99"/>
                </a:lnTo>
                <a:lnTo>
                  <a:pt x="562" y="99"/>
                </a:lnTo>
                <a:lnTo>
                  <a:pt x="564" y="99"/>
                </a:lnTo>
                <a:lnTo>
                  <a:pt x="566" y="98"/>
                </a:lnTo>
                <a:lnTo>
                  <a:pt x="567" y="97"/>
                </a:lnTo>
                <a:lnTo>
                  <a:pt x="570" y="93"/>
                </a:lnTo>
                <a:lnTo>
                  <a:pt x="572" y="89"/>
                </a:lnTo>
                <a:lnTo>
                  <a:pt x="575" y="85"/>
                </a:lnTo>
                <a:lnTo>
                  <a:pt x="578" y="81"/>
                </a:lnTo>
                <a:lnTo>
                  <a:pt x="580" y="79"/>
                </a:lnTo>
                <a:lnTo>
                  <a:pt x="583" y="78"/>
                </a:lnTo>
                <a:lnTo>
                  <a:pt x="590" y="80"/>
                </a:lnTo>
                <a:lnTo>
                  <a:pt x="596" y="80"/>
                </a:lnTo>
                <a:lnTo>
                  <a:pt x="603" y="80"/>
                </a:lnTo>
                <a:lnTo>
                  <a:pt x="609" y="80"/>
                </a:lnTo>
                <a:lnTo>
                  <a:pt x="617" y="79"/>
                </a:lnTo>
                <a:lnTo>
                  <a:pt x="624" y="79"/>
                </a:lnTo>
                <a:lnTo>
                  <a:pt x="631" y="80"/>
                </a:lnTo>
                <a:lnTo>
                  <a:pt x="638" y="81"/>
                </a:lnTo>
                <a:lnTo>
                  <a:pt x="640" y="84"/>
                </a:lnTo>
                <a:lnTo>
                  <a:pt x="642" y="89"/>
                </a:lnTo>
                <a:lnTo>
                  <a:pt x="645" y="95"/>
                </a:lnTo>
                <a:lnTo>
                  <a:pt x="646" y="103"/>
                </a:lnTo>
                <a:lnTo>
                  <a:pt x="647" y="111"/>
                </a:lnTo>
                <a:lnTo>
                  <a:pt x="647" y="118"/>
                </a:lnTo>
                <a:lnTo>
                  <a:pt x="646" y="123"/>
                </a:lnTo>
                <a:lnTo>
                  <a:pt x="645" y="124"/>
                </a:lnTo>
                <a:lnTo>
                  <a:pt x="631" y="127"/>
                </a:lnTo>
                <a:lnTo>
                  <a:pt x="618" y="131"/>
                </a:lnTo>
                <a:lnTo>
                  <a:pt x="607" y="135"/>
                </a:lnTo>
                <a:lnTo>
                  <a:pt x="596" y="140"/>
                </a:lnTo>
                <a:lnTo>
                  <a:pt x="586" y="146"/>
                </a:lnTo>
                <a:lnTo>
                  <a:pt x="577" y="152"/>
                </a:lnTo>
                <a:lnTo>
                  <a:pt x="569" y="158"/>
                </a:lnTo>
                <a:lnTo>
                  <a:pt x="560" y="165"/>
                </a:lnTo>
                <a:lnTo>
                  <a:pt x="533" y="191"/>
                </a:lnTo>
                <a:lnTo>
                  <a:pt x="512" y="210"/>
                </a:lnTo>
                <a:lnTo>
                  <a:pt x="504" y="214"/>
                </a:lnTo>
                <a:lnTo>
                  <a:pt x="499" y="218"/>
                </a:lnTo>
                <a:lnTo>
                  <a:pt x="493" y="222"/>
                </a:lnTo>
                <a:lnTo>
                  <a:pt x="489" y="227"/>
                </a:lnTo>
                <a:lnTo>
                  <a:pt x="481" y="236"/>
                </a:lnTo>
                <a:lnTo>
                  <a:pt x="477" y="245"/>
                </a:lnTo>
                <a:lnTo>
                  <a:pt x="474" y="254"/>
                </a:lnTo>
                <a:lnTo>
                  <a:pt x="473" y="263"/>
                </a:lnTo>
                <a:lnTo>
                  <a:pt x="472" y="272"/>
                </a:lnTo>
                <a:lnTo>
                  <a:pt x="473" y="282"/>
                </a:lnTo>
                <a:lnTo>
                  <a:pt x="473" y="292"/>
                </a:lnTo>
                <a:lnTo>
                  <a:pt x="474" y="301"/>
                </a:lnTo>
                <a:lnTo>
                  <a:pt x="473" y="311"/>
                </a:lnTo>
                <a:lnTo>
                  <a:pt x="472" y="320"/>
                </a:lnTo>
                <a:lnTo>
                  <a:pt x="469" y="330"/>
                </a:lnTo>
                <a:lnTo>
                  <a:pt x="463" y="340"/>
                </a:lnTo>
                <a:lnTo>
                  <a:pt x="460" y="345"/>
                </a:lnTo>
                <a:lnTo>
                  <a:pt x="456" y="349"/>
                </a:lnTo>
                <a:lnTo>
                  <a:pt x="450" y="354"/>
                </a:lnTo>
                <a:lnTo>
                  <a:pt x="445" y="358"/>
                </a:lnTo>
                <a:lnTo>
                  <a:pt x="426" y="372"/>
                </a:lnTo>
                <a:lnTo>
                  <a:pt x="411" y="384"/>
                </a:lnTo>
                <a:lnTo>
                  <a:pt x="399" y="394"/>
                </a:lnTo>
                <a:lnTo>
                  <a:pt x="390" y="404"/>
                </a:lnTo>
                <a:lnTo>
                  <a:pt x="383" y="411"/>
                </a:lnTo>
                <a:lnTo>
                  <a:pt x="379" y="417"/>
                </a:lnTo>
                <a:lnTo>
                  <a:pt x="376" y="422"/>
                </a:lnTo>
                <a:lnTo>
                  <a:pt x="374" y="425"/>
                </a:lnTo>
                <a:lnTo>
                  <a:pt x="373" y="430"/>
                </a:lnTo>
                <a:lnTo>
                  <a:pt x="373" y="432"/>
                </a:lnTo>
                <a:lnTo>
                  <a:pt x="369" y="432"/>
                </a:lnTo>
                <a:lnTo>
                  <a:pt x="358" y="432"/>
                </a:lnTo>
                <a:lnTo>
                  <a:pt x="333" y="430"/>
                </a:lnTo>
                <a:lnTo>
                  <a:pt x="310" y="429"/>
                </a:lnTo>
                <a:lnTo>
                  <a:pt x="290" y="429"/>
                </a:lnTo>
                <a:lnTo>
                  <a:pt x="272" y="431"/>
                </a:lnTo>
                <a:lnTo>
                  <a:pt x="257" y="434"/>
                </a:lnTo>
                <a:lnTo>
                  <a:pt x="245" y="437"/>
                </a:lnTo>
                <a:lnTo>
                  <a:pt x="234" y="441"/>
                </a:lnTo>
                <a:lnTo>
                  <a:pt x="224" y="446"/>
                </a:lnTo>
                <a:lnTo>
                  <a:pt x="209" y="456"/>
                </a:lnTo>
                <a:lnTo>
                  <a:pt x="198" y="464"/>
                </a:lnTo>
                <a:lnTo>
                  <a:pt x="193" y="467"/>
                </a:lnTo>
                <a:lnTo>
                  <a:pt x="189" y="469"/>
                </a:lnTo>
                <a:lnTo>
                  <a:pt x="183" y="470"/>
                </a:lnTo>
                <a:lnTo>
                  <a:pt x="179" y="469"/>
                </a:lnTo>
                <a:lnTo>
                  <a:pt x="176" y="468"/>
                </a:lnTo>
                <a:lnTo>
                  <a:pt x="172" y="465"/>
                </a:lnTo>
                <a:lnTo>
                  <a:pt x="169" y="461"/>
                </a:lnTo>
                <a:lnTo>
                  <a:pt x="166" y="456"/>
                </a:lnTo>
                <a:lnTo>
                  <a:pt x="159" y="444"/>
                </a:lnTo>
                <a:lnTo>
                  <a:pt x="153" y="432"/>
                </a:lnTo>
                <a:lnTo>
                  <a:pt x="148" y="426"/>
                </a:lnTo>
                <a:lnTo>
                  <a:pt x="144" y="420"/>
                </a:lnTo>
                <a:lnTo>
                  <a:pt x="140" y="414"/>
                </a:lnTo>
                <a:lnTo>
                  <a:pt x="134" y="409"/>
                </a:lnTo>
                <a:lnTo>
                  <a:pt x="129" y="404"/>
                </a:lnTo>
                <a:lnTo>
                  <a:pt x="122" y="400"/>
                </a:lnTo>
                <a:lnTo>
                  <a:pt x="114" y="397"/>
                </a:lnTo>
                <a:lnTo>
                  <a:pt x="107" y="396"/>
                </a:lnTo>
                <a:lnTo>
                  <a:pt x="114" y="379"/>
                </a:lnTo>
                <a:lnTo>
                  <a:pt x="121" y="365"/>
                </a:lnTo>
                <a:lnTo>
                  <a:pt x="124" y="351"/>
                </a:lnTo>
                <a:lnTo>
                  <a:pt x="126" y="336"/>
                </a:lnTo>
                <a:lnTo>
                  <a:pt x="126" y="309"/>
                </a:lnTo>
                <a:lnTo>
                  <a:pt x="126" y="278"/>
                </a:lnTo>
                <a:lnTo>
                  <a:pt x="127" y="267"/>
                </a:lnTo>
                <a:lnTo>
                  <a:pt x="132" y="250"/>
                </a:lnTo>
                <a:lnTo>
                  <a:pt x="138" y="229"/>
                </a:lnTo>
                <a:lnTo>
                  <a:pt x="147" y="206"/>
                </a:lnTo>
                <a:lnTo>
                  <a:pt x="155" y="184"/>
                </a:lnTo>
                <a:lnTo>
                  <a:pt x="163" y="163"/>
                </a:lnTo>
                <a:lnTo>
                  <a:pt x="168" y="149"/>
                </a:lnTo>
                <a:lnTo>
                  <a:pt x="172" y="143"/>
                </a:lnTo>
                <a:lnTo>
                  <a:pt x="172" y="137"/>
                </a:lnTo>
                <a:lnTo>
                  <a:pt x="172" y="131"/>
                </a:lnTo>
                <a:lnTo>
                  <a:pt x="153" y="130"/>
                </a:lnTo>
                <a:lnTo>
                  <a:pt x="135" y="127"/>
                </a:lnTo>
                <a:lnTo>
                  <a:pt x="116" y="123"/>
                </a:lnTo>
                <a:lnTo>
                  <a:pt x="99" y="118"/>
                </a:lnTo>
                <a:lnTo>
                  <a:pt x="80" y="113"/>
                </a:lnTo>
                <a:lnTo>
                  <a:pt x="62" y="109"/>
                </a:lnTo>
                <a:lnTo>
                  <a:pt x="42" y="106"/>
                </a:lnTo>
                <a:lnTo>
                  <a:pt x="20" y="105"/>
                </a:lnTo>
                <a:lnTo>
                  <a:pt x="17" y="93"/>
                </a:lnTo>
                <a:lnTo>
                  <a:pt x="10" y="72"/>
                </a:lnTo>
                <a:lnTo>
                  <a:pt x="3" y="50"/>
                </a:lnTo>
                <a:lnTo>
                  <a:pt x="0" y="38"/>
                </a:lnTo>
                <a:lnTo>
                  <a:pt x="8" y="37"/>
                </a:lnTo>
                <a:lnTo>
                  <a:pt x="15" y="36"/>
                </a:lnTo>
                <a:lnTo>
                  <a:pt x="23" y="34"/>
                </a:lnTo>
                <a:lnTo>
                  <a:pt x="29" y="32"/>
                </a:lnTo>
                <a:lnTo>
                  <a:pt x="41" y="26"/>
                </a:lnTo>
                <a:lnTo>
                  <a:pt x="51" y="20"/>
                </a:lnTo>
                <a:lnTo>
                  <a:pt x="59" y="13"/>
                </a:lnTo>
                <a:lnTo>
                  <a:pt x="68" y="7"/>
                </a:lnTo>
                <a:lnTo>
                  <a:pt x="73" y="4"/>
                </a:lnTo>
                <a:lnTo>
                  <a:pt x="77" y="2"/>
                </a:lnTo>
                <a:lnTo>
                  <a:pt x="81" y="1"/>
                </a:lnTo>
                <a:lnTo>
                  <a:pt x="86" y="0"/>
                </a:lnTo>
                <a:lnTo>
                  <a:pt x="102" y="1"/>
                </a:lnTo>
                <a:lnTo>
                  <a:pt x="118" y="3"/>
                </a:lnTo>
                <a:lnTo>
                  <a:pt x="132" y="7"/>
                </a:lnTo>
                <a:lnTo>
                  <a:pt x="145" y="11"/>
                </a:lnTo>
                <a:lnTo>
                  <a:pt x="158" y="14"/>
                </a:lnTo>
                <a:lnTo>
                  <a:pt x="171" y="17"/>
                </a:lnTo>
                <a:lnTo>
                  <a:pt x="185" y="19"/>
                </a:lnTo>
                <a:lnTo>
                  <a:pt x="199" y="20"/>
                </a:lnTo>
                <a:lnTo>
                  <a:pt x="209" y="20"/>
                </a:lnTo>
                <a:lnTo>
                  <a:pt x="217" y="22"/>
                </a:lnTo>
                <a:lnTo>
                  <a:pt x="226" y="25"/>
                </a:lnTo>
                <a:lnTo>
                  <a:pt x="235" y="29"/>
                </a:lnTo>
                <a:lnTo>
                  <a:pt x="243" y="32"/>
                </a:lnTo>
                <a:lnTo>
                  <a:pt x="250" y="35"/>
                </a:lnTo>
                <a:lnTo>
                  <a:pt x="258" y="37"/>
                </a:lnTo>
                <a:lnTo>
                  <a:pt x="266" y="38"/>
                </a:lnTo>
                <a:lnTo>
                  <a:pt x="372" y="38"/>
                </a:lnTo>
                <a:lnTo>
                  <a:pt x="385" y="26"/>
                </a:lnTo>
                <a:lnTo>
                  <a:pt x="399" y="1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072" name="Freeform 24"/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7951788" y="3013076"/>
            <a:ext cx="207962" cy="455613"/>
          </a:xfrm>
          <a:custGeom>
            <a:avLst/>
            <a:gdLst>
              <a:gd name="T0" fmla="*/ 379 w 479"/>
              <a:gd name="T1" fmla="*/ 357 h 868"/>
              <a:gd name="T2" fmla="*/ 333 w 479"/>
              <a:gd name="T3" fmla="*/ 370 h 868"/>
              <a:gd name="T4" fmla="*/ 314 w 479"/>
              <a:gd name="T5" fmla="*/ 390 h 868"/>
              <a:gd name="T6" fmla="*/ 316 w 479"/>
              <a:gd name="T7" fmla="*/ 428 h 868"/>
              <a:gd name="T8" fmla="*/ 352 w 479"/>
              <a:gd name="T9" fmla="*/ 492 h 868"/>
              <a:gd name="T10" fmla="*/ 359 w 479"/>
              <a:gd name="T11" fmla="*/ 530 h 868"/>
              <a:gd name="T12" fmla="*/ 366 w 479"/>
              <a:gd name="T13" fmla="*/ 555 h 868"/>
              <a:gd name="T14" fmla="*/ 323 w 479"/>
              <a:gd name="T15" fmla="*/ 526 h 868"/>
              <a:gd name="T16" fmla="*/ 309 w 479"/>
              <a:gd name="T17" fmla="*/ 492 h 868"/>
              <a:gd name="T18" fmla="*/ 269 w 479"/>
              <a:gd name="T19" fmla="*/ 467 h 868"/>
              <a:gd name="T20" fmla="*/ 210 w 479"/>
              <a:gd name="T21" fmla="*/ 439 h 868"/>
              <a:gd name="T22" fmla="*/ 193 w 479"/>
              <a:gd name="T23" fmla="*/ 406 h 868"/>
              <a:gd name="T24" fmla="*/ 156 w 479"/>
              <a:gd name="T25" fmla="*/ 477 h 868"/>
              <a:gd name="T26" fmla="*/ 156 w 479"/>
              <a:gd name="T27" fmla="*/ 524 h 868"/>
              <a:gd name="T28" fmla="*/ 132 w 479"/>
              <a:gd name="T29" fmla="*/ 575 h 868"/>
              <a:gd name="T30" fmla="*/ 128 w 479"/>
              <a:gd name="T31" fmla="*/ 621 h 868"/>
              <a:gd name="T32" fmla="*/ 154 w 479"/>
              <a:gd name="T33" fmla="*/ 650 h 868"/>
              <a:gd name="T34" fmla="*/ 175 w 479"/>
              <a:gd name="T35" fmla="*/ 685 h 868"/>
              <a:gd name="T36" fmla="*/ 185 w 479"/>
              <a:gd name="T37" fmla="*/ 730 h 868"/>
              <a:gd name="T38" fmla="*/ 226 w 479"/>
              <a:gd name="T39" fmla="*/ 780 h 868"/>
              <a:gd name="T40" fmla="*/ 281 w 479"/>
              <a:gd name="T41" fmla="*/ 825 h 868"/>
              <a:gd name="T42" fmla="*/ 340 w 479"/>
              <a:gd name="T43" fmla="*/ 850 h 868"/>
              <a:gd name="T44" fmla="*/ 298 w 479"/>
              <a:gd name="T45" fmla="*/ 867 h 868"/>
              <a:gd name="T46" fmla="*/ 269 w 479"/>
              <a:gd name="T47" fmla="*/ 864 h 868"/>
              <a:gd name="T48" fmla="*/ 229 w 479"/>
              <a:gd name="T49" fmla="*/ 841 h 868"/>
              <a:gd name="T50" fmla="*/ 200 w 479"/>
              <a:gd name="T51" fmla="*/ 823 h 868"/>
              <a:gd name="T52" fmla="*/ 137 w 479"/>
              <a:gd name="T53" fmla="*/ 759 h 868"/>
              <a:gd name="T54" fmla="*/ 83 w 479"/>
              <a:gd name="T55" fmla="*/ 730 h 868"/>
              <a:gd name="T56" fmla="*/ 74 w 479"/>
              <a:gd name="T57" fmla="*/ 688 h 868"/>
              <a:gd name="T58" fmla="*/ 80 w 479"/>
              <a:gd name="T59" fmla="*/ 653 h 868"/>
              <a:gd name="T60" fmla="*/ 88 w 479"/>
              <a:gd name="T61" fmla="*/ 617 h 868"/>
              <a:gd name="T62" fmla="*/ 120 w 479"/>
              <a:gd name="T63" fmla="*/ 498 h 868"/>
              <a:gd name="T64" fmla="*/ 108 w 479"/>
              <a:gd name="T65" fmla="*/ 404 h 868"/>
              <a:gd name="T66" fmla="*/ 62 w 479"/>
              <a:gd name="T67" fmla="*/ 319 h 868"/>
              <a:gd name="T68" fmla="*/ 64 w 479"/>
              <a:gd name="T69" fmla="*/ 285 h 868"/>
              <a:gd name="T70" fmla="*/ 74 w 479"/>
              <a:gd name="T71" fmla="*/ 265 h 868"/>
              <a:gd name="T72" fmla="*/ 56 w 479"/>
              <a:gd name="T73" fmla="*/ 202 h 868"/>
              <a:gd name="T74" fmla="*/ 23 w 479"/>
              <a:gd name="T75" fmla="*/ 158 h 868"/>
              <a:gd name="T76" fmla="*/ 1 w 479"/>
              <a:gd name="T77" fmla="*/ 102 h 868"/>
              <a:gd name="T78" fmla="*/ 11 w 479"/>
              <a:gd name="T79" fmla="*/ 44 h 868"/>
              <a:gd name="T80" fmla="*/ 49 w 479"/>
              <a:gd name="T81" fmla="*/ 16 h 868"/>
              <a:gd name="T82" fmla="*/ 120 w 479"/>
              <a:gd name="T83" fmla="*/ 0 h 868"/>
              <a:gd name="T84" fmla="*/ 156 w 479"/>
              <a:gd name="T85" fmla="*/ 28 h 868"/>
              <a:gd name="T86" fmla="*/ 179 w 479"/>
              <a:gd name="T87" fmla="*/ 36 h 868"/>
              <a:gd name="T88" fmla="*/ 197 w 479"/>
              <a:gd name="T89" fmla="*/ 136 h 868"/>
              <a:gd name="T90" fmla="*/ 213 w 479"/>
              <a:gd name="T91" fmla="*/ 166 h 868"/>
              <a:gd name="T92" fmla="*/ 231 w 479"/>
              <a:gd name="T93" fmla="*/ 155 h 868"/>
              <a:gd name="T94" fmla="*/ 258 w 479"/>
              <a:gd name="T95" fmla="*/ 126 h 868"/>
              <a:gd name="T96" fmla="*/ 281 w 479"/>
              <a:gd name="T97" fmla="*/ 141 h 868"/>
              <a:gd name="T98" fmla="*/ 298 w 479"/>
              <a:gd name="T99" fmla="*/ 136 h 868"/>
              <a:gd name="T100" fmla="*/ 316 w 479"/>
              <a:gd name="T101" fmla="*/ 108 h 868"/>
              <a:gd name="T102" fmla="*/ 346 w 479"/>
              <a:gd name="T103" fmla="*/ 108 h 868"/>
              <a:gd name="T104" fmla="*/ 387 w 479"/>
              <a:gd name="T105" fmla="*/ 157 h 868"/>
              <a:gd name="T106" fmla="*/ 454 w 479"/>
              <a:gd name="T107" fmla="*/ 246 h 868"/>
              <a:gd name="T108" fmla="*/ 478 w 479"/>
              <a:gd name="T109" fmla="*/ 307 h 868"/>
              <a:gd name="T110" fmla="*/ 468 w 479"/>
              <a:gd name="T111" fmla="*/ 338 h 8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479" h="868">
                <a:moveTo>
                  <a:pt x="445" y="357"/>
                </a:moveTo>
                <a:lnTo>
                  <a:pt x="425" y="357"/>
                </a:lnTo>
                <a:lnTo>
                  <a:pt x="408" y="357"/>
                </a:lnTo>
                <a:lnTo>
                  <a:pt x="391" y="357"/>
                </a:lnTo>
                <a:lnTo>
                  <a:pt x="379" y="357"/>
                </a:lnTo>
                <a:lnTo>
                  <a:pt x="370" y="358"/>
                </a:lnTo>
                <a:lnTo>
                  <a:pt x="360" y="359"/>
                </a:lnTo>
                <a:lnTo>
                  <a:pt x="349" y="362"/>
                </a:lnTo>
                <a:lnTo>
                  <a:pt x="338" y="367"/>
                </a:lnTo>
                <a:lnTo>
                  <a:pt x="333" y="370"/>
                </a:lnTo>
                <a:lnTo>
                  <a:pt x="329" y="374"/>
                </a:lnTo>
                <a:lnTo>
                  <a:pt x="324" y="377"/>
                </a:lnTo>
                <a:lnTo>
                  <a:pt x="320" y="381"/>
                </a:lnTo>
                <a:lnTo>
                  <a:pt x="316" y="385"/>
                </a:lnTo>
                <a:lnTo>
                  <a:pt x="314" y="390"/>
                </a:lnTo>
                <a:lnTo>
                  <a:pt x="313" y="395"/>
                </a:lnTo>
                <a:lnTo>
                  <a:pt x="312" y="400"/>
                </a:lnTo>
                <a:lnTo>
                  <a:pt x="313" y="410"/>
                </a:lnTo>
                <a:lnTo>
                  <a:pt x="314" y="419"/>
                </a:lnTo>
                <a:lnTo>
                  <a:pt x="316" y="428"/>
                </a:lnTo>
                <a:lnTo>
                  <a:pt x="320" y="436"/>
                </a:lnTo>
                <a:lnTo>
                  <a:pt x="327" y="451"/>
                </a:lnTo>
                <a:lnTo>
                  <a:pt x="336" y="464"/>
                </a:lnTo>
                <a:lnTo>
                  <a:pt x="344" y="477"/>
                </a:lnTo>
                <a:lnTo>
                  <a:pt x="352" y="492"/>
                </a:lnTo>
                <a:lnTo>
                  <a:pt x="355" y="499"/>
                </a:lnTo>
                <a:lnTo>
                  <a:pt x="357" y="507"/>
                </a:lnTo>
                <a:lnTo>
                  <a:pt x="358" y="515"/>
                </a:lnTo>
                <a:lnTo>
                  <a:pt x="359" y="523"/>
                </a:lnTo>
                <a:lnTo>
                  <a:pt x="359" y="530"/>
                </a:lnTo>
                <a:lnTo>
                  <a:pt x="359" y="539"/>
                </a:lnTo>
                <a:lnTo>
                  <a:pt x="360" y="544"/>
                </a:lnTo>
                <a:lnTo>
                  <a:pt x="361" y="548"/>
                </a:lnTo>
                <a:lnTo>
                  <a:pt x="364" y="552"/>
                </a:lnTo>
                <a:lnTo>
                  <a:pt x="366" y="555"/>
                </a:lnTo>
                <a:lnTo>
                  <a:pt x="354" y="552"/>
                </a:lnTo>
                <a:lnTo>
                  <a:pt x="344" y="547"/>
                </a:lnTo>
                <a:lnTo>
                  <a:pt x="336" y="541"/>
                </a:lnTo>
                <a:lnTo>
                  <a:pt x="329" y="533"/>
                </a:lnTo>
                <a:lnTo>
                  <a:pt x="323" y="526"/>
                </a:lnTo>
                <a:lnTo>
                  <a:pt x="319" y="517"/>
                </a:lnTo>
                <a:lnTo>
                  <a:pt x="315" y="508"/>
                </a:lnTo>
                <a:lnTo>
                  <a:pt x="312" y="499"/>
                </a:lnTo>
                <a:lnTo>
                  <a:pt x="311" y="495"/>
                </a:lnTo>
                <a:lnTo>
                  <a:pt x="309" y="492"/>
                </a:lnTo>
                <a:lnTo>
                  <a:pt x="307" y="489"/>
                </a:lnTo>
                <a:lnTo>
                  <a:pt x="303" y="486"/>
                </a:lnTo>
                <a:lnTo>
                  <a:pt x="297" y="479"/>
                </a:lnTo>
                <a:lnTo>
                  <a:pt x="288" y="475"/>
                </a:lnTo>
                <a:lnTo>
                  <a:pt x="269" y="467"/>
                </a:lnTo>
                <a:lnTo>
                  <a:pt x="247" y="459"/>
                </a:lnTo>
                <a:lnTo>
                  <a:pt x="237" y="455"/>
                </a:lnTo>
                <a:lnTo>
                  <a:pt x="228" y="450"/>
                </a:lnTo>
                <a:lnTo>
                  <a:pt x="218" y="445"/>
                </a:lnTo>
                <a:lnTo>
                  <a:pt x="210" y="439"/>
                </a:lnTo>
                <a:lnTo>
                  <a:pt x="202" y="431"/>
                </a:lnTo>
                <a:lnTo>
                  <a:pt x="198" y="422"/>
                </a:lnTo>
                <a:lnTo>
                  <a:pt x="196" y="417"/>
                </a:lnTo>
                <a:lnTo>
                  <a:pt x="195" y="412"/>
                </a:lnTo>
                <a:lnTo>
                  <a:pt x="193" y="406"/>
                </a:lnTo>
                <a:lnTo>
                  <a:pt x="192" y="400"/>
                </a:lnTo>
                <a:lnTo>
                  <a:pt x="153" y="394"/>
                </a:lnTo>
                <a:lnTo>
                  <a:pt x="153" y="450"/>
                </a:lnTo>
                <a:lnTo>
                  <a:pt x="154" y="463"/>
                </a:lnTo>
                <a:lnTo>
                  <a:pt x="156" y="477"/>
                </a:lnTo>
                <a:lnTo>
                  <a:pt x="158" y="492"/>
                </a:lnTo>
                <a:lnTo>
                  <a:pt x="159" y="505"/>
                </a:lnTo>
                <a:lnTo>
                  <a:pt x="159" y="512"/>
                </a:lnTo>
                <a:lnTo>
                  <a:pt x="158" y="518"/>
                </a:lnTo>
                <a:lnTo>
                  <a:pt x="156" y="524"/>
                </a:lnTo>
                <a:lnTo>
                  <a:pt x="154" y="529"/>
                </a:lnTo>
                <a:lnTo>
                  <a:pt x="150" y="539"/>
                </a:lnTo>
                <a:lnTo>
                  <a:pt x="143" y="551"/>
                </a:lnTo>
                <a:lnTo>
                  <a:pt x="136" y="562"/>
                </a:lnTo>
                <a:lnTo>
                  <a:pt x="132" y="575"/>
                </a:lnTo>
                <a:lnTo>
                  <a:pt x="130" y="583"/>
                </a:lnTo>
                <a:lnTo>
                  <a:pt x="128" y="591"/>
                </a:lnTo>
                <a:lnTo>
                  <a:pt x="127" y="600"/>
                </a:lnTo>
                <a:lnTo>
                  <a:pt x="127" y="610"/>
                </a:lnTo>
                <a:lnTo>
                  <a:pt x="128" y="621"/>
                </a:lnTo>
                <a:lnTo>
                  <a:pt x="130" y="630"/>
                </a:lnTo>
                <a:lnTo>
                  <a:pt x="134" y="637"/>
                </a:lnTo>
                <a:lnTo>
                  <a:pt x="140" y="643"/>
                </a:lnTo>
                <a:lnTo>
                  <a:pt x="146" y="647"/>
                </a:lnTo>
                <a:lnTo>
                  <a:pt x="154" y="650"/>
                </a:lnTo>
                <a:lnTo>
                  <a:pt x="163" y="653"/>
                </a:lnTo>
                <a:lnTo>
                  <a:pt x="173" y="653"/>
                </a:lnTo>
                <a:lnTo>
                  <a:pt x="173" y="667"/>
                </a:lnTo>
                <a:lnTo>
                  <a:pt x="174" y="679"/>
                </a:lnTo>
                <a:lnTo>
                  <a:pt x="175" y="685"/>
                </a:lnTo>
                <a:lnTo>
                  <a:pt x="176" y="689"/>
                </a:lnTo>
                <a:lnTo>
                  <a:pt x="177" y="693"/>
                </a:lnTo>
                <a:lnTo>
                  <a:pt x="179" y="696"/>
                </a:lnTo>
                <a:lnTo>
                  <a:pt x="179" y="721"/>
                </a:lnTo>
                <a:lnTo>
                  <a:pt x="185" y="730"/>
                </a:lnTo>
                <a:lnTo>
                  <a:pt x="191" y="740"/>
                </a:lnTo>
                <a:lnTo>
                  <a:pt x="199" y="750"/>
                </a:lnTo>
                <a:lnTo>
                  <a:pt x="208" y="760"/>
                </a:lnTo>
                <a:lnTo>
                  <a:pt x="217" y="771"/>
                </a:lnTo>
                <a:lnTo>
                  <a:pt x="226" y="780"/>
                </a:lnTo>
                <a:lnTo>
                  <a:pt x="236" y="790"/>
                </a:lnTo>
                <a:lnTo>
                  <a:pt x="247" y="799"/>
                </a:lnTo>
                <a:lnTo>
                  <a:pt x="258" y="808"/>
                </a:lnTo>
                <a:lnTo>
                  <a:pt x="269" y="816"/>
                </a:lnTo>
                <a:lnTo>
                  <a:pt x="281" y="825"/>
                </a:lnTo>
                <a:lnTo>
                  <a:pt x="292" y="832"/>
                </a:lnTo>
                <a:lnTo>
                  <a:pt x="304" y="838"/>
                </a:lnTo>
                <a:lnTo>
                  <a:pt x="316" y="843"/>
                </a:lnTo>
                <a:lnTo>
                  <a:pt x="327" y="847"/>
                </a:lnTo>
                <a:lnTo>
                  <a:pt x="340" y="850"/>
                </a:lnTo>
                <a:lnTo>
                  <a:pt x="333" y="854"/>
                </a:lnTo>
                <a:lnTo>
                  <a:pt x="327" y="858"/>
                </a:lnTo>
                <a:lnTo>
                  <a:pt x="320" y="861"/>
                </a:lnTo>
                <a:lnTo>
                  <a:pt x="312" y="864"/>
                </a:lnTo>
                <a:lnTo>
                  <a:pt x="298" y="867"/>
                </a:lnTo>
                <a:lnTo>
                  <a:pt x="286" y="868"/>
                </a:lnTo>
                <a:lnTo>
                  <a:pt x="281" y="868"/>
                </a:lnTo>
                <a:lnTo>
                  <a:pt x="277" y="867"/>
                </a:lnTo>
                <a:lnTo>
                  <a:pt x="273" y="866"/>
                </a:lnTo>
                <a:lnTo>
                  <a:pt x="269" y="864"/>
                </a:lnTo>
                <a:lnTo>
                  <a:pt x="262" y="859"/>
                </a:lnTo>
                <a:lnTo>
                  <a:pt x="254" y="853"/>
                </a:lnTo>
                <a:lnTo>
                  <a:pt x="245" y="848"/>
                </a:lnTo>
                <a:lnTo>
                  <a:pt x="234" y="843"/>
                </a:lnTo>
                <a:lnTo>
                  <a:pt x="229" y="841"/>
                </a:lnTo>
                <a:lnTo>
                  <a:pt x="222" y="839"/>
                </a:lnTo>
                <a:lnTo>
                  <a:pt x="214" y="838"/>
                </a:lnTo>
                <a:lnTo>
                  <a:pt x="207" y="838"/>
                </a:lnTo>
                <a:lnTo>
                  <a:pt x="203" y="830"/>
                </a:lnTo>
                <a:lnTo>
                  <a:pt x="200" y="823"/>
                </a:lnTo>
                <a:lnTo>
                  <a:pt x="196" y="815"/>
                </a:lnTo>
                <a:lnTo>
                  <a:pt x="191" y="809"/>
                </a:lnTo>
                <a:lnTo>
                  <a:pt x="180" y="797"/>
                </a:lnTo>
                <a:lnTo>
                  <a:pt x="168" y="785"/>
                </a:lnTo>
                <a:lnTo>
                  <a:pt x="137" y="759"/>
                </a:lnTo>
                <a:lnTo>
                  <a:pt x="100" y="727"/>
                </a:lnTo>
                <a:lnTo>
                  <a:pt x="95" y="728"/>
                </a:lnTo>
                <a:lnTo>
                  <a:pt x="89" y="729"/>
                </a:lnTo>
                <a:lnTo>
                  <a:pt x="86" y="730"/>
                </a:lnTo>
                <a:lnTo>
                  <a:pt x="83" y="730"/>
                </a:lnTo>
                <a:lnTo>
                  <a:pt x="78" y="729"/>
                </a:lnTo>
                <a:lnTo>
                  <a:pt x="74" y="727"/>
                </a:lnTo>
                <a:lnTo>
                  <a:pt x="74" y="714"/>
                </a:lnTo>
                <a:lnTo>
                  <a:pt x="74" y="700"/>
                </a:lnTo>
                <a:lnTo>
                  <a:pt x="74" y="688"/>
                </a:lnTo>
                <a:lnTo>
                  <a:pt x="74" y="678"/>
                </a:lnTo>
                <a:lnTo>
                  <a:pt x="74" y="671"/>
                </a:lnTo>
                <a:lnTo>
                  <a:pt x="75" y="665"/>
                </a:lnTo>
                <a:lnTo>
                  <a:pt x="77" y="659"/>
                </a:lnTo>
                <a:lnTo>
                  <a:pt x="80" y="653"/>
                </a:lnTo>
                <a:lnTo>
                  <a:pt x="83" y="645"/>
                </a:lnTo>
                <a:lnTo>
                  <a:pt x="85" y="638"/>
                </a:lnTo>
                <a:lnTo>
                  <a:pt x="86" y="631"/>
                </a:lnTo>
                <a:lnTo>
                  <a:pt x="87" y="622"/>
                </a:lnTo>
                <a:lnTo>
                  <a:pt x="88" y="617"/>
                </a:lnTo>
                <a:lnTo>
                  <a:pt x="92" y="604"/>
                </a:lnTo>
                <a:lnTo>
                  <a:pt x="99" y="583"/>
                </a:lnTo>
                <a:lnTo>
                  <a:pt x="107" y="558"/>
                </a:lnTo>
                <a:lnTo>
                  <a:pt x="113" y="528"/>
                </a:lnTo>
                <a:lnTo>
                  <a:pt x="120" y="498"/>
                </a:lnTo>
                <a:lnTo>
                  <a:pt x="123" y="481"/>
                </a:lnTo>
                <a:lnTo>
                  <a:pt x="124" y="466"/>
                </a:lnTo>
                <a:lnTo>
                  <a:pt x="127" y="452"/>
                </a:lnTo>
                <a:lnTo>
                  <a:pt x="127" y="438"/>
                </a:lnTo>
                <a:lnTo>
                  <a:pt x="108" y="404"/>
                </a:lnTo>
                <a:lnTo>
                  <a:pt x="86" y="369"/>
                </a:lnTo>
                <a:lnTo>
                  <a:pt x="76" y="352"/>
                </a:lnTo>
                <a:lnTo>
                  <a:pt x="67" y="335"/>
                </a:lnTo>
                <a:lnTo>
                  <a:pt x="64" y="327"/>
                </a:lnTo>
                <a:lnTo>
                  <a:pt x="62" y="319"/>
                </a:lnTo>
                <a:lnTo>
                  <a:pt x="61" y="310"/>
                </a:lnTo>
                <a:lnTo>
                  <a:pt x="60" y="302"/>
                </a:lnTo>
                <a:lnTo>
                  <a:pt x="61" y="295"/>
                </a:lnTo>
                <a:lnTo>
                  <a:pt x="62" y="290"/>
                </a:lnTo>
                <a:lnTo>
                  <a:pt x="64" y="285"/>
                </a:lnTo>
                <a:lnTo>
                  <a:pt x="66" y="281"/>
                </a:lnTo>
                <a:lnTo>
                  <a:pt x="69" y="277"/>
                </a:lnTo>
                <a:lnTo>
                  <a:pt x="72" y="274"/>
                </a:lnTo>
                <a:lnTo>
                  <a:pt x="73" y="270"/>
                </a:lnTo>
                <a:lnTo>
                  <a:pt x="74" y="265"/>
                </a:lnTo>
                <a:lnTo>
                  <a:pt x="73" y="249"/>
                </a:lnTo>
                <a:lnTo>
                  <a:pt x="71" y="236"/>
                </a:lnTo>
                <a:lnTo>
                  <a:pt x="66" y="224"/>
                </a:lnTo>
                <a:lnTo>
                  <a:pt x="62" y="213"/>
                </a:lnTo>
                <a:lnTo>
                  <a:pt x="56" y="202"/>
                </a:lnTo>
                <a:lnTo>
                  <a:pt x="50" y="193"/>
                </a:lnTo>
                <a:lnTo>
                  <a:pt x="43" y="184"/>
                </a:lnTo>
                <a:lnTo>
                  <a:pt x="36" y="176"/>
                </a:lnTo>
                <a:lnTo>
                  <a:pt x="30" y="167"/>
                </a:lnTo>
                <a:lnTo>
                  <a:pt x="23" y="158"/>
                </a:lnTo>
                <a:lnTo>
                  <a:pt x="17" y="148"/>
                </a:lnTo>
                <a:lnTo>
                  <a:pt x="11" y="138"/>
                </a:lnTo>
                <a:lnTo>
                  <a:pt x="7" y="127"/>
                </a:lnTo>
                <a:lnTo>
                  <a:pt x="4" y="115"/>
                </a:lnTo>
                <a:lnTo>
                  <a:pt x="1" y="102"/>
                </a:lnTo>
                <a:lnTo>
                  <a:pt x="0" y="86"/>
                </a:lnTo>
                <a:lnTo>
                  <a:pt x="1" y="73"/>
                </a:lnTo>
                <a:lnTo>
                  <a:pt x="4" y="62"/>
                </a:lnTo>
                <a:lnTo>
                  <a:pt x="7" y="52"/>
                </a:lnTo>
                <a:lnTo>
                  <a:pt x="11" y="44"/>
                </a:lnTo>
                <a:lnTo>
                  <a:pt x="17" y="35"/>
                </a:lnTo>
                <a:lnTo>
                  <a:pt x="24" y="29"/>
                </a:lnTo>
                <a:lnTo>
                  <a:pt x="32" y="24"/>
                </a:lnTo>
                <a:lnTo>
                  <a:pt x="40" y="20"/>
                </a:lnTo>
                <a:lnTo>
                  <a:pt x="49" y="16"/>
                </a:lnTo>
                <a:lnTo>
                  <a:pt x="58" y="13"/>
                </a:lnTo>
                <a:lnTo>
                  <a:pt x="68" y="11"/>
                </a:lnTo>
                <a:lnTo>
                  <a:pt x="78" y="8"/>
                </a:lnTo>
                <a:lnTo>
                  <a:pt x="99" y="4"/>
                </a:lnTo>
                <a:lnTo>
                  <a:pt x="120" y="0"/>
                </a:lnTo>
                <a:lnTo>
                  <a:pt x="129" y="5"/>
                </a:lnTo>
                <a:lnTo>
                  <a:pt x="136" y="11"/>
                </a:lnTo>
                <a:lnTo>
                  <a:pt x="143" y="17"/>
                </a:lnTo>
                <a:lnTo>
                  <a:pt x="150" y="23"/>
                </a:lnTo>
                <a:lnTo>
                  <a:pt x="156" y="28"/>
                </a:lnTo>
                <a:lnTo>
                  <a:pt x="163" y="32"/>
                </a:lnTo>
                <a:lnTo>
                  <a:pt x="166" y="34"/>
                </a:lnTo>
                <a:lnTo>
                  <a:pt x="170" y="35"/>
                </a:lnTo>
                <a:lnTo>
                  <a:pt x="175" y="36"/>
                </a:lnTo>
                <a:lnTo>
                  <a:pt x="179" y="36"/>
                </a:lnTo>
                <a:lnTo>
                  <a:pt x="184" y="55"/>
                </a:lnTo>
                <a:lnTo>
                  <a:pt x="188" y="75"/>
                </a:lnTo>
                <a:lnTo>
                  <a:pt x="190" y="97"/>
                </a:lnTo>
                <a:lnTo>
                  <a:pt x="193" y="118"/>
                </a:lnTo>
                <a:lnTo>
                  <a:pt x="197" y="136"/>
                </a:lnTo>
                <a:lnTo>
                  <a:pt x="201" y="153"/>
                </a:lnTo>
                <a:lnTo>
                  <a:pt x="203" y="158"/>
                </a:lnTo>
                <a:lnTo>
                  <a:pt x="207" y="163"/>
                </a:lnTo>
                <a:lnTo>
                  <a:pt x="209" y="166"/>
                </a:lnTo>
                <a:lnTo>
                  <a:pt x="213" y="166"/>
                </a:lnTo>
                <a:lnTo>
                  <a:pt x="217" y="166"/>
                </a:lnTo>
                <a:lnTo>
                  <a:pt x="220" y="165"/>
                </a:lnTo>
                <a:lnTo>
                  <a:pt x="223" y="163"/>
                </a:lnTo>
                <a:lnTo>
                  <a:pt x="225" y="161"/>
                </a:lnTo>
                <a:lnTo>
                  <a:pt x="231" y="155"/>
                </a:lnTo>
                <a:lnTo>
                  <a:pt x="234" y="147"/>
                </a:lnTo>
                <a:lnTo>
                  <a:pt x="241" y="132"/>
                </a:lnTo>
                <a:lnTo>
                  <a:pt x="246" y="123"/>
                </a:lnTo>
                <a:lnTo>
                  <a:pt x="253" y="124"/>
                </a:lnTo>
                <a:lnTo>
                  <a:pt x="258" y="126"/>
                </a:lnTo>
                <a:lnTo>
                  <a:pt x="264" y="129"/>
                </a:lnTo>
                <a:lnTo>
                  <a:pt x="268" y="132"/>
                </a:lnTo>
                <a:lnTo>
                  <a:pt x="273" y="136"/>
                </a:lnTo>
                <a:lnTo>
                  <a:pt x="277" y="138"/>
                </a:lnTo>
                <a:lnTo>
                  <a:pt x="281" y="141"/>
                </a:lnTo>
                <a:lnTo>
                  <a:pt x="286" y="141"/>
                </a:lnTo>
                <a:lnTo>
                  <a:pt x="289" y="141"/>
                </a:lnTo>
                <a:lnTo>
                  <a:pt x="292" y="140"/>
                </a:lnTo>
                <a:lnTo>
                  <a:pt x="296" y="138"/>
                </a:lnTo>
                <a:lnTo>
                  <a:pt x="298" y="136"/>
                </a:lnTo>
                <a:lnTo>
                  <a:pt x="302" y="130"/>
                </a:lnTo>
                <a:lnTo>
                  <a:pt x="305" y="123"/>
                </a:lnTo>
                <a:lnTo>
                  <a:pt x="310" y="116"/>
                </a:lnTo>
                <a:lnTo>
                  <a:pt x="314" y="111"/>
                </a:lnTo>
                <a:lnTo>
                  <a:pt x="316" y="108"/>
                </a:lnTo>
                <a:lnTo>
                  <a:pt x="319" y="107"/>
                </a:lnTo>
                <a:lnTo>
                  <a:pt x="322" y="105"/>
                </a:lnTo>
                <a:lnTo>
                  <a:pt x="325" y="105"/>
                </a:lnTo>
                <a:lnTo>
                  <a:pt x="337" y="106"/>
                </a:lnTo>
                <a:lnTo>
                  <a:pt x="346" y="108"/>
                </a:lnTo>
                <a:lnTo>
                  <a:pt x="354" y="111"/>
                </a:lnTo>
                <a:lnTo>
                  <a:pt x="359" y="116"/>
                </a:lnTo>
                <a:lnTo>
                  <a:pt x="367" y="125"/>
                </a:lnTo>
                <a:lnTo>
                  <a:pt x="372" y="135"/>
                </a:lnTo>
                <a:lnTo>
                  <a:pt x="387" y="157"/>
                </a:lnTo>
                <a:lnTo>
                  <a:pt x="403" y="178"/>
                </a:lnTo>
                <a:lnTo>
                  <a:pt x="421" y="200"/>
                </a:lnTo>
                <a:lnTo>
                  <a:pt x="438" y="223"/>
                </a:lnTo>
                <a:lnTo>
                  <a:pt x="446" y="235"/>
                </a:lnTo>
                <a:lnTo>
                  <a:pt x="454" y="246"/>
                </a:lnTo>
                <a:lnTo>
                  <a:pt x="460" y="258"/>
                </a:lnTo>
                <a:lnTo>
                  <a:pt x="467" y="271"/>
                </a:lnTo>
                <a:lnTo>
                  <a:pt x="471" y="283"/>
                </a:lnTo>
                <a:lnTo>
                  <a:pt x="476" y="295"/>
                </a:lnTo>
                <a:lnTo>
                  <a:pt x="478" y="307"/>
                </a:lnTo>
                <a:lnTo>
                  <a:pt x="479" y="321"/>
                </a:lnTo>
                <a:lnTo>
                  <a:pt x="478" y="325"/>
                </a:lnTo>
                <a:lnTo>
                  <a:pt x="476" y="330"/>
                </a:lnTo>
                <a:lnTo>
                  <a:pt x="472" y="334"/>
                </a:lnTo>
                <a:lnTo>
                  <a:pt x="468" y="338"/>
                </a:lnTo>
                <a:lnTo>
                  <a:pt x="459" y="345"/>
                </a:lnTo>
                <a:lnTo>
                  <a:pt x="452" y="351"/>
                </a:lnTo>
                <a:lnTo>
                  <a:pt x="445" y="35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073" name="Freeform 25"/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4060826" y="5400675"/>
            <a:ext cx="23813" cy="57150"/>
          </a:xfrm>
          <a:custGeom>
            <a:avLst/>
            <a:gdLst>
              <a:gd name="T0" fmla="*/ 0 w 53"/>
              <a:gd name="T1" fmla="*/ 8 h 19"/>
              <a:gd name="T2" fmla="*/ 7 w 53"/>
              <a:gd name="T3" fmla="*/ 13 h 19"/>
              <a:gd name="T4" fmla="*/ 14 w 53"/>
              <a:gd name="T5" fmla="*/ 17 h 19"/>
              <a:gd name="T6" fmla="*/ 22 w 53"/>
              <a:gd name="T7" fmla="*/ 19 h 19"/>
              <a:gd name="T8" fmla="*/ 29 w 53"/>
              <a:gd name="T9" fmla="*/ 19 h 19"/>
              <a:gd name="T10" fmla="*/ 35 w 53"/>
              <a:gd name="T11" fmla="*/ 18 h 19"/>
              <a:gd name="T12" fmla="*/ 42 w 53"/>
              <a:gd name="T13" fmla="*/ 15 h 19"/>
              <a:gd name="T14" fmla="*/ 47 w 53"/>
              <a:gd name="T15" fmla="*/ 12 h 19"/>
              <a:gd name="T16" fmla="*/ 53 w 53"/>
              <a:gd name="T17" fmla="*/ 8 h 19"/>
              <a:gd name="T18" fmla="*/ 47 w 53"/>
              <a:gd name="T19" fmla="*/ 5 h 19"/>
              <a:gd name="T20" fmla="*/ 42 w 53"/>
              <a:gd name="T21" fmla="*/ 2 h 19"/>
              <a:gd name="T22" fmla="*/ 35 w 53"/>
              <a:gd name="T23" fmla="*/ 1 h 19"/>
              <a:gd name="T24" fmla="*/ 29 w 53"/>
              <a:gd name="T25" fmla="*/ 0 h 19"/>
              <a:gd name="T26" fmla="*/ 22 w 53"/>
              <a:gd name="T27" fmla="*/ 0 h 19"/>
              <a:gd name="T28" fmla="*/ 14 w 53"/>
              <a:gd name="T29" fmla="*/ 1 h 19"/>
              <a:gd name="T30" fmla="*/ 7 w 53"/>
              <a:gd name="T31" fmla="*/ 3 h 19"/>
              <a:gd name="T32" fmla="*/ 0 w 53"/>
              <a:gd name="T33" fmla="*/ 8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074" name="Line 26" descr="Horizontal dunkel"/>
          <p:cNvSpPr>
            <a:spLocks noChangeShapeType="1"/>
          </p:cNvSpPr>
          <p:nvPr>
            <p:custDataLst>
              <p:tags r:id="rId21"/>
            </p:custDataLst>
          </p:nvPr>
        </p:nvSpPr>
        <p:spPr bwMode="auto">
          <a:xfrm>
            <a:off x="2522539" y="2322514"/>
            <a:ext cx="3175" cy="952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075" name="Freeform 27"/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2525714" y="2319338"/>
            <a:ext cx="3175" cy="55562"/>
          </a:xfrm>
          <a:custGeom>
            <a:avLst/>
            <a:gdLst>
              <a:gd name="T0" fmla="*/ 0 w 6"/>
              <a:gd name="T1" fmla="*/ 24 h 24"/>
              <a:gd name="T2" fmla="*/ 0 w 6"/>
              <a:gd name="T3" fmla="*/ 19 h 24"/>
              <a:gd name="T4" fmla="*/ 1 w 6"/>
              <a:gd name="T5" fmla="*/ 14 h 24"/>
              <a:gd name="T6" fmla="*/ 3 w 6"/>
              <a:gd name="T7" fmla="*/ 8 h 24"/>
              <a:gd name="T8" fmla="*/ 6 w 6"/>
              <a:gd name="T9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" h="24">
                <a:moveTo>
                  <a:pt x="0" y="24"/>
                </a:moveTo>
                <a:lnTo>
                  <a:pt x="0" y="19"/>
                </a:lnTo>
                <a:lnTo>
                  <a:pt x="1" y="14"/>
                </a:lnTo>
                <a:lnTo>
                  <a:pt x="3" y="8"/>
                </a:lnTo>
                <a:lnTo>
                  <a:pt x="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076" name="Freeform 28"/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2501901" y="2373313"/>
            <a:ext cx="23813" cy="57150"/>
          </a:xfrm>
          <a:custGeom>
            <a:avLst/>
            <a:gdLst>
              <a:gd name="T0" fmla="*/ 0 w 47"/>
              <a:gd name="T1" fmla="*/ 24 h 67"/>
              <a:gd name="T2" fmla="*/ 0 w 47"/>
              <a:gd name="T3" fmla="*/ 30 h 67"/>
              <a:gd name="T4" fmla="*/ 2 w 47"/>
              <a:gd name="T5" fmla="*/ 36 h 67"/>
              <a:gd name="T6" fmla="*/ 3 w 47"/>
              <a:gd name="T7" fmla="*/ 42 h 67"/>
              <a:gd name="T8" fmla="*/ 5 w 47"/>
              <a:gd name="T9" fmla="*/ 47 h 67"/>
              <a:gd name="T10" fmla="*/ 9 w 47"/>
              <a:gd name="T11" fmla="*/ 58 h 67"/>
              <a:gd name="T12" fmla="*/ 14 w 47"/>
              <a:gd name="T13" fmla="*/ 67 h 67"/>
              <a:gd name="T14" fmla="*/ 47 w 47"/>
              <a:gd name="T15" fmla="*/ 67 h 67"/>
              <a:gd name="T16" fmla="*/ 47 w 47"/>
              <a:gd name="T17" fmla="*/ 0 h 67"/>
              <a:gd name="T18" fmla="*/ 36 w 47"/>
              <a:gd name="T19" fmla="*/ 2 h 67"/>
              <a:gd name="T20" fmla="*/ 26 w 47"/>
              <a:gd name="T21" fmla="*/ 4 h 67"/>
              <a:gd name="T22" fmla="*/ 18 w 47"/>
              <a:gd name="T23" fmla="*/ 7 h 67"/>
              <a:gd name="T24" fmla="*/ 11 w 47"/>
              <a:gd name="T25" fmla="*/ 9 h 67"/>
              <a:gd name="T26" fmla="*/ 6 w 47"/>
              <a:gd name="T27" fmla="*/ 12 h 67"/>
              <a:gd name="T28" fmla="*/ 3 w 47"/>
              <a:gd name="T29" fmla="*/ 16 h 67"/>
              <a:gd name="T30" fmla="*/ 0 w 47"/>
              <a:gd name="T31" fmla="*/ 20 h 67"/>
              <a:gd name="T32" fmla="*/ 0 w 47"/>
              <a:gd name="T33" fmla="*/ 24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7" h="67">
                <a:moveTo>
                  <a:pt x="0" y="24"/>
                </a:moveTo>
                <a:lnTo>
                  <a:pt x="0" y="30"/>
                </a:lnTo>
                <a:lnTo>
                  <a:pt x="2" y="36"/>
                </a:lnTo>
                <a:lnTo>
                  <a:pt x="3" y="42"/>
                </a:lnTo>
                <a:lnTo>
                  <a:pt x="5" y="47"/>
                </a:lnTo>
                <a:lnTo>
                  <a:pt x="9" y="58"/>
                </a:lnTo>
                <a:lnTo>
                  <a:pt x="14" y="67"/>
                </a:lnTo>
                <a:lnTo>
                  <a:pt x="47" y="67"/>
                </a:lnTo>
                <a:lnTo>
                  <a:pt x="47" y="0"/>
                </a:lnTo>
                <a:lnTo>
                  <a:pt x="36" y="2"/>
                </a:lnTo>
                <a:lnTo>
                  <a:pt x="26" y="4"/>
                </a:lnTo>
                <a:lnTo>
                  <a:pt x="18" y="7"/>
                </a:lnTo>
                <a:lnTo>
                  <a:pt x="11" y="9"/>
                </a:lnTo>
                <a:lnTo>
                  <a:pt x="6" y="12"/>
                </a:lnTo>
                <a:lnTo>
                  <a:pt x="3" y="16"/>
                </a:lnTo>
                <a:lnTo>
                  <a:pt x="0" y="20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077" name="Freeform 29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3827463" y="2368550"/>
            <a:ext cx="49212" cy="57150"/>
          </a:xfrm>
          <a:custGeom>
            <a:avLst/>
            <a:gdLst>
              <a:gd name="T0" fmla="*/ 0 w 112"/>
              <a:gd name="T1" fmla="*/ 36 h 36"/>
              <a:gd name="T2" fmla="*/ 59 w 112"/>
              <a:gd name="T3" fmla="*/ 36 h 36"/>
              <a:gd name="T4" fmla="*/ 67 w 112"/>
              <a:gd name="T5" fmla="*/ 30 h 36"/>
              <a:gd name="T6" fmla="*/ 75 w 112"/>
              <a:gd name="T7" fmla="*/ 26 h 36"/>
              <a:gd name="T8" fmla="*/ 84 w 112"/>
              <a:gd name="T9" fmla="*/ 23 h 36"/>
              <a:gd name="T10" fmla="*/ 91 w 112"/>
              <a:gd name="T11" fmla="*/ 20 h 36"/>
              <a:gd name="T12" fmla="*/ 98 w 112"/>
              <a:gd name="T13" fmla="*/ 17 h 36"/>
              <a:gd name="T14" fmla="*/ 104 w 112"/>
              <a:gd name="T15" fmla="*/ 13 h 36"/>
              <a:gd name="T16" fmla="*/ 107 w 112"/>
              <a:gd name="T17" fmla="*/ 11 h 36"/>
              <a:gd name="T18" fmla="*/ 109 w 112"/>
              <a:gd name="T19" fmla="*/ 8 h 36"/>
              <a:gd name="T20" fmla="*/ 111 w 112"/>
              <a:gd name="T21" fmla="*/ 4 h 36"/>
              <a:gd name="T22" fmla="*/ 112 w 112"/>
              <a:gd name="T23" fmla="*/ 0 h 36"/>
              <a:gd name="T24" fmla="*/ 100 w 112"/>
              <a:gd name="T25" fmla="*/ 0 h 36"/>
              <a:gd name="T26" fmla="*/ 85 w 112"/>
              <a:gd name="T27" fmla="*/ 1 h 36"/>
              <a:gd name="T28" fmla="*/ 67 w 112"/>
              <a:gd name="T29" fmla="*/ 3 h 36"/>
              <a:gd name="T30" fmla="*/ 48 w 112"/>
              <a:gd name="T31" fmla="*/ 7 h 36"/>
              <a:gd name="T32" fmla="*/ 40 w 112"/>
              <a:gd name="T33" fmla="*/ 9 h 36"/>
              <a:gd name="T34" fmla="*/ 31 w 112"/>
              <a:gd name="T35" fmla="*/ 11 h 36"/>
              <a:gd name="T36" fmla="*/ 23 w 112"/>
              <a:gd name="T37" fmla="*/ 14 h 36"/>
              <a:gd name="T38" fmla="*/ 17 w 112"/>
              <a:gd name="T39" fmla="*/ 18 h 36"/>
              <a:gd name="T40" fmla="*/ 10 w 112"/>
              <a:gd name="T41" fmla="*/ 22 h 36"/>
              <a:gd name="T42" fmla="*/ 6 w 112"/>
              <a:gd name="T43" fmla="*/ 26 h 36"/>
              <a:gd name="T44" fmla="*/ 1 w 112"/>
              <a:gd name="T45" fmla="*/ 31 h 36"/>
              <a:gd name="T46" fmla="*/ 0 w 112"/>
              <a:gd name="T47" fmla="*/ 36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12" h="36">
                <a:moveTo>
                  <a:pt x="0" y="36"/>
                </a:moveTo>
                <a:lnTo>
                  <a:pt x="59" y="36"/>
                </a:lnTo>
                <a:lnTo>
                  <a:pt x="67" y="30"/>
                </a:lnTo>
                <a:lnTo>
                  <a:pt x="75" y="26"/>
                </a:lnTo>
                <a:lnTo>
                  <a:pt x="84" y="23"/>
                </a:lnTo>
                <a:lnTo>
                  <a:pt x="91" y="20"/>
                </a:lnTo>
                <a:lnTo>
                  <a:pt x="98" y="17"/>
                </a:lnTo>
                <a:lnTo>
                  <a:pt x="104" y="13"/>
                </a:lnTo>
                <a:lnTo>
                  <a:pt x="107" y="11"/>
                </a:lnTo>
                <a:lnTo>
                  <a:pt x="109" y="8"/>
                </a:lnTo>
                <a:lnTo>
                  <a:pt x="111" y="4"/>
                </a:lnTo>
                <a:lnTo>
                  <a:pt x="112" y="0"/>
                </a:lnTo>
                <a:lnTo>
                  <a:pt x="100" y="0"/>
                </a:lnTo>
                <a:lnTo>
                  <a:pt x="85" y="1"/>
                </a:lnTo>
                <a:lnTo>
                  <a:pt x="67" y="3"/>
                </a:lnTo>
                <a:lnTo>
                  <a:pt x="48" y="7"/>
                </a:lnTo>
                <a:lnTo>
                  <a:pt x="40" y="9"/>
                </a:lnTo>
                <a:lnTo>
                  <a:pt x="31" y="11"/>
                </a:lnTo>
                <a:lnTo>
                  <a:pt x="23" y="14"/>
                </a:lnTo>
                <a:lnTo>
                  <a:pt x="17" y="18"/>
                </a:lnTo>
                <a:lnTo>
                  <a:pt x="10" y="22"/>
                </a:lnTo>
                <a:lnTo>
                  <a:pt x="6" y="26"/>
                </a:lnTo>
                <a:lnTo>
                  <a:pt x="1" y="31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078" name="Freeform 30"/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6565901" y="1925639"/>
            <a:ext cx="874713" cy="452437"/>
          </a:xfrm>
          <a:custGeom>
            <a:avLst/>
            <a:gdLst>
              <a:gd name="T0" fmla="*/ 433 w 2006"/>
              <a:gd name="T1" fmla="*/ 765 h 863"/>
              <a:gd name="T2" fmla="*/ 412 w 2006"/>
              <a:gd name="T3" fmla="*/ 764 h 863"/>
              <a:gd name="T4" fmla="*/ 390 w 2006"/>
              <a:gd name="T5" fmla="*/ 794 h 863"/>
              <a:gd name="T6" fmla="*/ 375 w 2006"/>
              <a:gd name="T7" fmla="*/ 792 h 863"/>
              <a:gd name="T8" fmla="*/ 370 w 2006"/>
              <a:gd name="T9" fmla="*/ 751 h 863"/>
              <a:gd name="T10" fmla="*/ 324 w 2006"/>
              <a:gd name="T11" fmla="*/ 724 h 863"/>
              <a:gd name="T12" fmla="*/ 312 w 2006"/>
              <a:gd name="T13" fmla="*/ 708 h 863"/>
              <a:gd name="T14" fmla="*/ 288 w 2006"/>
              <a:gd name="T15" fmla="*/ 692 h 863"/>
              <a:gd name="T16" fmla="*/ 251 w 2006"/>
              <a:gd name="T17" fmla="*/ 641 h 863"/>
              <a:gd name="T18" fmla="*/ 232 w 2006"/>
              <a:gd name="T19" fmla="*/ 610 h 863"/>
              <a:gd name="T20" fmla="*/ 253 w 2006"/>
              <a:gd name="T21" fmla="*/ 594 h 863"/>
              <a:gd name="T22" fmla="*/ 279 w 2006"/>
              <a:gd name="T23" fmla="*/ 573 h 863"/>
              <a:gd name="T24" fmla="*/ 338 w 2006"/>
              <a:gd name="T25" fmla="*/ 544 h 863"/>
              <a:gd name="T26" fmla="*/ 319 w 2006"/>
              <a:gd name="T27" fmla="*/ 487 h 863"/>
              <a:gd name="T28" fmla="*/ 258 w 2006"/>
              <a:gd name="T29" fmla="*/ 475 h 863"/>
              <a:gd name="T30" fmla="*/ 209 w 2006"/>
              <a:gd name="T31" fmla="*/ 470 h 863"/>
              <a:gd name="T32" fmla="*/ 157 w 2006"/>
              <a:gd name="T33" fmla="*/ 495 h 863"/>
              <a:gd name="T34" fmla="*/ 106 w 2006"/>
              <a:gd name="T35" fmla="*/ 505 h 863"/>
              <a:gd name="T36" fmla="*/ 27 w 2006"/>
              <a:gd name="T37" fmla="*/ 413 h 863"/>
              <a:gd name="T38" fmla="*/ 20 w 2006"/>
              <a:gd name="T39" fmla="*/ 283 h 863"/>
              <a:gd name="T40" fmla="*/ 113 w 2006"/>
              <a:gd name="T41" fmla="*/ 259 h 863"/>
              <a:gd name="T42" fmla="*/ 292 w 2006"/>
              <a:gd name="T43" fmla="*/ 222 h 863"/>
              <a:gd name="T44" fmla="*/ 498 w 2006"/>
              <a:gd name="T45" fmla="*/ 253 h 863"/>
              <a:gd name="T46" fmla="*/ 717 w 2006"/>
              <a:gd name="T47" fmla="*/ 253 h 863"/>
              <a:gd name="T48" fmla="*/ 658 w 2006"/>
              <a:gd name="T49" fmla="*/ 185 h 863"/>
              <a:gd name="T50" fmla="*/ 830 w 2006"/>
              <a:gd name="T51" fmla="*/ 68 h 863"/>
              <a:gd name="T52" fmla="*/ 1050 w 2006"/>
              <a:gd name="T53" fmla="*/ 13 h 863"/>
              <a:gd name="T54" fmla="*/ 1176 w 2006"/>
              <a:gd name="T55" fmla="*/ 61 h 863"/>
              <a:gd name="T56" fmla="*/ 1296 w 2006"/>
              <a:gd name="T57" fmla="*/ 111 h 863"/>
              <a:gd name="T58" fmla="*/ 1442 w 2006"/>
              <a:gd name="T59" fmla="*/ 99 h 863"/>
              <a:gd name="T60" fmla="*/ 1647 w 2006"/>
              <a:gd name="T61" fmla="*/ 271 h 863"/>
              <a:gd name="T62" fmla="*/ 1793 w 2006"/>
              <a:gd name="T63" fmla="*/ 265 h 863"/>
              <a:gd name="T64" fmla="*/ 2000 w 2006"/>
              <a:gd name="T65" fmla="*/ 339 h 863"/>
              <a:gd name="T66" fmla="*/ 2002 w 2006"/>
              <a:gd name="T67" fmla="*/ 381 h 863"/>
              <a:gd name="T68" fmla="*/ 1981 w 2006"/>
              <a:gd name="T69" fmla="*/ 399 h 863"/>
              <a:gd name="T70" fmla="*/ 1960 w 2006"/>
              <a:gd name="T71" fmla="*/ 404 h 863"/>
              <a:gd name="T72" fmla="*/ 1963 w 2006"/>
              <a:gd name="T73" fmla="*/ 425 h 863"/>
              <a:gd name="T74" fmla="*/ 1985 w 2006"/>
              <a:gd name="T75" fmla="*/ 466 h 863"/>
              <a:gd name="T76" fmla="*/ 1979 w 2006"/>
              <a:gd name="T77" fmla="*/ 478 h 863"/>
              <a:gd name="T78" fmla="*/ 1939 w 2006"/>
              <a:gd name="T79" fmla="*/ 481 h 863"/>
              <a:gd name="T80" fmla="*/ 1893 w 2006"/>
              <a:gd name="T81" fmla="*/ 474 h 863"/>
              <a:gd name="T82" fmla="*/ 1864 w 2006"/>
              <a:gd name="T83" fmla="*/ 474 h 863"/>
              <a:gd name="T84" fmla="*/ 1878 w 2006"/>
              <a:gd name="T85" fmla="*/ 548 h 863"/>
              <a:gd name="T86" fmla="*/ 1880 w 2006"/>
              <a:gd name="T87" fmla="*/ 586 h 863"/>
              <a:gd name="T88" fmla="*/ 1789 w 2006"/>
              <a:gd name="T89" fmla="*/ 588 h 863"/>
              <a:gd name="T90" fmla="*/ 1768 w 2006"/>
              <a:gd name="T91" fmla="*/ 604 h 863"/>
              <a:gd name="T92" fmla="*/ 1795 w 2006"/>
              <a:gd name="T93" fmla="*/ 619 h 863"/>
              <a:gd name="T94" fmla="*/ 1814 w 2006"/>
              <a:gd name="T95" fmla="*/ 650 h 863"/>
              <a:gd name="T96" fmla="*/ 1834 w 2006"/>
              <a:gd name="T97" fmla="*/ 689 h 863"/>
              <a:gd name="T98" fmla="*/ 1837 w 2006"/>
              <a:gd name="T99" fmla="*/ 706 h 863"/>
              <a:gd name="T100" fmla="*/ 1837 w 2006"/>
              <a:gd name="T101" fmla="*/ 754 h 863"/>
              <a:gd name="T102" fmla="*/ 1741 w 2006"/>
              <a:gd name="T103" fmla="*/ 740 h 863"/>
              <a:gd name="T104" fmla="*/ 1475 w 2006"/>
              <a:gd name="T105" fmla="*/ 764 h 863"/>
              <a:gd name="T106" fmla="*/ 1316 w 2006"/>
              <a:gd name="T107" fmla="*/ 795 h 863"/>
              <a:gd name="T108" fmla="*/ 1142 w 2006"/>
              <a:gd name="T109" fmla="*/ 838 h 863"/>
              <a:gd name="T110" fmla="*/ 963 w 2006"/>
              <a:gd name="T111" fmla="*/ 697 h 863"/>
              <a:gd name="T112" fmla="*/ 684 w 2006"/>
              <a:gd name="T113" fmla="*/ 586 h 863"/>
              <a:gd name="T114" fmla="*/ 584 w 2006"/>
              <a:gd name="T115" fmla="*/ 832 h 8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006" h="863">
                <a:moveTo>
                  <a:pt x="571" y="826"/>
                </a:moveTo>
                <a:lnTo>
                  <a:pt x="538" y="826"/>
                </a:lnTo>
                <a:lnTo>
                  <a:pt x="512" y="789"/>
                </a:lnTo>
                <a:lnTo>
                  <a:pt x="438" y="764"/>
                </a:lnTo>
                <a:lnTo>
                  <a:pt x="433" y="765"/>
                </a:lnTo>
                <a:lnTo>
                  <a:pt x="427" y="766"/>
                </a:lnTo>
                <a:lnTo>
                  <a:pt x="424" y="767"/>
                </a:lnTo>
                <a:lnTo>
                  <a:pt x="421" y="767"/>
                </a:lnTo>
                <a:lnTo>
                  <a:pt x="416" y="766"/>
                </a:lnTo>
                <a:lnTo>
                  <a:pt x="412" y="764"/>
                </a:lnTo>
                <a:lnTo>
                  <a:pt x="405" y="772"/>
                </a:lnTo>
                <a:lnTo>
                  <a:pt x="397" y="778"/>
                </a:lnTo>
                <a:lnTo>
                  <a:pt x="393" y="782"/>
                </a:lnTo>
                <a:lnTo>
                  <a:pt x="391" y="786"/>
                </a:lnTo>
                <a:lnTo>
                  <a:pt x="390" y="794"/>
                </a:lnTo>
                <a:lnTo>
                  <a:pt x="392" y="802"/>
                </a:lnTo>
                <a:lnTo>
                  <a:pt x="386" y="800"/>
                </a:lnTo>
                <a:lnTo>
                  <a:pt x="381" y="798"/>
                </a:lnTo>
                <a:lnTo>
                  <a:pt x="378" y="795"/>
                </a:lnTo>
                <a:lnTo>
                  <a:pt x="375" y="792"/>
                </a:lnTo>
                <a:lnTo>
                  <a:pt x="372" y="787"/>
                </a:lnTo>
                <a:lnTo>
                  <a:pt x="371" y="783"/>
                </a:lnTo>
                <a:lnTo>
                  <a:pt x="370" y="778"/>
                </a:lnTo>
                <a:lnTo>
                  <a:pt x="369" y="773"/>
                </a:lnTo>
                <a:lnTo>
                  <a:pt x="370" y="751"/>
                </a:lnTo>
                <a:lnTo>
                  <a:pt x="372" y="727"/>
                </a:lnTo>
                <a:lnTo>
                  <a:pt x="352" y="727"/>
                </a:lnTo>
                <a:lnTo>
                  <a:pt x="332" y="726"/>
                </a:lnTo>
                <a:lnTo>
                  <a:pt x="327" y="725"/>
                </a:lnTo>
                <a:lnTo>
                  <a:pt x="324" y="724"/>
                </a:lnTo>
                <a:lnTo>
                  <a:pt x="321" y="722"/>
                </a:lnTo>
                <a:lnTo>
                  <a:pt x="318" y="719"/>
                </a:lnTo>
                <a:lnTo>
                  <a:pt x="315" y="716"/>
                </a:lnTo>
                <a:lnTo>
                  <a:pt x="313" y="712"/>
                </a:lnTo>
                <a:lnTo>
                  <a:pt x="312" y="708"/>
                </a:lnTo>
                <a:lnTo>
                  <a:pt x="312" y="703"/>
                </a:lnTo>
                <a:lnTo>
                  <a:pt x="305" y="702"/>
                </a:lnTo>
                <a:lnTo>
                  <a:pt x="299" y="700"/>
                </a:lnTo>
                <a:lnTo>
                  <a:pt x="293" y="697"/>
                </a:lnTo>
                <a:lnTo>
                  <a:pt x="288" y="692"/>
                </a:lnTo>
                <a:lnTo>
                  <a:pt x="280" y="682"/>
                </a:lnTo>
                <a:lnTo>
                  <a:pt x="273" y="668"/>
                </a:lnTo>
                <a:lnTo>
                  <a:pt x="265" y="656"/>
                </a:lnTo>
                <a:lnTo>
                  <a:pt x="256" y="646"/>
                </a:lnTo>
                <a:lnTo>
                  <a:pt x="251" y="641"/>
                </a:lnTo>
                <a:lnTo>
                  <a:pt x="245" y="638"/>
                </a:lnTo>
                <a:lnTo>
                  <a:pt x="240" y="636"/>
                </a:lnTo>
                <a:lnTo>
                  <a:pt x="232" y="635"/>
                </a:lnTo>
                <a:lnTo>
                  <a:pt x="232" y="623"/>
                </a:lnTo>
                <a:lnTo>
                  <a:pt x="232" y="610"/>
                </a:lnTo>
                <a:lnTo>
                  <a:pt x="239" y="608"/>
                </a:lnTo>
                <a:lnTo>
                  <a:pt x="245" y="604"/>
                </a:lnTo>
                <a:lnTo>
                  <a:pt x="251" y="600"/>
                </a:lnTo>
                <a:lnTo>
                  <a:pt x="253" y="598"/>
                </a:lnTo>
                <a:lnTo>
                  <a:pt x="253" y="594"/>
                </a:lnTo>
                <a:lnTo>
                  <a:pt x="254" y="591"/>
                </a:lnTo>
                <a:lnTo>
                  <a:pt x="256" y="588"/>
                </a:lnTo>
                <a:lnTo>
                  <a:pt x="259" y="585"/>
                </a:lnTo>
                <a:lnTo>
                  <a:pt x="268" y="578"/>
                </a:lnTo>
                <a:lnTo>
                  <a:pt x="279" y="573"/>
                </a:lnTo>
                <a:lnTo>
                  <a:pt x="292" y="568"/>
                </a:lnTo>
                <a:lnTo>
                  <a:pt x="309" y="564"/>
                </a:lnTo>
                <a:lnTo>
                  <a:pt x="326" y="561"/>
                </a:lnTo>
                <a:lnTo>
                  <a:pt x="345" y="561"/>
                </a:lnTo>
                <a:lnTo>
                  <a:pt x="338" y="544"/>
                </a:lnTo>
                <a:lnTo>
                  <a:pt x="330" y="529"/>
                </a:lnTo>
                <a:lnTo>
                  <a:pt x="325" y="520"/>
                </a:lnTo>
                <a:lnTo>
                  <a:pt x="322" y="511"/>
                </a:lnTo>
                <a:lnTo>
                  <a:pt x="320" y="499"/>
                </a:lnTo>
                <a:lnTo>
                  <a:pt x="319" y="487"/>
                </a:lnTo>
                <a:lnTo>
                  <a:pt x="307" y="486"/>
                </a:lnTo>
                <a:lnTo>
                  <a:pt x="293" y="484"/>
                </a:lnTo>
                <a:lnTo>
                  <a:pt x="281" y="481"/>
                </a:lnTo>
                <a:lnTo>
                  <a:pt x="269" y="478"/>
                </a:lnTo>
                <a:lnTo>
                  <a:pt x="258" y="475"/>
                </a:lnTo>
                <a:lnTo>
                  <a:pt x="247" y="472"/>
                </a:lnTo>
                <a:lnTo>
                  <a:pt x="236" y="470"/>
                </a:lnTo>
                <a:lnTo>
                  <a:pt x="225" y="469"/>
                </a:lnTo>
                <a:lnTo>
                  <a:pt x="218" y="469"/>
                </a:lnTo>
                <a:lnTo>
                  <a:pt x="209" y="470"/>
                </a:lnTo>
                <a:lnTo>
                  <a:pt x="201" y="472"/>
                </a:lnTo>
                <a:lnTo>
                  <a:pt x="195" y="474"/>
                </a:lnTo>
                <a:lnTo>
                  <a:pt x="180" y="480"/>
                </a:lnTo>
                <a:lnTo>
                  <a:pt x="168" y="487"/>
                </a:lnTo>
                <a:lnTo>
                  <a:pt x="157" y="495"/>
                </a:lnTo>
                <a:lnTo>
                  <a:pt x="146" y="505"/>
                </a:lnTo>
                <a:lnTo>
                  <a:pt x="136" y="515"/>
                </a:lnTo>
                <a:lnTo>
                  <a:pt x="127" y="524"/>
                </a:lnTo>
                <a:lnTo>
                  <a:pt x="133" y="512"/>
                </a:lnTo>
                <a:lnTo>
                  <a:pt x="106" y="505"/>
                </a:lnTo>
                <a:lnTo>
                  <a:pt x="133" y="487"/>
                </a:lnTo>
                <a:lnTo>
                  <a:pt x="106" y="463"/>
                </a:lnTo>
                <a:lnTo>
                  <a:pt x="79" y="438"/>
                </a:lnTo>
                <a:lnTo>
                  <a:pt x="40" y="438"/>
                </a:lnTo>
                <a:lnTo>
                  <a:pt x="27" y="413"/>
                </a:lnTo>
                <a:lnTo>
                  <a:pt x="7" y="401"/>
                </a:lnTo>
                <a:lnTo>
                  <a:pt x="0" y="370"/>
                </a:lnTo>
                <a:lnTo>
                  <a:pt x="0" y="333"/>
                </a:lnTo>
                <a:lnTo>
                  <a:pt x="13" y="308"/>
                </a:lnTo>
                <a:lnTo>
                  <a:pt x="20" y="283"/>
                </a:lnTo>
                <a:lnTo>
                  <a:pt x="53" y="302"/>
                </a:lnTo>
                <a:lnTo>
                  <a:pt x="86" y="314"/>
                </a:lnTo>
                <a:lnTo>
                  <a:pt x="106" y="308"/>
                </a:lnTo>
                <a:lnTo>
                  <a:pt x="79" y="277"/>
                </a:lnTo>
                <a:lnTo>
                  <a:pt x="113" y="259"/>
                </a:lnTo>
                <a:lnTo>
                  <a:pt x="146" y="228"/>
                </a:lnTo>
                <a:lnTo>
                  <a:pt x="179" y="222"/>
                </a:lnTo>
                <a:lnTo>
                  <a:pt x="219" y="222"/>
                </a:lnTo>
                <a:lnTo>
                  <a:pt x="246" y="210"/>
                </a:lnTo>
                <a:lnTo>
                  <a:pt x="292" y="222"/>
                </a:lnTo>
                <a:lnTo>
                  <a:pt x="338" y="241"/>
                </a:lnTo>
                <a:lnTo>
                  <a:pt x="379" y="277"/>
                </a:lnTo>
                <a:lnTo>
                  <a:pt x="425" y="271"/>
                </a:lnTo>
                <a:lnTo>
                  <a:pt x="465" y="253"/>
                </a:lnTo>
                <a:lnTo>
                  <a:pt x="498" y="253"/>
                </a:lnTo>
                <a:lnTo>
                  <a:pt x="538" y="247"/>
                </a:lnTo>
                <a:lnTo>
                  <a:pt x="578" y="265"/>
                </a:lnTo>
                <a:lnTo>
                  <a:pt x="624" y="277"/>
                </a:lnTo>
                <a:lnTo>
                  <a:pt x="671" y="271"/>
                </a:lnTo>
                <a:lnTo>
                  <a:pt x="717" y="253"/>
                </a:lnTo>
                <a:lnTo>
                  <a:pt x="717" y="228"/>
                </a:lnTo>
                <a:lnTo>
                  <a:pt x="684" y="222"/>
                </a:lnTo>
                <a:lnTo>
                  <a:pt x="645" y="210"/>
                </a:lnTo>
                <a:lnTo>
                  <a:pt x="617" y="198"/>
                </a:lnTo>
                <a:lnTo>
                  <a:pt x="658" y="185"/>
                </a:lnTo>
                <a:lnTo>
                  <a:pt x="651" y="148"/>
                </a:lnTo>
                <a:lnTo>
                  <a:pt x="704" y="142"/>
                </a:lnTo>
                <a:lnTo>
                  <a:pt x="638" y="93"/>
                </a:lnTo>
                <a:lnTo>
                  <a:pt x="744" y="75"/>
                </a:lnTo>
                <a:lnTo>
                  <a:pt x="830" y="68"/>
                </a:lnTo>
                <a:lnTo>
                  <a:pt x="844" y="43"/>
                </a:lnTo>
                <a:lnTo>
                  <a:pt x="904" y="37"/>
                </a:lnTo>
                <a:lnTo>
                  <a:pt x="963" y="25"/>
                </a:lnTo>
                <a:lnTo>
                  <a:pt x="983" y="0"/>
                </a:lnTo>
                <a:lnTo>
                  <a:pt x="1050" y="13"/>
                </a:lnTo>
                <a:lnTo>
                  <a:pt x="1089" y="6"/>
                </a:lnTo>
                <a:lnTo>
                  <a:pt x="1116" y="25"/>
                </a:lnTo>
                <a:lnTo>
                  <a:pt x="1122" y="75"/>
                </a:lnTo>
                <a:lnTo>
                  <a:pt x="1163" y="75"/>
                </a:lnTo>
                <a:lnTo>
                  <a:pt x="1176" y="61"/>
                </a:lnTo>
                <a:lnTo>
                  <a:pt x="1196" y="75"/>
                </a:lnTo>
                <a:lnTo>
                  <a:pt x="1235" y="81"/>
                </a:lnTo>
                <a:lnTo>
                  <a:pt x="1255" y="81"/>
                </a:lnTo>
                <a:lnTo>
                  <a:pt x="1255" y="117"/>
                </a:lnTo>
                <a:lnTo>
                  <a:pt x="1296" y="111"/>
                </a:lnTo>
                <a:lnTo>
                  <a:pt x="1335" y="93"/>
                </a:lnTo>
                <a:lnTo>
                  <a:pt x="1375" y="61"/>
                </a:lnTo>
                <a:lnTo>
                  <a:pt x="1401" y="49"/>
                </a:lnTo>
                <a:lnTo>
                  <a:pt x="1401" y="81"/>
                </a:lnTo>
                <a:lnTo>
                  <a:pt x="1442" y="99"/>
                </a:lnTo>
                <a:lnTo>
                  <a:pt x="1488" y="117"/>
                </a:lnTo>
                <a:lnTo>
                  <a:pt x="1528" y="160"/>
                </a:lnTo>
                <a:lnTo>
                  <a:pt x="1581" y="204"/>
                </a:lnTo>
                <a:lnTo>
                  <a:pt x="1627" y="241"/>
                </a:lnTo>
                <a:lnTo>
                  <a:pt x="1647" y="271"/>
                </a:lnTo>
                <a:lnTo>
                  <a:pt x="1660" y="241"/>
                </a:lnTo>
                <a:lnTo>
                  <a:pt x="1688" y="235"/>
                </a:lnTo>
                <a:lnTo>
                  <a:pt x="1708" y="259"/>
                </a:lnTo>
                <a:lnTo>
                  <a:pt x="1747" y="271"/>
                </a:lnTo>
                <a:lnTo>
                  <a:pt x="1793" y="265"/>
                </a:lnTo>
                <a:lnTo>
                  <a:pt x="1821" y="253"/>
                </a:lnTo>
                <a:lnTo>
                  <a:pt x="1860" y="283"/>
                </a:lnTo>
                <a:lnTo>
                  <a:pt x="1906" y="308"/>
                </a:lnTo>
                <a:lnTo>
                  <a:pt x="1947" y="333"/>
                </a:lnTo>
                <a:lnTo>
                  <a:pt x="2000" y="339"/>
                </a:lnTo>
                <a:lnTo>
                  <a:pt x="2006" y="346"/>
                </a:lnTo>
                <a:lnTo>
                  <a:pt x="2005" y="358"/>
                </a:lnTo>
                <a:lnTo>
                  <a:pt x="2004" y="373"/>
                </a:lnTo>
                <a:lnTo>
                  <a:pt x="2004" y="377"/>
                </a:lnTo>
                <a:lnTo>
                  <a:pt x="2002" y="381"/>
                </a:lnTo>
                <a:lnTo>
                  <a:pt x="2000" y="385"/>
                </a:lnTo>
                <a:lnTo>
                  <a:pt x="1996" y="388"/>
                </a:lnTo>
                <a:lnTo>
                  <a:pt x="1993" y="392"/>
                </a:lnTo>
                <a:lnTo>
                  <a:pt x="1988" y="395"/>
                </a:lnTo>
                <a:lnTo>
                  <a:pt x="1981" y="399"/>
                </a:lnTo>
                <a:lnTo>
                  <a:pt x="1973" y="401"/>
                </a:lnTo>
                <a:lnTo>
                  <a:pt x="1969" y="401"/>
                </a:lnTo>
                <a:lnTo>
                  <a:pt x="1965" y="402"/>
                </a:lnTo>
                <a:lnTo>
                  <a:pt x="1962" y="403"/>
                </a:lnTo>
                <a:lnTo>
                  <a:pt x="1960" y="404"/>
                </a:lnTo>
                <a:lnTo>
                  <a:pt x="1959" y="406"/>
                </a:lnTo>
                <a:lnTo>
                  <a:pt x="1958" y="408"/>
                </a:lnTo>
                <a:lnTo>
                  <a:pt x="1958" y="410"/>
                </a:lnTo>
                <a:lnTo>
                  <a:pt x="1958" y="413"/>
                </a:lnTo>
                <a:lnTo>
                  <a:pt x="1963" y="425"/>
                </a:lnTo>
                <a:lnTo>
                  <a:pt x="1972" y="438"/>
                </a:lnTo>
                <a:lnTo>
                  <a:pt x="1977" y="445"/>
                </a:lnTo>
                <a:lnTo>
                  <a:pt x="1981" y="452"/>
                </a:lnTo>
                <a:lnTo>
                  <a:pt x="1983" y="460"/>
                </a:lnTo>
                <a:lnTo>
                  <a:pt x="1985" y="466"/>
                </a:lnTo>
                <a:lnTo>
                  <a:pt x="1985" y="469"/>
                </a:lnTo>
                <a:lnTo>
                  <a:pt x="1984" y="471"/>
                </a:lnTo>
                <a:lnTo>
                  <a:pt x="1983" y="474"/>
                </a:lnTo>
                <a:lnTo>
                  <a:pt x="1982" y="476"/>
                </a:lnTo>
                <a:lnTo>
                  <a:pt x="1979" y="478"/>
                </a:lnTo>
                <a:lnTo>
                  <a:pt x="1976" y="479"/>
                </a:lnTo>
                <a:lnTo>
                  <a:pt x="1971" y="480"/>
                </a:lnTo>
                <a:lnTo>
                  <a:pt x="1967" y="481"/>
                </a:lnTo>
                <a:lnTo>
                  <a:pt x="1954" y="481"/>
                </a:lnTo>
                <a:lnTo>
                  <a:pt x="1939" y="481"/>
                </a:lnTo>
                <a:lnTo>
                  <a:pt x="1932" y="481"/>
                </a:lnTo>
                <a:lnTo>
                  <a:pt x="1923" y="480"/>
                </a:lnTo>
                <a:lnTo>
                  <a:pt x="1913" y="478"/>
                </a:lnTo>
                <a:lnTo>
                  <a:pt x="1903" y="476"/>
                </a:lnTo>
                <a:lnTo>
                  <a:pt x="1893" y="474"/>
                </a:lnTo>
                <a:lnTo>
                  <a:pt x="1883" y="471"/>
                </a:lnTo>
                <a:lnTo>
                  <a:pt x="1875" y="467"/>
                </a:lnTo>
                <a:lnTo>
                  <a:pt x="1867" y="463"/>
                </a:lnTo>
                <a:lnTo>
                  <a:pt x="1865" y="468"/>
                </a:lnTo>
                <a:lnTo>
                  <a:pt x="1864" y="474"/>
                </a:lnTo>
                <a:lnTo>
                  <a:pt x="1865" y="482"/>
                </a:lnTo>
                <a:lnTo>
                  <a:pt x="1865" y="490"/>
                </a:lnTo>
                <a:lnTo>
                  <a:pt x="1869" y="508"/>
                </a:lnTo>
                <a:lnTo>
                  <a:pt x="1873" y="529"/>
                </a:lnTo>
                <a:lnTo>
                  <a:pt x="1878" y="548"/>
                </a:lnTo>
                <a:lnTo>
                  <a:pt x="1882" y="564"/>
                </a:lnTo>
                <a:lnTo>
                  <a:pt x="1882" y="572"/>
                </a:lnTo>
                <a:lnTo>
                  <a:pt x="1882" y="578"/>
                </a:lnTo>
                <a:lnTo>
                  <a:pt x="1882" y="583"/>
                </a:lnTo>
                <a:lnTo>
                  <a:pt x="1880" y="586"/>
                </a:lnTo>
                <a:lnTo>
                  <a:pt x="1854" y="584"/>
                </a:lnTo>
                <a:lnTo>
                  <a:pt x="1816" y="584"/>
                </a:lnTo>
                <a:lnTo>
                  <a:pt x="1806" y="585"/>
                </a:lnTo>
                <a:lnTo>
                  <a:pt x="1798" y="586"/>
                </a:lnTo>
                <a:lnTo>
                  <a:pt x="1789" y="588"/>
                </a:lnTo>
                <a:lnTo>
                  <a:pt x="1782" y="591"/>
                </a:lnTo>
                <a:lnTo>
                  <a:pt x="1776" y="594"/>
                </a:lnTo>
                <a:lnTo>
                  <a:pt x="1771" y="598"/>
                </a:lnTo>
                <a:lnTo>
                  <a:pt x="1769" y="601"/>
                </a:lnTo>
                <a:lnTo>
                  <a:pt x="1768" y="604"/>
                </a:lnTo>
                <a:lnTo>
                  <a:pt x="1767" y="607"/>
                </a:lnTo>
                <a:lnTo>
                  <a:pt x="1767" y="610"/>
                </a:lnTo>
                <a:lnTo>
                  <a:pt x="1778" y="612"/>
                </a:lnTo>
                <a:lnTo>
                  <a:pt x="1788" y="615"/>
                </a:lnTo>
                <a:lnTo>
                  <a:pt x="1795" y="619"/>
                </a:lnTo>
                <a:lnTo>
                  <a:pt x="1801" y="625"/>
                </a:lnTo>
                <a:lnTo>
                  <a:pt x="1805" y="631"/>
                </a:lnTo>
                <a:lnTo>
                  <a:pt x="1809" y="637"/>
                </a:lnTo>
                <a:lnTo>
                  <a:pt x="1812" y="644"/>
                </a:lnTo>
                <a:lnTo>
                  <a:pt x="1814" y="650"/>
                </a:lnTo>
                <a:lnTo>
                  <a:pt x="1817" y="664"/>
                </a:lnTo>
                <a:lnTo>
                  <a:pt x="1822" y="676"/>
                </a:lnTo>
                <a:lnTo>
                  <a:pt x="1824" y="682"/>
                </a:lnTo>
                <a:lnTo>
                  <a:pt x="1828" y="686"/>
                </a:lnTo>
                <a:lnTo>
                  <a:pt x="1834" y="689"/>
                </a:lnTo>
                <a:lnTo>
                  <a:pt x="1840" y="691"/>
                </a:lnTo>
                <a:lnTo>
                  <a:pt x="1838" y="695"/>
                </a:lnTo>
                <a:lnTo>
                  <a:pt x="1837" y="699"/>
                </a:lnTo>
                <a:lnTo>
                  <a:pt x="1837" y="702"/>
                </a:lnTo>
                <a:lnTo>
                  <a:pt x="1837" y="706"/>
                </a:lnTo>
                <a:lnTo>
                  <a:pt x="1839" y="713"/>
                </a:lnTo>
                <a:lnTo>
                  <a:pt x="1840" y="721"/>
                </a:lnTo>
                <a:lnTo>
                  <a:pt x="1840" y="735"/>
                </a:lnTo>
                <a:lnTo>
                  <a:pt x="1838" y="748"/>
                </a:lnTo>
                <a:lnTo>
                  <a:pt x="1837" y="754"/>
                </a:lnTo>
                <a:lnTo>
                  <a:pt x="1835" y="760"/>
                </a:lnTo>
                <a:lnTo>
                  <a:pt x="1832" y="765"/>
                </a:lnTo>
                <a:lnTo>
                  <a:pt x="1827" y="770"/>
                </a:lnTo>
                <a:lnTo>
                  <a:pt x="1814" y="764"/>
                </a:lnTo>
                <a:lnTo>
                  <a:pt x="1741" y="740"/>
                </a:lnTo>
                <a:lnTo>
                  <a:pt x="1674" y="740"/>
                </a:lnTo>
                <a:lnTo>
                  <a:pt x="1614" y="734"/>
                </a:lnTo>
                <a:lnTo>
                  <a:pt x="1534" y="727"/>
                </a:lnTo>
                <a:lnTo>
                  <a:pt x="1488" y="715"/>
                </a:lnTo>
                <a:lnTo>
                  <a:pt x="1475" y="764"/>
                </a:lnTo>
                <a:lnTo>
                  <a:pt x="1414" y="740"/>
                </a:lnTo>
                <a:lnTo>
                  <a:pt x="1368" y="734"/>
                </a:lnTo>
                <a:lnTo>
                  <a:pt x="1342" y="758"/>
                </a:lnTo>
                <a:lnTo>
                  <a:pt x="1342" y="770"/>
                </a:lnTo>
                <a:lnTo>
                  <a:pt x="1316" y="795"/>
                </a:lnTo>
                <a:lnTo>
                  <a:pt x="1282" y="808"/>
                </a:lnTo>
                <a:lnTo>
                  <a:pt x="1255" y="838"/>
                </a:lnTo>
                <a:lnTo>
                  <a:pt x="1235" y="863"/>
                </a:lnTo>
                <a:lnTo>
                  <a:pt x="1196" y="832"/>
                </a:lnTo>
                <a:lnTo>
                  <a:pt x="1142" y="838"/>
                </a:lnTo>
                <a:lnTo>
                  <a:pt x="1122" y="808"/>
                </a:lnTo>
                <a:lnTo>
                  <a:pt x="1083" y="746"/>
                </a:lnTo>
                <a:lnTo>
                  <a:pt x="1050" y="715"/>
                </a:lnTo>
                <a:lnTo>
                  <a:pt x="1003" y="685"/>
                </a:lnTo>
                <a:lnTo>
                  <a:pt x="963" y="697"/>
                </a:lnTo>
                <a:lnTo>
                  <a:pt x="917" y="691"/>
                </a:lnTo>
                <a:lnTo>
                  <a:pt x="857" y="697"/>
                </a:lnTo>
                <a:lnTo>
                  <a:pt x="730" y="616"/>
                </a:lnTo>
                <a:lnTo>
                  <a:pt x="682" y="595"/>
                </a:lnTo>
                <a:lnTo>
                  <a:pt x="684" y="586"/>
                </a:lnTo>
                <a:lnTo>
                  <a:pt x="638" y="548"/>
                </a:lnTo>
                <a:lnTo>
                  <a:pt x="610" y="580"/>
                </a:lnTo>
                <a:lnTo>
                  <a:pt x="525" y="604"/>
                </a:lnTo>
                <a:lnTo>
                  <a:pt x="565" y="826"/>
                </a:lnTo>
                <a:lnTo>
                  <a:pt x="584" y="832"/>
                </a:lnTo>
                <a:lnTo>
                  <a:pt x="571" y="82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079" name="Freeform 31"/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6796089" y="2228850"/>
            <a:ext cx="409575" cy="249238"/>
          </a:xfrm>
          <a:custGeom>
            <a:avLst/>
            <a:gdLst>
              <a:gd name="T0" fmla="*/ 638 w 950"/>
              <a:gd name="T1" fmla="*/ 443 h 468"/>
              <a:gd name="T2" fmla="*/ 558 w 950"/>
              <a:gd name="T3" fmla="*/ 418 h 468"/>
              <a:gd name="T4" fmla="*/ 471 w 950"/>
              <a:gd name="T5" fmla="*/ 376 h 468"/>
              <a:gd name="T6" fmla="*/ 392 w 950"/>
              <a:gd name="T7" fmla="*/ 307 h 468"/>
              <a:gd name="T8" fmla="*/ 305 w 950"/>
              <a:gd name="T9" fmla="*/ 258 h 468"/>
              <a:gd name="T10" fmla="*/ 253 w 950"/>
              <a:gd name="T11" fmla="*/ 209 h 468"/>
              <a:gd name="T12" fmla="*/ 186 w 950"/>
              <a:gd name="T13" fmla="*/ 172 h 468"/>
              <a:gd name="T14" fmla="*/ 133 w 950"/>
              <a:gd name="T15" fmla="*/ 190 h 468"/>
              <a:gd name="T16" fmla="*/ 99 w 950"/>
              <a:gd name="T17" fmla="*/ 240 h 468"/>
              <a:gd name="T18" fmla="*/ 40 w 950"/>
              <a:gd name="T19" fmla="*/ 246 h 468"/>
              <a:gd name="T20" fmla="*/ 0 w 950"/>
              <a:gd name="T21" fmla="*/ 24 h 468"/>
              <a:gd name="T22" fmla="*/ 79 w 950"/>
              <a:gd name="T23" fmla="*/ 6 h 468"/>
              <a:gd name="T24" fmla="*/ 133 w 950"/>
              <a:gd name="T25" fmla="*/ 55 h 468"/>
              <a:gd name="T26" fmla="*/ 157 w 950"/>
              <a:gd name="T27" fmla="*/ 15 h 468"/>
              <a:gd name="T28" fmla="*/ 332 w 950"/>
              <a:gd name="T29" fmla="*/ 117 h 468"/>
              <a:gd name="T30" fmla="*/ 438 w 950"/>
              <a:gd name="T31" fmla="*/ 117 h 468"/>
              <a:gd name="T32" fmla="*/ 525 w 950"/>
              <a:gd name="T33" fmla="*/ 135 h 468"/>
              <a:gd name="T34" fmla="*/ 597 w 950"/>
              <a:gd name="T35" fmla="*/ 228 h 468"/>
              <a:gd name="T36" fmla="*/ 671 w 950"/>
              <a:gd name="T37" fmla="*/ 252 h 468"/>
              <a:gd name="T38" fmla="*/ 730 w 950"/>
              <a:gd name="T39" fmla="*/ 258 h 468"/>
              <a:gd name="T40" fmla="*/ 791 w 950"/>
              <a:gd name="T41" fmla="*/ 215 h 468"/>
              <a:gd name="T42" fmla="*/ 843 w 950"/>
              <a:gd name="T43" fmla="*/ 196 h 468"/>
              <a:gd name="T44" fmla="*/ 824 w 950"/>
              <a:gd name="T45" fmla="*/ 252 h 468"/>
              <a:gd name="T46" fmla="*/ 870 w 950"/>
              <a:gd name="T47" fmla="*/ 240 h 468"/>
              <a:gd name="T48" fmla="*/ 950 w 950"/>
              <a:gd name="T49" fmla="*/ 283 h 468"/>
              <a:gd name="T50" fmla="*/ 883 w 950"/>
              <a:gd name="T51" fmla="*/ 320 h 468"/>
              <a:gd name="T52" fmla="*/ 824 w 950"/>
              <a:gd name="T53" fmla="*/ 283 h 468"/>
              <a:gd name="T54" fmla="*/ 764 w 950"/>
              <a:gd name="T55" fmla="*/ 277 h 468"/>
              <a:gd name="T56" fmla="*/ 737 w 950"/>
              <a:gd name="T57" fmla="*/ 320 h 468"/>
              <a:gd name="T58" fmla="*/ 684 w 950"/>
              <a:gd name="T59" fmla="*/ 357 h 468"/>
              <a:gd name="T60" fmla="*/ 710 w 950"/>
              <a:gd name="T61" fmla="*/ 388 h 468"/>
              <a:gd name="T62" fmla="*/ 743 w 950"/>
              <a:gd name="T63" fmla="*/ 437 h 468"/>
              <a:gd name="T64" fmla="*/ 717 w 950"/>
              <a:gd name="T65" fmla="*/ 468 h 468"/>
              <a:gd name="T66" fmla="*/ 703 w 950"/>
              <a:gd name="T67" fmla="*/ 465 h 468"/>
              <a:gd name="T68" fmla="*/ 684 w 950"/>
              <a:gd name="T69" fmla="*/ 461 h 468"/>
              <a:gd name="T70" fmla="*/ 658 w 950"/>
              <a:gd name="T71" fmla="*/ 461 h 4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950" h="468">
                <a:moveTo>
                  <a:pt x="664" y="455"/>
                </a:moveTo>
                <a:lnTo>
                  <a:pt x="638" y="443"/>
                </a:lnTo>
                <a:lnTo>
                  <a:pt x="604" y="431"/>
                </a:lnTo>
                <a:lnTo>
                  <a:pt x="558" y="418"/>
                </a:lnTo>
                <a:lnTo>
                  <a:pt x="512" y="388"/>
                </a:lnTo>
                <a:lnTo>
                  <a:pt x="471" y="376"/>
                </a:lnTo>
                <a:lnTo>
                  <a:pt x="425" y="345"/>
                </a:lnTo>
                <a:lnTo>
                  <a:pt x="392" y="307"/>
                </a:lnTo>
                <a:lnTo>
                  <a:pt x="345" y="258"/>
                </a:lnTo>
                <a:lnTo>
                  <a:pt x="305" y="258"/>
                </a:lnTo>
                <a:lnTo>
                  <a:pt x="266" y="246"/>
                </a:lnTo>
                <a:lnTo>
                  <a:pt x="253" y="209"/>
                </a:lnTo>
                <a:lnTo>
                  <a:pt x="219" y="190"/>
                </a:lnTo>
                <a:lnTo>
                  <a:pt x="186" y="172"/>
                </a:lnTo>
                <a:lnTo>
                  <a:pt x="153" y="166"/>
                </a:lnTo>
                <a:lnTo>
                  <a:pt x="133" y="190"/>
                </a:lnTo>
                <a:lnTo>
                  <a:pt x="92" y="209"/>
                </a:lnTo>
                <a:lnTo>
                  <a:pt x="99" y="240"/>
                </a:lnTo>
                <a:lnTo>
                  <a:pt x="59" y="252"/>
                </a:lnTo>
                <a:lnTo>
                  <a:pt x="40" y="246"/>
                </a:lnTo>
                <a:lnTo>
                  <a:pt x="46" y="240"/>
                </a:lnTo>
                <a:lnTo>
                  <a:pt x="0" y="24"/>
                </a:lnTo>
                <a:lnTo>
                  <a:pt x="85" y="0"/>
                </a:lnTo>
                <a:lnTo>
                  <a:pt x="79" y="6"/>
                </a:lnTo>
                <a:lnTo>
                  <a:pt x="86" y="55"/>
                </a:lnTo>
                <a:lnTo>
                  <a:pt x="133" y="55"/>
                </a:lnTo>
                <a:lnTo>
                  <a:pt x="153" y="30"/>
                </a:lnTo>
                <a:lnTo>
                  <a:pt x="157" y="15"/>
                </a:lnTo>
                <a:lnTo>
                  <a:pt x="205" y="36"/>
                </a:lnTo>
                <a:lnTo>
                  <a:pt x="332" y="117"/>
                </a:lnTo>
                <a:lnTo>
                  <a:pt x="392" y="111"/>
                </a:lnTo>
                <a:lnTo>
                  <a:pt x="438" y="117"/>
                </a:lnTo>
                <a:lnTo>
                  <a:pt x="478" y="105"/>
                </a:lnTo>
                <a:lnTo>
                  <a:pt x="525" y="135"/>
                </a:lnTo>
                <a:lnTo>
                  <a:pt x="558" y="166"/>
                </a:lnTo>
                <a:lnTo>
                  <a:pt x="597" y="228"/>
                </a:lnTo>
                <a:lnTo>
                  <a:pt x="617" y="258"/>
                </a:lnTo>
                <a:lnTo>
                  <a:pt x="671" y="252"/>
                </a:lnTo>
                <a:lnTo>
                  <a:pt x="710" y="283"/>
                </a:lnTo>
                <a:lnTo>
                  <a:pt x="730" y="258"/>
                </a:lnTo>
                <a:lnTo>
                  <a:pt x="757" y="228"/>
                </a:lnTo>
                <a:lnTo>
                  <a:pt x="791" y="215"/>
                </a:lnTo>
                <a:lnTo>
                  <a:pt x="817" y="190"/>
                </a:lnTo>
                <a:lnTo>
                  <a:pt x="843" y="196"/>
                </a:lnTo>
                <a:lnTo>
                  <a:pt x="810" y="228"/>
                </a:lnTo>
                <a:lnTo>
                  <a:pt x="824" y="252"/>
                </a:lnTo>
                <a:lnTo>
                  <a:pt x="850" y="258"/>
                </a:lnTo>
                <a:lnTo>
                  <a:pt x="870" y="240"/>
                </a:lnTo>
                <a:lnTo>
                  <a:pt x="910" y="258"/>
                </a:lnTo>
                <a:lnTo>
                  <a:pt x="950" y="283"/>
                </a:lnTo>
                <a:lnTo>
                  <a:pt x="917" y="313"/>
                </a:lnTo>
                <a:lnTo>
                  <a:pt x="883" y="320"/>
                </a:lnTo>
                <a:lnTo>
                  <a:pt x="837" y="313"/>
                </a:lnTo>
                <a:lnTo>
                  <a:pt x="824" y="283"/>
                </a:lnTo>
                <a:lnTo>
                  <a:pt x="804" y="271"/>
                </a:lnTo>
                <a:lnTo>
                  <a:pt x="764" y="277"/>
                </a:lnTo>
                <a:lnTo>
                  <a:pt x="757" y="301"/>
                </a:lnTo>
                <a:lnTo>
                  <a:pt x="737" y="320"/>
                </a:lnTo>
                <a:lnTo>
                  <a:pt x="724" y="351"/>
                </a:lnTo>
                <a:lnTo>
                  <a:pt x="684" y="357"/>
                </a:lnTo>
                <a:lnTo>
                  <a:pt x="671" y="369"/>
                </a:lnTo>
                <a:lnTo>
                  <a:pt x="710" y="388"/>
                </a:lnTo>
                <a:lnTo>
                  <a:pt x="730" y="406"/>
                </a:lnTo>
                <a:lnTo>
                  <a:pt x="743" y="437"/>
                </a:lnTo>
                <a:lnTo>
                  <a:pt x="730" y="468"/>
                </a:lnTo>
                <a:lnTo>
                  <a:pt x="717" y="468"/>
                </a:lnTo>
                <a:lnTo>
                  <a:pt x="712" y="467"/>
                </a:lnTo>
                <a:lnTo>
                  <a:pt x="703" y="465"/>
                </a:lnTo>
                <a:lnTo>
                  <a:pt x="694" y="462"/>
                </a:lnTo>
                <a:lnTo>
                  <a:pt x="684" y="461"/>
                </a:lnTo>
                <a:lnTo>
                  <a:pt x="669" y="461"/>
                </a:lnTo>
                <a:lnTo>
                  <a:pt x="658" y="461"/>
                </a:lnTo>
                <a:lnTo>
                  <a:pt x="664" y="4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080" name="Freeform 32"/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5603876" y="3232151"/>
            <a:ext cx="296863" cy="288925"/>
          </a:xfrm>
          <a:custGeom>
            <a:avLst/>
            <a:gdLst>
              <a:gd name="T0" fmla="*/ 6 w 671"/>
              <a:gd name="T1" fmla="*/ 383 h 549"/>
              <a:gd name="T2" fmla="*/ 8 w 671"/>
              <a:gd name="T3" fmla="*/ 316 h 549"/>
              <a:gd name="T4" fmla="*/ 17 w 671"/>
              <a:gd name="T5" fmla="*/ 287 h 549"/>
              <a:gd name="T6" fmla="*/ 52 w 671"/>
              <a:gd name="T7" fmla="*/ 238 h 549"/>
              <a:gd name="T8" fmla="*/ 71 w 671"/>
              <a:gd name="T9" fmla="*/ 205 h 549"/>
              <a:gd name="T10" fmla="*/ 73 w 671"/>
              <a:gd name="T11" fmla="*/ 167 h 549"/>
              <a:gd name="T12" fmla="*/ 73 w 671"/>
              <a:gd name="T13" fmla="*/ 137 h 549"/>
              <a:gd name="T14" fmla="*/ 54 w 671"/>
              <a:gd name="T15" fmla="*/ 108 h 549"/>
              <a:gd name="T16" fmla="*/ 61 w 671"/>
              <a:gd name="T17" fmla="*/ 79 h 549"/>
              <a:gd name="T18" fmla="*/ 76 w 671"/>
              <a:gd name="T19" fmla="*/ 50 h 549"/>
              <a:gd name="T20" fmla="*/ 96 w 671"/>
              <a:gd name="T21" fmla="*/ 25 h 549"/>
              <a:gd name="T22" fmla="*/ 120 w 671"/>
              <a:gd name="T23" fmla="*/ 7 h 549"/>
              <a:gd name="T24" fmla="*/ 146 w 671"/>
              <a:gd name="T25" fmla="*/ 0 h 549"/>
              <a:gd name="T26" fmla="*/ 173 w 671"/>
              <a:gd name="T27" fmla="*/ 5 h 549"/>
              <a:gd name="T28" fmla="*/ 206 w 671"/>
              <a:gd name="T29" fmla="*/ 26 h 549"/>
              <a:gd name="T30" fmla="*/ 236 w 671"/>
              <a:gd name="T31" fmla="*/ 45 h 549"/>
              <a:gd name="T32" fmla="*/ 259 w 671"/>
              <a:gd name="T33" fmla="*/ 50 h 549"/>
              <a:gd name="T34" fmla="*/ 272 w 671"/>
              <a:gd name="T35" fmla="*/ 44 h 549"/>
              <a:gd name="T36" fmla="*/ 284 w 671"/>
              <a:gd name="T37" fmla="*/ 35 h 549"/>
              <a:gd name="T38" fmla="*/ 300 w 671"/>
              <a:gd name="T39" fmla="*/ 32 h 549"/>
              <a:gd name="T40" fmla="*/ 318 w 671"/>
              <a:gd name="T41" fmla="*/ 39 h 549"/>
              <a:gd name="T42" fmla="*/ 337 w 671"/>
              <a:gd name="T43" fmla="*/ 65 h 549"/>
              <a:gd name="T44" fmla="*/ 353 w 671"/>
              <a:gd name="T45" fmla="*/ 79 h 549"/>
              <a:gd name="T46" fmla="*/ 370 w 671"/>
              <a:gd name="T47" fmla="*/ 81 h 549"/>
              <a:gd name="T48" fmla="*/ 381 w 671"/>
              <a:gd name="T49" fmla="*/ 75 h 549"/>
              <a:gd name="T50" fmla="*/ 397 w 671"/>
              <a:gd name="T51" fmla="*/ 56 h 549"/>
              <a:gd name="T52" fmla="*/ 419 w 671"/>
              <a:gd name="T53" fmla="*/ 38 h 549"/>
              <a:gd name="T54" fmla="*/ 458 w 671"/>
              <a:gd name="T55" fmla="*/ 22 h 549"/>
              <a:gd name="T56" fmla="*/ 487 w 671"/>
              <a:gd name="T57" fmla="*/ 25 h 549"/>
              <a:gd name="T58" fmla="*/ 511 w 671"/>
              <a:gd name="T59" fmla="*/ 35 h 549"/>
              <a:gd name="T60" fmla="*/ 537 w 671"/>
              <a:gd name="T61" fmla="*/ 43 h 549"/>
              <a:gd name="T62" fmla="*/ 571 w 671"/>
              <a:gd name="T63" fmla="*/ 39 h 549"/>
              <a:gd name="T64" fmla="*/ 646 w 671"/>
              <a:gd name="T65" fmla="*/ 67 h 549"/>
              <a:gd name="T66" fmla="*/ 665 w 671"/>
              <a:gd name="T67" fmla="*/ 105 h 549"/>
              <a:gd name="T68" fmla="*/ 623 w 671"/>
              <a:gd name="T69" fmla="*/ 183 h 549"/>
              <a:gd name="T70" fmla="*/ 593 w 671"/>
              <a:gd name="T71" fmla="*/ 233 h 549"/>
              <a:gd name="T72" fmla="*/ 570 w 671"/>
              <a:gd name="T73" fmla="*/ 291 h 549"/>
              <a:gd name="T74" fmla="*/ 550 w 671"/>
              <a:gd name="T75" fmla="*/ 343 h 549"/>
              <a:gd name="T76" fmla="*/ 525 w 671"/>
              <a:gd name="T77" fmla="*/ 407 h 549"/>
              <a:gd name="T78" fmla="*/ 516 w 671"/>
              <a:gd name="T79" fmla="*/ 422 h 549"/>
              <a:gd name="T80" fmla="*/ 500 w 671"/>
              <a:gd name="T81" fmla="*/ 439 h 549"/>
              <a:gd name="T82" fmla="*/ 482 w 671"/>
              <a:gd name="T83" fmla="*/ 443 h 549"/>
              <a:gd name="T84" fmla="*/ 459 w 671"/>
              <a:gd name="T85" fmla="*/ 432 h 549"/>
              <a:gd name="T86" fmla="*/ 440 w 671"/>
              <a:gd name="T87" fmla="*/ 421 h 549"/>
              <a:gd name="T88" fmla="*/ 408 w 671"/>
              <a:gd name="T89" fmla="*/ 424 h 549"/>
              <a:gd name="T90" fmla="*/ 381 w 671"/>
              <a:gd name="T91" fmla="*/ 441 h 549"/>
              <a:gd name="T92" fmla="*/ 364 w 671"/>
              <a:gd name="T93" fmla="*/ 469 h 549"/>
              <a:gd name="T94" fmla="*/ 342 w 671"/>
              <a:gd name="T95" fmla="*/ 521 h 549"/>
              <a:gd name="T96" fmla="*/ 325 w 671"/>
              <a:gd name="T97" fmla="*/ 549 h 549"/>
              <a:gd name="T98" fmla="*/ 229 w 671"/>
              <a:gd name="T99" fmla="*/ 546 h 549"/>
              <a:gd name="T100" fmla="*/ 217 w 671"/>
              <a:gd name="T101" fmla="*/ 548 h 549"/>
              <a:gd name="T102" fmla="*/ 179 w 671"/>
              <a:gd name="T103" fmla="*/ 543 h 549"/>
              <a:gd name="T104" fmla="*/ 161 w 671"/>
              <a:gd name="T105" fmla="*/ 540 h 549"/>
              <a:gd name="T106" fmla="*/ 144 w 671"/>
              <a:gd name="T107" fmla="*/ 531 h 549"/>
              <a:gd name="T108" fmla="*/ 129 w 671"/>
              <a:gd name="T109" fmla="*/ 515 h 549"/>
              <a:gd name="T110" fmla="*/ 119 w 671"/>
              <a:gd name="T111" fmla="*/ 496 h 549"/>
              <a:gd name="T112" fmla="*/ 113 w 671"/>
              <a:gd name="T113" fmla="*/ 472 h 549"/>
              <a:gd name="T114" fmla="*/ 100 w 671"/>
              <a:gd name="T115" fmla="*/ 460 h 549"/>
              <a:gd name="T116" fmla="*/ 83 w 671"/>
              <a:gd name="T117" fmla="*/ 447 h 549"/>
              <a:gd name="T118" fmla="*/ 63 w 671"/>
              <a:gd name="T119" fmla="*/ 432 h 549"/>
              <a:gd name="T120" fmla="*/ 39 w 671"/>
              <a:gd name="T121" fmla="*/ 429 h 549"/>
              <a:gd name="T122" fmla="*/ 0 w 671"/>
              <a:gd name="T123" fmla="*/ 438 h 5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71" h="549">
                <a:moveTo>
                  <a:pt x="0" y="438"/>
                </a:moveTo>
                <a:lnTo>
                  <a:pt x="4" y="405"/>
                </a:lnTo>
                <a:lnTo>
                  <a:pt x="6" y="383"/>
                </a:lnTo>
                <a:lnTo>
                  <a:pt x="7" y="360"/>
                </a:lnTo>
                <a:lnTo>
                  <a:pt x="7" y="327"/>
                </a:lnTo>
                <a:lnTo>
                  <a:pt x="8" y="316"/>
                </a:lnTo>
                <a:lnTo>
                  <a:pt x="9" y="306"/>
                </a:lnTo>
                <a:lnTo>
                  <a:pt x="12" y="296"/>
                </a:lnTo>
                <a:lnTo>
                  <a:pt x="17" y="287"/>
                </a:lnTo>
                <a:lnTo>
                  <a:pt x="28" y="270"/>
                </a:lnTo>
                <a:lnTo>
                  <a:pt x="40" y="254"/>
                </a:lnTo>
                <a:lnTo>
                  <a:pt x="52" y="238"/>
                </a:lnTo>
                <a:lnTo>
                  <a:pt x="63" y="222"/>
                </a:lnTo>
                <a:lnTo>
                  <a:pt x="67" y="214"/>
                </a:lnTo>
                <a:lnTo>
                  <a:pt x="71" y="205"/>
                </a:lnTo>
                <a:lnTo>
                  <a:pt x="73" y="196"/>
                </a:lnTo>
                <a:lnTo>
                  <a:pt x="73" y="185"/>
                </a:lnTo>
                <a:lnTo>
                  <a:pt x="73" y="167"/>
                </a:lnTo>
                <a:lnTo>
                  <a:pt x="73" y="156"/>
                </a:lnTo>
                <a:lnTo>
                  <a:pt x="73" y="148"/>
                </a:lnTo>
                <a:lnTo>
                  <a:pt x="73" y="137"/>
                </a:lnTo>
                <a:lnTo>
                  <a:pt x="63" y="126"/>
                </a:lnTo>
                <a:lnTo>
                  <a:pt x="53" y="117"/>
                </a:lnTo>
                <a:lnTo>
                  <a:pt x="54" y="108"/>
                </a:lnTo>
                <a:lnTo>
                  <a:pt x="55" y="99"/>
                </a:lnTo>
                <a:lnTo>
                  <a:pt x="57" y="89"/>
                </a:lnTo>
                <a:lnTo>
                  <a:pt x="61" y="79"/>
                </a:lnTo>
                <a:lnTo>
                  <a:pt x="65" y="68"/>
                </a:lnTo>
                <a:lnTo>
                  <a:pt x="71" y="59"/>
                </a:lnTo>
                <a:lnTo>
                  <a:pt x="76" y="50"/>
                </a:lnTo>
                <a:lnTo>
                  <a:pt x="83" y="41"/>
                </a:lnTo>
                <a:lnTo>
                  <a:pt x="89" y="33"/>
                </a:lnTo>
                <a:lnTo>
                  <a:pt x="96" y="25"/>
                </a:lnTo>
                <a:lnTo>
                  <a:pt x="104" y="17"/>
                </a:lnTo>
                <a:lnTo>
                  <a:pt x="112" y="12"/>
                </a:lnTo>
                <a:lnTo>
                  <a:pt x="120" y="7"/>
                </a:lnTo>
                <a:lnTo>
                  <a:pt x="129" y="3"/>
                </a:lnTo>
                <a:lnTo>
                  <a:pt x="138" y="1"/>
                </a:lnTo>
                <a:lnTo>
                  <a:pt x="146" y="0"/>
                </a:lnTo>
                <a:lnTo>
                  <a:pt x="156" y="1"/>
                </a:lnTo>
                <a:lnTo>
                  <a:pt x="164" y="3"/>
                </a:lnTo>
                <a:lnTo>
                  <a:pt x="173" y="5"/>
                </a:lnTo>
                <a:lnTo>
                  <a:pt x="179" y="8"/>
                </a:lnTo>
                <a:lnTo>
                  <a:pt x="194" y="16"/>
                </a:lnTo>
                <a:lnTo>
                  <a:pt x="206" y="26"/>
                </a:lnTo>
                <a:lnTo>
                  <a:pt x="217" y="35"/>
                </a:lnTo>
                <a:lnTo>
                  <a:pt x="230" y="42"/>
                </a:lnTo>
                <a:lnTo>
                  <a:pt x="236" y="45"/>
                </a:lnTo>
                <a:lnTo>
                  <a:pt x="243" y="48"/>
                </a:lnTo>
                <a:lnTo>
                  <a:pt x="251" y="49"/>
                </a:lnTo>
                <a:lnTo>
                  <a:pt x="259" y="50"/>
                </a:lnTo>
                <a:lnTo>
                  <a:pt x="264" y="49"/>
                </a:lnTo>
                <a:lnTo>
                  <a:pt x="268" y="47"/>
                </a:lnTo>
                <a:lnTo>
                  <a:pt x="272" y="44"/>
                </a:lnTo>
                <a:lnTo>
                  <a:pt x="276" y="41"/>
                </a:lnTo>
                <a:lnTo>
                  <a:pt x="279" y="37"/>
                </a:lnTo>
                <a:lnTo>
                  <a:pt x="284" y="35"/>
                </a:lnTo>
                <a:lnTo>
                  <a:pt x="288" y="32"/>
                </a:lnTo>
                <a:lnTo>
                  <a:pt x="292" y="32"/>
                </a:lnTo>
                <a:lnTo>
                  <a:pt x="300" y="32"/>
                </a:lnTo>
                <a:lnTo>
                  <a:pt x="308" y="34"/>
                </a:lnTo>
                <a:lnTo>
                  <a:pt x="313" y="36"/>
                </a:lnTo>
                <a:lnTo>
                  <a:pt x="318" y="39"/>
                </a:lnTo>
                <a:lnTo>
                  <a:pt x="325" y="47"/>
                </a:lnTo>
                <a:lnTo>
                  <a:pt x="332" y="56"/>
                </a:lnTo>
                <a:lnTo>
                  <a:pt x="337" y="65"/>
                </a:lnTo>
                <a:lnTo>
                  <a:pt x="344" y="73"/>
                </a:lnTo>
                <a:lnTo>
                  <a:pt x="348" y="76"/>
                </a:lnTo>
                <a:lnTo>
                  <a:pt x="353" y="79"/>
                </a:lnTo>
                <a:lnTo>
                  <a:pt x="358" y="81"/>
                </a:lnTo>
                <a:lnTo>
                  <a:pt x="366" y="81"/>
                </a:lnTo>
                <a:lnTo>
                  <a:pt x="370" y="81"/>
                </a:lnTo>
                <a:lnTo>
                  <a:pt x="375" y="80"/>
                </a:lnTo>
                <a:lnTo>
                  <a:pt x="378" y="77"/>
                </a:lnTo>
                <a:lnTo>
                  <a:pt x="381" y="75"/>
                </a:lnTo>
                <a:lnTo>
                  <a:pt x="387" y="70"/>
                </a:lnTo>
                <a:lnTo>
                  <a:pt x="392" y="63"/>
                </a:lnTo>
                <a:lnTo>
                  <a:pt x="397" y="56"/>
                </a:lnTo>
                <a:lnTo>
                  <a:pt x="403" y="49"/>
                </a:lnTo>
                <a:lnTo>
                  <a:pt x="410" y="43"/>
                </a:lnTo>
                <a:lnTo>
                  <a:pt x="419" y="38"/>
                </a:lnTo>
                <a:lnTo>
                  <a:pt x="433" y="30"/>
                </a:lnTo>
                <a:lnTo>
                  <a:pt x="446" y="25"/>
                </a:lnTo>
                <a:lnTo>
                  <a:pt x="458" y="22"/>
                </a:lnTo>
                <a:lnTo>
                  <a:pt x="468" y="21"/>
                </a:lnTo>
                <a:lnTo>
                  <a:pt x="478" y="22"/>
                </a:lnTo>
                <a:lnTo>
                  <a:pt x="487" y="25"/>
                </a:lnTo>
                <a:lnTo>
                  <a:pt x="496" y="28"/>
                </a:lnTo>
                <a:lnTo>
                  <a:pt x="503" y="31"/>
                </a:lnTo>
                <a:lnTo>
                  <a:pt x="511" y="35"/>
                </a:lnTo>
                <a:lnTo>
                  <a:pt x="520" y="38"/>
                </a:lnTo>
                <a:lnTo>
                  <a:pt x="528" y="41"/>
                </a:lnTo>
                <a:lnTo>
                  <a:pt x="537" y="43"/>
                </a:lnTo>
                <a:lnTo>
                  <a:pt x="547" y="43"/>
                </a:lnTo>
                <a:lnTo>
                  <a:pt x="559" y="42"/>
                </a:lnTo>
                <a:lnTo>
                  <a:pt x="571" y="39"/>
                </a:lnTo>
                <a:lnTo>
                  <a:pt x="586" y="33"/>
                </a:lnTo>
                <a:lnTo>
                  <a:pt x="632" y="74"/>
                </a:lnTo>
                <a:lnTo>
                  <a:pt x="646" y="67"/>
                </a:lnTo>
                <a:lnTo>
                  <a:pt x="651" y="81"/>
                </a:lnTo>
                <a:lnTo>
                  <a:pt x="658" y="93"/>
                </a:lnTo>
                <a:lnTo>
                  <a:pt x="665" y="105"/>
                </a:lnTo>
                <a:lnTo>
                  <a:pt x="671" y="117"/>
                </a:lnTo>
                <a:lnTo>
                  <a:pt x="646" y="152"/>
                </a:lnTo>
                <a:lnTo>
                  <a:pt x="623" y="183"/>
                </a:lnTo>
                <a:lnTo>
                  <a:pt x="612" y="199"/>
                </a:lnTo>
                <a:lnTo>
                  <a:pt x="602" y="216"/>
                </a:lnTo>
                <a:lnTo>
                  <a:pt x="593" y="233"/>
                </a:lnTo>
                <a:lnTo>
                  <a:pt x="584" y="254"/>
                </a:lnTo>
                <a:lnTo>
                  <a:pt x="578" y="273"/>
                </a:lnTo>
                <a:lnTo>
                  <a:pt x="570" y="291"/>
                </a:lnTo>
                <a:lnTo>
                  <a:pt x="564" y="309"/>
                </a:lnTo>
                <a:lnTo>
                  <a:pt x="557" y="326"/>
                </a:lnTo>
                <a:lnTo>
                  <a:pt x="550" y="343"/>
                </a:lnTo>
                <a:lnTo>
                  <a:pt x="543" y="363"/>
                </a:lnTo>
                <a:lnTo>
                  <a:pt x="534" y="383"/>
                </a:lnTo>
                <a:lnTo>
                  <a:pt x="525" y="407"/>
                </a:lnTo>
                <a:lnTo>
                  <a:pt x="524" y="410"/>
                </a:lnTo>
                <a:lnTo>
                  <a:pt x="521" y="416"/>
                </a:lnTo>
                <a:lnTo>
                  <a:pt x="516" y="422"/>
                </a:lnTo>
                <a:lnTo>
                  <a:pt x="511" y="428"/>
                </a:lnTo>
                <a:lnTo>
                  <a:pt x="505" y="434"/>
                </a:lnTo>
                <a:lnTo>
                  <a:pt x="500" y="439"/>
                </a:lnTo>
                <a:lnTo>
                  <a:pt x="496" y="443"/>
                </a:lnTo>
                <a:lnTo>
                  <a:pt x="492" y="444"/>
                </a:lnTo>
                <a:lnTo>
                  <a:pt x="482" y="443"/>
                </a:lnTo>
                <a:lnTo>
                  <a:pt x="474" y="440"/>
                </a:lnTo>
                <a:lnTo>
                  <a:pt x="466" y="436"/>
                </a:lnTo>
                <a:lnTo>
                  <a:pt x="459" y="432"/>
                </a:lnTo>
                <a:lnTo>
                  <a:pt x="453" y="428"/>
                </a:lnTo>
                <a:lnTo>
                  <a:pt x="446" y="424"/>
                </a:lnTo>
                <a:lnTo>
                  <a:pt x="440" y="421"/>
                </a:lnTo>
                <a:lnTo>
                  <a:pt x="432" y="420"/>
                </a:lnTo>
                <a:lnTo>
                  <a:pt x="419" y="421"/>
                </a:lnTo>
                <a:lnTo>
                  <a:pt x="408" y="424"/>
                </a:lnTo>
                <a:lnTo>
                  <a:pt x="398" y="428"/>
                </a:lnTo>
                <a:lnTo>
                  <a:pt x="389" y="434"/>
                </a:lnTo>
                <a:lnTo>
                  <a:pt x="381" y="441"/>
                </a:lnTo>
                <a:lnTo>
                  <a:pt x="375" y="449"/>
                </a:lnTo>
                <a:lnTo>
                  <a:pt x="369" y="458"/>
                </a:lnTo>
                <a:lnTo>
                  <a:pt x="364" y="469"/>
                </a:lnTo>
                <a:lnTo>
                  <a:pt x="355" y="489"/>
                </a:lnTo>
                <a:lnTo>
                  <a:pt x="346" y="510"/>
                </a:lnTo>
                <a:lnTo>
                  <a:pt x="342" y="521"/>
                </a:lnTo>
                <a:lnTo>
                  <a:pt x="336" y="531"/>
                </a:lnTo>
                <a:lnTo>
                  <a:pt x="332" y="541"/>
                </a:lnTo>
                <a:lnTo>
                  <a:pt x="325" y="549"/>
                </a:lnTo>
                <a:lnTo>
                  <a:pt x="233" y="543"/>
                </a:lnTo>
                <a:lnTo>
                  <a:pt x="231" y="545"/>
                </a:lnTo>
                <a:lnTo>
                  <a:pt x="229" y="546"/>
                </a:lnTo>
                <a:lnTo>
                  <a:pt x="227" y="547"/>
                </a:lnTo>
                <a:lnTo>
                  <a:pt x="223" y="548"/>
                </a:lnTo>
                <a:lnTo>
                  <a:pt x="217" y="548"/>
                </a:lnTo>
                <a:lnTo>
                  <a:pt x="209" y="547"/>
                </a:lnTo>
                <a:lnTo>
                  <a:pt x="193" y="545"/>
                </a:lnTo>
                <a:lnTo>
                  <a:pt x="179" y="543"/>
                </a:lnTo>
                <a:lnTo>
                  <a:pt x="173" y="543"/>
                </a:lnTo>
                <a:lnTo>
                  <a:pt x="167" y="542"/>
                </a:lnTo>
                <a:lnTo>
                  <a:pt x="161" y="540"/>
                </a:lnTo>
                <a:lnTo>
                  <a:pt x="155" y="537"/>
                </a:lnTo>
                <a:lnTo>
                  <a:pt x="150" y="534"/>
                </a:lnTo>
                <a:lnTo>
                  <a:pt x="144" y="531"/>
                </a:lnTo>
                <a:lnTo>
                  <a:pt x="139" y="527"/>
                </a:lnTo>
                <a:lnTo>
                  <a:pt x="134" y="521"/>
                </a:lnTo>
                <a:lnTo>
                  <a:pt x="129" y="515"/>
                </a:lnTo>
                <a:lnTo>
                  <a:pt x="126" y="509"/>
                </a:lnTo>
                <a:lnTo>
                  <a:pt x="122" y="503"/>
                </a:lnTo>
                <a:lnTo>
                  <a:pt x="119" y="496"/>
                </a:lnTo>
                <a:lnTo>
                  <a:pt x="117" y="489"/>
                </a:lnTo>
                <a:lnTo>
                  <a:pt x="115" y="481"/>
                </a:lnTo>
                <a:lnTo>
                  <a:pt x="113" y="472"/>
                </a:lnTo>
                <a:lnTo>
                  <a:pt x="113" y="462"/>
                </a:lnTo>
                <a:lnTo>
                  <a:pt x="106" y="462"/>
                </a:lnTo>
                <a:lnTo>
                  <a:pt x="100" y="460"/>
                </a:lnTo>
                <a:lnTo>
                  <a:pt x="95" y="457"/>
                </a:lnTo>
                <a:lnTo>
                  <a:pt x="90" y="454"/>
                </a:lnTo>
                <a:lnTo>
                  <a:pt x="83" y="447"/>
                </a:lnTo>
                <a:lnTo>
                  <a:pt x="74" y="439"/>
                </a:lnTo>
                <a:lnTo>
                  <a:pt x="70" y="435"/>
                </a:lnTo>
                <a:lnTo>
                  <a:pt x="63" y="432"/>
                </a:lnTo>
                <a:lnTo>
                  <a:pt x="56" y="430"/>
                </a:lnTo>
                <a:lnTo>
                  <a:pt x="49" y="429"/>
                </a:lnTo>
                <a:lnTo>
                  <a:pt x="39" y="429"/>
                </a:lnTo>
                <a:lnTo>
                  <a:pt x="28" y="430"/>
                </a:lnTo>
                <a:lnTo>
                  <a:pt x="15" y="433"/>
                </a:lnTo>
                <a:lnTo>
                  <a:pt x="0" y="43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081" name="Freeform 33"/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6446838" y="3097213"/>
            <a:ext cx="152400" cy="169862"/>
          </a:xfrm>
          <a:custGeom>
            <a:avLst/>
            <a:gdLst>
              <a:gd name="T0" fmla="*/ 326 w 358"/>
              <a:gd name="T1" fmla="*/ 324 h 327"/>
              <a:gd name="T2" fmla="*/ 331 w 358"/>
              <a:gd name="T3" fmla="*/ 321 h 327"/>
              <a:gd name="T4" fmla="*/ 337 w 358"/>
              <a:gd name="T5" fmla="*/ 318 h 327"/>
              <a:gd name="T6" fmla="*/ 346 w 358"/>
              <a:gd name="T7" fmla="*/ 318 h 327"/>
              <a:gd name="T8" fmla="*/ 356 w 358"/>
              <a:gd name="T9" fmla="*/ 324 h 327"/>
              <a:gd name="T10" fmla="*/ 319 w 358"/>
              <a:gd name="T11" fmla="*/ 285 h 327"/>
              <a:gd name="T12" fmla="*/ 278 w 358"/>
              <a:gd name="T13" fmla="*/ 235 h 327"/>
              <a:gd name="T14" fmla="*/ 253 w 358"/>
              <a:gd name="T15" fmla="*/ 204 h 327"/>
              <a:gd name="T16" fmla="*/ 232 w 358"/>
              <a:gd name="T17" fmla="*/ 186 h 327"/>
              <a:gd name="T18" fmla="*/ 219 w 358"/>
              <a:gd name="T19" fmla="*/ 181 h 327"/>
              <a:gd name="T20" fmla="*/ 208 w 358"/>
              <a:gd name="T21" fmla="*/ 180 h 327"/>
              <a:gd name="T22" fmla="*/ 201 w 358"/>
              <a:gd name="T23" fmla="*/ 179 h 327"/>
              <a:gd name="T24" fmla="*/ 199 w 358"/>
              <a:gd name="T25" fmla="*/ 174 h 327"/>
              <a:gd name="T26" fmla="*/ 198 w 358"/>
              <a:gd name="T27" fmla="*/ 170 h 327"/>
              <a:gd name="T28" fmla="*/ 195 w 358"/>
              <a:gd name="T29" fmla="*/ 169 h 327"/>
              <a:gd name="T30" fmla="*/ 184 w 358"/>
              <a:gd name="T31" fmla="*/ 172 h 327"/>
              <a:gd name="T32" fmla="*/ 171 w 358"/>
              <a:gd name="T33" fmla="*/ 172 h 327"/>
              <a:gd name="T34" fmla="*/ 165 w 358"/>
              <a:gd name="T35" fmla="*/ 168 h 327"/>
              <a:gd name="T36" fmla="*/ 160 w 358"/>
              <a:gd name="T37" fmla="*/ 161 h 327"/>
              <a:gd name="T38" fmla="*/ 152 w 358"/>
              <a:gd name="T39" fmla="*/ 144 h 327"/>
              <a:gd name="T40" fmla="*/ 143 w 358"/>
              <a:gd name="T41" fmla="*/ 131 h 327"/>
              <a:gd name="T42" fmla="*/ 133 w 358"/>
              <a:gd name="T43" fmla="*/ 119 h 327"/>
              <a:gd name="T44" fmla="*/ 127 w 358"/>
              <a:gd name="T45" fmla="*/ 105 h 327"/>
              <a:gd name="T46" fmla="*/ 122 w 358"/>
              <a:gd name="T47" fmla="*/ 84 h 327"/>
              <a:gd name="T48" fmla="*/ 119 w 358"/>
              <a:gd name="T49" fmla="*/ 53 h 327"/>
              <a:gd name="T50" fmla="*/ 117 w 358"/>
              <a:gd name="T51" fmla="*/ 23 h 327"/>
              <a:gd name="T52" fmla="*/ 112 w 358"/>
              <a:gd name="T53" fmla="*/ 0 h 327"/>
              <a:gd name="T54" fmla="*/ 73 w 358"/>
              <a:gd name="T55" fmla="*/ 26 h 327"/>
              <a:gd name="T56" fmla="*/ 61 w 358"/>
              <a:gd name="T57" fmla="*/ 33 h 327"/>
              <a:gd name="T58" fmla="*/ 33 w 358"/>
              <a:gd name="T59" fmla="*/ 50 h 327"/>
              <a:gd name="T60" fmla="*/ 21 w 358"/>
              <a:gd name="T61" fmla="*/ 61 h 327"/>
              <a:gd name="T62" fmla="*/ 17 w 358"/>
              <a:gd name="T63" fmla="*/ 72 h 327"/>
              <a:gd name="T64" fmla="*/ 16 w 358"/>
              <a:gd name="T65" fmla="*/ 83 h 327"/>
              <a:gd name="T66" fmla="*/ 20 w 358"/>
              <a:gd name="T67" fmla="*/ 93 h 327"/>
              <a:gd name="T68" fmla="*/ 22 w 358"/>
              <a:gd name="T69" fmla="*/ 100 h 327"/>
              <a:gd name="T70" fmla="*/ 20 w 358"/>
              <a:gd name="T71" fmla="*/ 110 h 327"/>
              <a:gd name="T72" fmla="*/ 15 w 358"/>
              <a:gd name="T73" fmla="*/ 123 h 327"/>
              <a:gd name="T74" fmla="*/ 7 w 358"/>
              <a:gd name="T75" fmla="*/ 136 h 327"/>
              <a:gd name="T76" fmla="*/ 0 w 358"/>
              <a:gd name="T77" fmla="*/ 155 h 327"/>
              <a:gd name="T78" fmla="*/ 0 w 358"/>
              <a:gd name="T79" fmla="*/ 174 h 327"/>
              <a:gd name="T80" fmla="*/ 5 w 358"/>
              <a:gd name="T81" fmla="*/ 182 h 327"/>
              <a:gd name="T82" fmla="*/ 11 w 358"/>
              <a:gd name="T83" fmla="*/ 187 h 327"/>
              <a:gd name="T84" fmla="*/ 20 w 358"/>
              <a:gd name="T85" fmla="*/ 186 h 327"/>
              <a:gd name="T86" fmla="*/ 44 w 358"/>
              <a:gd name="T87" fmla="*/ 168 h 327"/>
              <a:gd name="T88" fmla="*/ 60 w 358"/>
              <a:gd name="T89" fmla="*/ 161 h 327"/>
              <a:gd name="T90" fmla="*/ 76 w 358"/>
              <a:gd name="T91" fmla="*/ 150 h 327"/>
              <a:gd name="T92" fmla="*/ 93 w 358"/>
              <a:gd name="T93" fmla="*/ 159 h 327"/>
              <a:gd name="T94" fmla="*/ 110 w 358"/>
              <a:gd name="T95" fmla="*/ 164 h 327"/>
              <a:gd name="T96" fmla="*/ 142 w 358"/>
              <a:gd name="T97" fmla="*/ 180 h 327"/>
              <a:gd name="T98" fmla="*/ 163 w 358"/>
              <a:gd name="T99" fmla="*/ 190 h 327"/>
              <a:gd name="T100" fmla="*/ 196 w 358"/>
              <a:gd name="T101" fmla="*/ 209 h 327"/>
              <a:gd name="T102" fmla="*/ 219 w 358"/>
              <a:gd name="T103" fmla="*/ 225 h 327"/>
              <a:gd name="T104" fmla="*/ 245 w 358"/>
              <a:gd name="T105" fmla="*/ 244 h 327"/>
              <a:gd name="T106" fmla="*/ 256 w 358"/>
              <a:gd name="T107" fmla="*/ 254 h 327"/>
              <a:gd name="T108" fmla="*/ 267 w 358"/>
              <a:gd name="T109" fmla="*/ 270 h 327"/>
              <a:gd name="T110" fmla="*/ 269 w 358"/>
              <a:gd name="T111" fmla="*/ 279 h 327"/>
              <a:gd name="T112" fmla="*/ 269 w 358"/>
              <a:gd name="T113" fmla="*/ 286 h 327"/>
              <a:gd name="T114" fmla="*/ 270 w 358"/>
              <a:gd name="T115" fmla="*/ 290 h 327"/>
              <a:gd name="T116" fmla="*/ 276 w 358"/>
              <a:gd name="T117" fmla="*/ 292 h 327"/>
              <a:gd name="T118" fmla="*/ 292 w 358"/>
              <a:gd name="T119" fmla="*/ 302 h 327"/>
              <a:gd name="T120" fmla="*/ 318 w 358"/>
              <a:gd name="T121" fmla="*/ 321 h 3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58" h="327">
                <a:moveTo>
                  <a:pt x="325" y="327"/>
                </a:moveTo>
                <a:lnTo>
                  <a:pt x="326" y="324"/>
                </a:lnTo>
                <a:lnTo>
                  <a:pt x="329" y="322"/>
                </a:lnTo>
                <a:lnTo>
                  <a:pt x="331" y="321"/>
                </a:lnTo>
                <a:lnTo>
                  <a:pt x="332" y="321"/>
                </a:lnTo>
                <a:lnTo>
                  <a:pt x="337" y="318"/>
                </a:lnTo>
                <a:lnTo>
                  <a:pt x="342" y="317"/>
                </a:lnTo>
                <a:lnTo>
                  <a:pt x="346" y="318"/>
                </a:lnTo>
                <a:lnTo>
                  <a:pt x="351" y="319"/>
                </a:lnTo>
                <a:lnTo>
                  <a:pt x="356" y="324"/>
                </a:lnTo>
                <a:lnTo>
                  <a:pt x="358" y="327"/>
                </a:lnTo>
                <a:lnTo>
                  <a:pt x="319" y="285"/>
                </a:lnTo>
                <a:lnTo>
                  <a:pt x="302" y="265"/>
                </a:lnTo>
                <a:lnTo>
                  <a:pt x="278" y="235"/>
                </a:lnTo>
                <a:lnTo>
                  <a:pt x="265" y="219"/>
                </a:lnTo>
                <a:lnTo>
                  <a:pt x="253" y="204"/>
                </a:lnTo>
                <a:lnTo>
                  <a:pt x="241" y="193"/>
                </a:lnTo>
                <a:lnTo>
                  <a:pt x="232" y="186"/>
                </a:lnTo>
                <a:lnTo>
                  <a:pt x="225" y="182"/>
                </a:lnTo>
                <a:lnTo>
                  <a:pt x="219" y="181"/>
                </a:lnTo>
                <a:lnTo>
                  <a:pt x="213" y="180"/>
                </a:lnTo>
                <a:lnTo>
                  <a:pt x="208" y="180"/>
                </a:lnTo>
                <a:lnTo>
                  <a:pt x="205" y="180"/>
                </a:lnTo>
                <a:lnTo>
                  <a:pt x="201" y="179"/>
                </a:lnTo>
                <a:lnTo>
                  <a:pt x="200" y="177"/>
                </a:lnTo>
                <a:lnTo>
                  <a:pt x="199" y="174"/>
                </a:lnTo>
                <a:lnTo>
                  <a:pt x="199" y="172"/>
                </a:lnTo>
                <a:lnTo>
                  <a:pt x="198" y="170"/>
                </a:lnTo>
                <a:lnTo>
                  <a:pt x="197" y="169"/>
                </a:lnTo>
                <a:lnTo>
                  <a:pt x="195" y="169"/>
                </a:lnTo>
                <a:lnTo>
                  <a:pt x="190" y="170"/>
                </a:lnTo>
                <a:lnTo>
                  <a:pt x="184" y="172"/>
                </a:lnTo>
                <a:lnTo>
                  <a:pt x="178" y="173"/>
                </a:lnTo>
                <a:lnTo>
                  <a:pt x="171" y="172"/>
                </a:lnTo>
                <a:lnTo>
                  <a:pt x="168" y="170"/>
                </a:lnTo>
                <a:lnTo>
                  <a:pt x="165" y="168"/>
                </a:lnTo>
                <a:lnTo>
                  <a:pt x="162" y="165"/>
                </a:lnTo>
                <a:lnTo>
                  <a:pt x="160" y="161"/>
                </a:lnTo>
                <a:lnTo>
                  <a:pt x="156" y="152"/>
                </a:lnTo>
                <a:lnTo>
                  <a:pt x="152" y="144"/>
                </a:lnTo>
                <a:lnTo>
                  <a:pt x="147" y="138"/>
                </a:lnTo>
                <a:lnTo>
                  <a:pt x="143" y="131"/>
                </a:lnTo>
                <a:lnTo>
                  <a:pt x="138" y="125"/>
                </a:lnTo>
                <a:lnTo>
                  <a:pt x="133" y="119"/>
                </a:lnTo>
                <a:lnTo>
                  <a:pt x="129" y="112"/>
                </a:lnTo>
                <a:lnTo>
                  <a:pt x="127" y="105"/>
                </a:lnTo>
                <a:lnTo>
                  <a:pt x="123" y="96"/>
                </a:lnTo>
                <a:lnTo>
                  <a:pt x="122" y="84"/>
                </a:lnTo>
                <a:lnTo>
                  <a:pt x="121" y="69"/>
                </a:lnTo>
                <a:lnTo>
                  <a:pt x="119" y="53"/>
                </a:lnTo>
                <a:lnTo>
                  <a:pt x="118" y="37"/>
                </a:lnTo>
                <a:lnTo>
                  <a:pt x="117" y="23"/>
                </a:lnTo>
                <a:lnTo>
                  <a:pt x="115" y="10"/>
                </a:lnTo>
                <a:lnTo>
                  <a:pt x="112" y="0"/>
                </a:lnTo>
                <a:lnTo>
                  <a:pt x="93" y="0"/>
                </a:lnTo>
                <a:lnTo>
                  <a:pt x="73" y="26"/>
                </a:lnTo>
                <a:lnTo>
                  <a:pt x="70" y="28"/>
                </a:lnTo>
                <a:lnTo>
                  <a:pt x="61" y="33"/>
                </a:lnTo>
                <a:lnTo>
                  <a:pt x="48" y="41"/>
                </a:lnTo>
                <a:lnTo>
                  <a:pt x="33" y="50"/>
                </a:lnTo>
                <a:lnTo>
                  <a:pt x="27" y="55"/>
                </a:lnTo>
                <a:lnTo>
                  <a:pt x="21" y="61"/>
                </a:lnTo>
                <a:lnTo>
                  <a:pt x="18" y="66"/>
                </a:lnTo>
                <a:lnTo>
                  <a:pt x="17" y="72"/>
                </a:lnTo>
                <a:lnTo>
                  <a:pt x="16" y="78"/>
                </a:lnTo>
                <a:lnTo>
                  <a:pt x="16" y="83"/>
                </a:lnTo>
                <a:lnTo>
                  <a:pt x="18" y="88"/>
                </a:lnTo>
                <a:lnTo>
                  <a:pt x="20" y="93"/>
                </a:lnTo>
                <a:lnTo>
                  <a:pt x="21" y="96"/>
                </a:lnTo>
                <a:lnTo>
                  <a:pt x="22" y="100"/>
                </a:lnTo>
                <a:lnTo>
                  <a:pt x="22" y="104"/>
                </a:lnTo>
                <a:lnTo>
                  <a:pt x="20" y="110"/>
                </a:lnTo>
                <a:lnTo>
                  <a:pt x="18" y="117"/>
                </a:lnTo>
                <a:lnTo>
                  <a:pt x="15" y="123"/>
                </a:lnTo>
                <a:lnTo>
                  <a:pt x="11" y="130"/>
                </a:lnTo>
                <a:lnTo>
                  <a:pt x="7" y="136"/>
                </a:lnTo>
                <a:lnTo>
                  <a:pt x="3" y="146"/>
                </a:lnTo>
                <a:lnTo>
                  <a:pt x="0" y="155"/>
                </a:lnTo>
                <a:lnTo>
                  <a:pt x="0" y="164"/>
                </a:lnTo>
                <a:lnTo>
                  <a:pt x="0" y="174"/>
                </a:lnTo>
                <a:lnTo>
                  <a:pt x="1" y="176"/>
                </a:lnTo>
                <a:lnTo>
                  <a:pt x="5" y="182"/>
                </a:lnTo>
                <a:lnTo>
                  <a:pt x="8" y="185"/>
                </a:lnTo>
                <a:lnTo>
                  <a:pt x="11" y="187"/>
                </a:lnTo>
                <a:lnTo>
                  <a:pt x="15" y="187"/>
                </a:lnTo>
                <a:lnTo>
                  <a:pt x="20" y="186"/>
                </a:lnTo>
                <a:lnTo>
                  <a:pt x="31" y="177"/>
                </a:lnTo>
                <a:lnTo>
                  <a:pt x="44" y="168"/>
                </a:lnTo>
                <a:lnTo>
                  <a:pt x="55" y="163"/>
                </a:lnTo>
                <a:lnTo>
                  <a:pt x="60" y="161"/>
                </a:lnTo>
                <a:lnTo>
                  <a:pt x="73" y="149"/>
                </a:lnTo>
                <a:lnTo>
                  <a:pt x="76" y="150"/>
                </a:lnTo>
                <a:lnTo>
                  <a:pt x="84" y="155"/>
                </a:lnTo>
                <a:lnTo>
                  <a:pt x="93" y="159"/>
                </a:lnTo>
                <a:lnTo>
                  <a:pt x="99" y="161"/>
                </a:lnTo>
                <a:lnTo>
                  <a:pt x="110" y="164"/>
                </a:lnTo>
                <a:lnTo>
                  <a:pt x="126" y="170"/>
                </a:lnTo>
                <a:lnTo>
                  <a:pt x="142" y="180"/>
                </a:lnTo>
                <a:lnTo>
                  <a:pt x="153" y="186"/>
                </a:lnTo>
                <a:lnTo>
                  <a:pt x="163" y="190"/>
                </a:lnTo>
                <a:lnTo>
                  <a:pt x="179" y="199"/>
                </a:lnTo>
                <a:lnTo>
                  <a:pt x="196" y="209"/>
                </a:lnTo>
                <a:lnTo>
                  <a:pt x="206" y="216"/>
                </a:lnTo>
                <a:lnTo>
                  <a:pt x="219" y="225"/>
                </a:lnTo>
                <a:lnTo>
                  <a:pt x="232" y="235"/>
                </a:lnTo>
                <a:lnTo>
                  <a:pt x="245" y="244"/>
                </a:lnTo>
                <a:lnTo>
                  <a:pt x="252" y="247"/>
                </a:lnTo>
                <a:lnTo>
                  <a:pt x="256" y="254"/>
                </a:lnTo>
                <a:lnTo>
                  <a:pt x="266" y="265"/>
                </a:lnTo>
                <a:lnTo>
                  <a:pt x="267" y="270"/>
                </a:lnTo>
                <a:lnTo>
                  <a:pt x="268" y="274"/>
                </a:lnTo>
                <a:lnTo>
                  <a:pt x="269" y="279"/>
                </a:lnTo>
                <a:lnTo>
                  <a:pt x="269" y="283"/>
                </a:lnTo>
                <a:lnTo>
                  <a:pt x="269" y="286"/>
                </a:lnTo>
                <a:lnTo>
                  <a:pt x="269" y="289"/>
                </a:lnTo>
                <a:lnTo>
                  <a:pt x="270" y="290"/>
                </a:lnTo>
                <a:lnTo>
                  <a:pt x="273" y="291"/>
                </a:lnTo>
                <a:lnTo>
                  <a:pt x="276" y="292"/>
                </a:lnTo>
                <a:lnTo>
                  <a:pt x="284" y="296"/>
                </a:lnTo>
                <a:lnTo>
                  <a:pt x="292" y="302"/>
                </a:lnTo>
                <a:lnTo>
                  <a:pt x="301" y="309"/>
                </a:lnTo>
                <a:lnTo>
                  <a:pt x="318" y="321"/>
                </a:lnTo>
                <a:lnTo>
                  <a:pt x="325" y="32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082" name="Freeform 34"/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5908676" y="2101850"/>
            <a:ext cx="125413" cy="57150"/>
          </a:xfrm>
          <a:custGeom>
            <a:avLst/>
            <a:gdLst>
              <a:gd name="T0" fmla="*/ 126 w 292"/>
              <a:gd name="T1" fmla="*/ 0 h 99"/>
              <a:gd name="T2" fmla="*/ 153 w 292"/>
              <a:gd name="T3" fmla="*/ 0 h 99"/>
              <a:gd name="T4" fmla="*/ 198 w 292"/>
              <a:gd name="T5" fmla="*/ 1 h 99"/>
              <a:gd name="T6" fmla="*/ 250 w 292"/>
              <a:gd name="T7" fmla="*/ 6 h 99"/>
              <a:gd name="T8" fmla="*/ 292 w 292"/>
              <a:gd name="T9" fmla="*/ 7 h 99"/>
              <a:gd name="T10" fmla="*/ 290 w 292"/>
              <a:gd name="T11" fmla="*/ 20 h 99"/>
              <a:gd name="T12" fmla="*/ 285 w 292"/>
              <a:gd name="T13" fmla="*/ 33 h 99"/>
              <a:gd name="T14" fmla="*/ 279 w 292"/>
              <a:gd name="T15" fmla="*/ 55 h 99"/>
              <a:gd name="T16" fmla="*/ 135 w 292"/>
              <a:gd name="T17" fmla="*/ 70 h 99"/>
              <a:gd name="T18" fmla="*/ 99 w 292"/>
              <a:gd name="T19" fmla="*/ 89 h 99"/>
              <a:gd name="T20" fmla="*/ 79 w 292"/>
              <a:gd name="T21" fmla="*/ 96 h 99"/>
              <a:gd name="T22" fmla="*/ 66 w 292"/>
              <a:gd name="T23" fmla="*/ 98 h 99"/>
              <a:gd name="T24" fmla="*/ 55 w 292"/>
              <a:gd name="T25" fmla="*/ 98 h 99"/>
              <a:gd name="T26" fmla="*/ 45 w 292"/>
              <a:gd name="T27" fmla="*/ 94 h 99"/>
              <a:gd name="T28" fmla="*/ 33 w 292"/>
              <a:gd name="T29" fmla="*/ 86 h 99"/>
              <a:gd name="T30" fmla="*/ 20 w 292"/>
              <a:gd name="T31" fmla="*/ 77 h 99"/>
              <a:gd name="T32" fmla="*/ 7 w 292"/>
              <a:gd name="T33" fmla="*/ 69 h 99"/>
              <a:gd name="T34" fmla="*/ 1 w 292"/>
              <a:gd name="T35" fmla="*/ 57 h 99"/>
              <a:gd name="T36" fmla="*/ 0 w 292"/>
              <a:gd name="T37" fmla="*/ 42 h 99"/>
              <a:gd name="T38" fmla="*/ 1 w 292"/>
              <a:gd name="T39" fmla="*/ 25 h 99"/>
              <a:gd name="T40" fmla="*/ 3 w 292"/>
              <a:gd name="T41" fmla="*/ 20 h 99"/>
              <a:gd name="T42" fmla="*/ 9 w 292"/>
              <a:gd name="T43" fmla="*/ 18 h 99"/>
              <a:gd name="T44" fmla="*/ 15 w 292"/>
              <a:gd name="T45" fmla="*/ 21 h 99"/>
              <a:gd name="T46" fmla="*/ 25 w 292"/>
              <a:gd name="T47" fmla="*/ 28 h 99"/>
              <a:gd name="T48" fmla="*/ 35 w 292"/>
              <a:gd name="T49" fmla="*/ 32 h 99"/>
              <a:gd name="T50" fmla="*/ 45 w 292"/>
              <a:gd name="T51" fmla="*/ 34 h 99"/>
              <a:gd name="T52" fmla="*/ 54 w 292"/>
              <a:gd name="T53" fmla="*/ 33 h 99"/>
              <a:gd name="T54" fmla="*/ 67 w 292"/>
              <a:gd name="T55" fmla="*/ 29 h 99"/>
              <a:gd name="T56" fmla="*/ 81 w 292"/>
              <a:gd name="T57" fmla="*/ 19 h 99"/>
              <a:gd name="T58" fmla="*/ 88 w 292"/>
              <a:gd name="T59" fmla="*/ 11 h 99"/>
              <a:gd name="T60" fmla="*/ 94 w 292"/>
              <a:gd name="T61" fmla="*/ 6 h 99"/>
              <a:gd name="T62" fmla="*/ 109 w 292"/>
              <a:gd name="T63" fmla="*/ 1 h 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292" h="99">
                <a:moveTo>
                  <a:pt x="113" y="0"/>
                </a:moveTo>
                <a:lnTo>
                  <a:pt x="126" y="0"/>
                </a:lnTo>
                <a:lnTo>
                  <a:pt x="138" y="0"/>
                </a:lnTo>
                <a:lnTo>
                  <a:pt x="153" y="0"/>
                </a:lnTo>
                <a:lnTo>
                  <a:pt x="172" y="0"/>
                </a:lnTo>
                <a:lnTo>
                  <a:pt x="198" y="1"/>
                </a:lnTo>
                <a:lnTo>
                  <a:pt x="224" y="3"/>
                </a:lnTo>
                <a:lnTo>
                  <a:pt x="250" y="6"/>
                </a:lnTo>
                <a:lnTo>
                  <a:pt x="279" y="7"/>
                </a:lnTo>
                <a:lnTo>
                  <a:pt x="292" y="7"/>
                </a:lnTo>
                <a:lnTo>
                  <a:pt x="292" y="14"/>
                </a:lnTo>
                <a:lnTo>
                  <a:pt x="290" y="20"/>
                </a:lnTo>
                <a:lnTo>
                  <a:pt x="288" y="27"/>
                </a:lnTo>
                <a:lnTo>
                  <a:pt x="285" y="33"/>
                </a:lnTo>
                <a:lnTo>
                  <a:pt x="281" y="45"/>
                </a:lnTo>
                <a:lnTo>
                  <a:pt x="279" y="55"/>
                </a:lnTo>
                <a:lnTo>
                  <a:pt x="153" y="62"/>
                </a:lnTo>
                <a:lnTo>
                  <a:pt x="135" y="70"/>
                </a:lnTo>
                <a:lnTo>
                  <a:pt x="111" y="83"/>
                </a:lnTo>
                <a:lnTo>
                  <a:pt x="99" y="89"/>
                </a:lnTo>
                <a:lnTo>
                  <a:pt x="86" y="94"/>
                </a:lnTo>
                <a:lnTo>
                  <a:pt x="79" y="96"/>
                </a:lnTo>
                <a:lnTo>
                  <a:pt x="72" y="97"/>
                </a:lnTo>
                <a:lnTo>
                  <a:pt x="66" y="98"/>
                </a:lnTo>
                <a:lnTo>
                  <a:pt x="60" y="99"/>
                </a:lnTo>
                <a:lnTo>
                  <a:pt x="55" y="98"/>
                </a:lnTo>
                <a:lnTo>
                  <a:pt x="51" y="97"/>
                </a:lnTo>
                <a:lnTo>
                  <a:pt x="45" y="94"/>
                </a:lnTo>
                <a:lnTo>
                  <a:pt x="41" y="92"/>
                </a:lnTo>
                <a:lnTo>
                  <a:pt x="33" y="86"/>
                </a:lnTo>
                <a:lnTo>
                  <a:pt x="26" y="80"/>
                </a:lnTo>
                <a:lnTo>
                  <a:pt x="20" y="77"/>
                </a:lnTo>
                <a:lnTo>
                  <a:pt x="11" y="72"/>
                </a:lnTo>
                <a:lnTo>
                  <a:pt x="7" y="69"/>
                </a:lnTo>
                <a:lnTo>
                  <a:pt x="3" y="64"/>
                </a:lnTo>
                <a:lnTo>
                  <a:pt x="1" y="57"/>
                </a:lnTo>
                <a:lnTo>
                  <a:pt x="0" y="49"/>
                </a:lnTo>
                <a:lnTo>
                  <a:pt x="0" y="42"/>
                </a:lnTo>
                <a:lnTo>
                  <a:pt x="0" y="28"/>
                </a:lnTo>
                <a:lnTo>
                  <a:pt x="1" y="25"/>
                </a:lnTo>
                <a:lnTo>
                  <a:pt x="2" y="22"/>
                </a:lnTo>
                <a:lnTo>
                  <a:pt x="3" y="20"/>
                </a:lnTo>
                <a:lnTo>
                  <a:pt x="5" y="18"/>
                </a:lnTo>
                <a:lnTo>
                  <a:pt x="9" y="18"/>
                </a:lnTo>
                <a:lnTo>
                  <a:pt x="11" y="19"/>
                </a:lnTo>
                <a:lnTo>
                  <a:pt x="15" y="21"/>
                </a:lnTo>
                <a:lnTo>
                  <a:pt x="20" y="25"/>
                </a:lnTo>
                <a:lnTo>
                  <a:pt x="25" y="28"/>
                </a:lnTo>
                <a:lnTo>
                  <a:pt x="30" y="30"/>
                </a:lnTo>
                <a:lnTo>
                  <a:pt x="35" y="32"/>
                </a:lnTo>
                <a:lnTo>
                  <a:pt x="40" y="33"/>
                </a:lnTo>
                <a:lnTo>
                  <a:pt x="45" y="34"/>
                </a:lnTo>
                <a:lnTo>
                  <a:pt x="49" y="34"/>
                </a:lnTo>
                <a:lnTo>
                  <a:pt x="54" y="33"/>
                </a:lnTo>
                <a:lnTo>
                  <a:pt x="58" y="32"/>
                </a:lnTo>
                <a:lnTo>
                  <a:pt x="67" y="29"/>
                </a:lnTo>
                <a:lnTo>
                  <a:pt x="75" y="25"/>
                </a:lnTo>
                <a:lnTo>
                  <a:pt x="81" y="19"/>
                </a:lnTo>
                <a:lnTo>
                  <a:pt x="87" y="13"/>
                </a:lnTo>
                <a:lnTo>
                  <a:pt x="88" y="11"/>
                </a:lnTo>
                <a:lnTo>
                  <a:pt x="91" y="8"/>
                </a:lnTo>
                <a:lnTo>
                  <a:pt x="94" y="6"/>
                </a:lnTo>
                <a:lnTo>
                  <a:pt x="100" y="3"/>
                </a:lnTo>
                <a:lnTo>
                  <a:pt x="109" y="1"/>
                </a:lnTo>
                <a:lnTo>
                  <a:pt x="11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083" name="Freeform 35"/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6772275" y="2822575"/>
            <a:ext cx="19050" cy="57150"/>
          </a:xfrm>
          <a:custGeom>
            <a:avLst/>
            <a:gdLst>
              <a:gd name="T0" fmla="*/ 39 w 43"/>
              <a:gd name="T1" fmla="*/ 93 h 93"/>
              <a:gd name="T2" fmla="*/ 31 w 43"/>
              <a:gd name="T3" fmla="*/ 91 h 93"/>
              <a:gd name="T4" fmla="*/ 26 w 43"/>
              <a:gd name="T5" fmla="*/ 89 h 93"/>
              <a:gd name="T6" fmla="*/ 21 w 43"/>
              <a:gd name="T7" fmla="*/ 87 h 93"/>
              <a:gd name="T8" fmla="*/ 18 w 43"/>
              <a:gd name="T9" fmla="*/ 84 h 93"/>
              <a:gd name="T10" fmla="*/ 15 w 43"/>
              <a:gd name="T11" fmla="*/ 79 h 93"/>
              <a:gd name="T12" fmla="*/ 14 w 43"/>
              <a:gd name="T13" fmla="*/ 73 h 93"/>
              <a:gd name="T14" fmla="*/ 13 w 43"/>
              <a:gd name="T15" fmla="*/ 65 h 93"/>
              <a:gd name="T16" fmla="*/ 11 w 43"/>
              <a:gd name="T17" fmla="*/ 55 h 93"/>
              <a:gd name="T18" fmla="*/ 11 w 43"/>
              <a:gd name="T19" fmla="*/ 48 h 93"/>
              <a:gd name="T20" fmla="*/ 9 w 43"/>
              <a:gd name="T21" fmla="*/ 42 h 93"/>
              <a:gd name="T22" fmla="*/ 6 w 43"/>
              <a:gd name="T23" fmla="*/ 38 h 93"/>
              <a:gd name="T24" fmla="*/ 4 w 43"/>
              <a:gd name="T25" fmla="*/ 36 h 93"/>
              <a:gd name="T26" fmla="*/ 2 w 43"/>
              <a:gd name="T27" fmla="*/ 34 h 93"/>
              <a:gd name="T28" fmla="*/ 0 w 43"/>
              <a:gd name="T29" fmla="*/ 32 h 93"/>
              <a:gd name="T30" fmla="*/ 2 w 43"/>
              <a:gd name="T31" fmla="*/ 29 h 93"/>
              <a:gd name="T32" fmla="*/ 5 w 43"/>
              <a:gd name="T33" fmla="*/ 24 h 93"/>
              <a:gd name="T34" fmla="*/ 6 w 43"/>
              <a:gd name="T35" fmla="*/ 28 h 93"/>
              <a:gd name="T36" fmla="*/ 7 w 43"/>
              <a:gd name="T37" fmla="*/ 29 h 93"/>
              <a:gd name="T38" fmla="*/ 8 w 43"/>
              <a:gd name="T39" fmla="*/ 30 h 93"/>
              <a:gd name="T40" fmla="*/ 9 w 43"/>
              <a:gd name="T41" fmla="*/ 29 h 93"/>
              <a:gd name="T42" fmla="*/ 11 w 43"/>
              <a:gd name="T43" fmla="*/ 25 h 93"/>
              <a:gd name="T44" fmla="*/ 14 w 43"/>
              <a:gd name="T45" fmla="*/ 19 h 93"/>
              <a:gd name="T46" fmla="*/ 16 w 43"/>
              <a:gd name="T47" fmla="*/ 12 h 93"/>
              <a:gd name="T48" fmla="*/ 20 w 43"/>
              <a:gd name="T49" fmla="*/ 6 h 93"/>
              <a:gd name="T50" fmla="*/ 22 w 43"/>
              <a:gd name="T51" fmla="*/ 4 h 93"/>
              <a:gd name="T52" fmla="*/ 25 w 43"/>
              <a:gd name="T53" fmla="*/ 2 h 93"/>
              <a:gd name="T54" fmla="*/ 28 w 43"/>
              <a:gd name="T55" fmla="*/ 0 h 93"/>
              <a:gd name="T56" fmla="*/ 32 w 43"/>
              <a:gd name="T57" fmla="*/ 0 h 93"/>
              <a:gd name="T58" fmla="*/ 33 w 43"/>
              <a:gd name="T59" fmla="*/ 10 h 93"/>
              <a:gd name="T60" fmla="*/ 33 w 43"/>
              <a:gd name="T61" fmla="*/ 16 h 93"/>
              <a:gd name="T62" fmla="*/ 33 w 43"/>
              <a:gd name="T63" fmla="*/ 20 h 93"/>
              <a:gd name="T64" fmla="*/ 32 w 43"/>
              <a:gd name="T65" fmla="*/ 23 h 93"/>
              <a:gd name="T66" fmla="*/ 32 w 43"/>
              <a:gd name="T67" fmla="*/ 27 h 93"/>
              <a:gd name="T68" fmla="*/ 32 w 43"/>
              <a:gd name="T69" fmla="*/ 31 h 93"/>
              <a:gd name="T70" fmla="*/ 35 w 43"/>
              <a:gd name="T71" fmla="*/ 36 h 93"/>
              <a:gd name="T72" fmla="*/ 39 w 43"/>
              <a:gd name="T73" fmla="*/ 43 h 93"/>
              <a:gd name="T74" fmla="*/ 38 w 43"/>
              <a:gd name="T75" fmla="*/ 44 h 93"/>
              <a:gd name="T76" fmla="*/ 37 w 43"/>
              <a:gd name="T77" fmla="*/ 45 h 93"/>
              <a:gd name="T78" fmla="*/ 37 w 43"/>
              <a:gd name="T79" fmla="*/ 48 h 93"/>
              <a:gd name="T80" fmla="*/ 38 w 43"/>
              <a:gd name="T81" fmla="*/ 51 h 93"/>
              <a:gd name="T82" fmla="*/ 39 w 43"/>
              <a:gd name="T83" fmla="*/ 59 h 93"/>
              <a:gd name="T84" fmla="*/ 41 w 43"/>
              <a:gd name="T85" fmla="*/ 68 h 93"/>
              <a:gd name="T86" fmla="*/ 42 w 43"/>
              <a:gd name="T87" fmla="*/ 76 h 93"/>
              <a:gd name="T88" fmla="*/ 43 w 43"/>
              <a:gd name="T89" fmla="*/ 85 h 93"/>
              <a:gd name="T90" fmla="*/ 43 w 43"/>
              <a:gd name="T91" fmla="*/ 88 h 93"/>
              <a:gd name="T92" fmla="*/ 42 w 43"/>
              <a:gd name="T93" fmla="*/ 91 h 93"/>
              <a:gd name="T94" fmla="*/ 40 w 43"/>
              <a:gd name="T95" fmla="*/ 92 h 93"/>
              <a:gd name="T96" fmla="*/ 39 w 43"/>
              <a:gd name="T97" fmla="*/ 93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43" h="93">
                <a:moveTo>
                  <a:pt x="39" y="93"/>
                </a:moveTo>
                <a:lnTo>
                  <a:pt x="31" y="91"/>
                </a:lnTo>
                <a:lnTo>
                  <a:pt x="26" y="89"/>
                </a:lnTo>
                <a:lnTo>
                  <a:pt x="21" y="87"/>
                </a:lnTo>
                <a:lnTo>
                  <a:pt x="18" y="84"/>
                </a:lnTo>
                <a:lnTo>
                  <a:pt x="15" y="79"/>
                </a:lnTo>
                <a:lnTo>
                  <a:pt x="14" y="73"/>
                </a:lnTo>
                <a:lnTo>
                  <a:pt x="13" y="65"/>
                </a:lnTo>
                <a:lnTo>
                  <a:pt x="11" y="55"/>
                </a:lnTo>
                <a:lnTo>
                  <a:pt x="11" y="48"/>
                </a:lnTo>
                <a:lnTo>
                  <a:pt x="9" y="42"/>
                </a:lnTo>
                <a:lnTo>
                  <a:pt x="6" y="38"/>
                </a:lnTo>
                <a:lnTo>
                  <a:pt x="4" y="36"/>
                </a:lnTo>
                <a:lnTo>
                  <a:pt x="2" y="34"/>
                </a:lnTo>
                <a:lnTo>
                  <a:pt x="0" y="32"/>
                </a:lnTo>
                <a:lnTo>
                  <a:pt x="2" y="29"/>
                </a:lnTo>
                <a:lnTo>
                  <a:pt x="5" y="24"/>
                </a:lnTo>
                <a:lnTo>
                  <a:pt x="6" y="28"/>
                </a:lnTo>
                <a:lnTo>
                  <a:pt x="7" y="29"/>
                </a:lnTo>
                <a:lnTo>
                  <a:pt x="8" y="30"/>
                </a:lnTo>
                <a:lnTo>
                  <a:pt x="9" y="29"/>
                </a:lnTo>
                <a:lnTo>
                  <a:pt x="11" y="25"/>
                </a:lnTo>
                <a:lnTo>
                  <a:pt x="14" y="19"/>
                </a:lnTo>
                <a:lnTo>
                  <a:pt x="16" y="12"/>
                </a:lnTo>
                <a:lnTo>
                  <a:pt x="20" y="6"/>
                </a:lnTo>
                <a:lnTo>
                  <a:pt x="22" y="4"/>
                </a:lnTo>
                <a:lnTo>
                  <a:pt x="25" y="2"/>
                </a:lnTo>
                <a:lnTo>
                  <a:pt x="28" y="0"/>
                </a:lnTo>
                <a:lnTo>
                  <a:pt x="32" y="0"/>
                </a:lnTo>
                <a:lnTo>
                  <a:pt x="33" y="10"/>
                </a:lnTo>
                <a:lnTo>
                  <a:pt x="33" y="16"/>
                </a:lnTo>
                <a:lnTo>
                  <a:pt x="33" y="20"/>
                </a:lnTo>
                <a:lnTo>
                  <a:pt x="32" y="23"/>
                </a:lnTo>
                <a:lnTo>
                  <a:pt x="32" y="27"/>
                </a:lnTo>
                <a:lnTo>
                  <a:pt x="32" y="31"/>
                </a:lnTo>
                <a:lnTo>
                  <a:pt x="35" y="36"/>
                </a:lnTo>
                <a:lnTo>
                  <a:pt x="39" y="43"/>
                </a:lnTo>
                <a:lnTo>
                  <a:pt x="38" y="44"/>
                </a:lnTo>
                <a:lnTo>
                  <a:pt x="37" y="45"/>
                </a:lnTo>
                <a:lnTo>
                  <a:pt x="37" y="48"/>
                </a:lnTo>
                <a:lnTo>
                  <a:pt x="38" y="51"/>
                </a:lnTo>
                <a:lnTo>
                  <a:pt x="39" y="59"/>
                </a:lnTo>
                <a:lnTo>
                  <a:pt x="41" y="68"/>
                </a:lnTo>
                <a:lnTo>
                  <a:pt x="42" y="76"/>
                </a:lnTo>
                <a:lnTo>
                  <a:pt x="43" y="85"/>
                </a:lnTo>
                <a:lnTo>
                  <a:pt x="43" y="88"/>
                </a:lnTo>
                <a:lnTo>
                  <a:pt x="42" y="91"/>
                </a:lnTo>
                <a:lnTo>
                  <a:pt x="40" y="92"/>
                </a:lnTo>
                <a:lnTo>
                  <a:pt x="39" y="9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084" name="Freeform 36"/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6891339" y="2827338"/>
            <a:ext cx="14287" cy="57150"/>
          </a:xfrm>
          <a:custGeom>
            <a:avLst/>
            <a:gdLst>
              <a:gd name="T0" fmla="*/ 40 w 40"/>
              <a:gd name="T1" fmla="*/ 56 h 56"/>
              <a:gd name="T2" fmla="*/ 37 w 40"/>
              <a:gd name="T3" fmla="*/ 46 h 56"/>
              <a:gd name="T4" fmla="*/ 33 w 40"/>
              <a:gd name="T5" fmla="*/ 38 h 56"/>
              <a:gd name="T6" fmla="*/ 28 w 40"/>
              <a:gd name="T7" fmla="*/ 32 h 56"/>
              <a:gd name="T8" fmla="*/ 23 w 40"/>
              <a:gd name="T9" fmla="*/ 28 h 56"/>
              <a:gd name="T10" fmla="*/ 11 w 40"/>
              <a:gd name="T11" fmla="*/ 21 h 56"/>
              <a:gd name="T12" fmla="*/ 0 w 40"/>
              <a:gd name="T13" fmla="*/ 12 h 56"/>
              <a:gd name="T14" fmla="*/ 13 w 40"/>
              <a:gd name="T15" fmla="*/ 4 h 56"/>
              <a:gd name="T16" fmla="*/ 20 w 40"/>
              <a:gd name="T17" fmla="*/ 0 h 56"/>
              <a:gd name="T18" fmla="*/ 28 w 40"/>
              <a:gd name="T19" fmla="*/ 12 h 56"/>
              <a:gd name="T20" fmla="*/ 35 w 40"/>
              <a:gd name="T21" fmla="*/ 22 h 56"/>
              <a:gd name="T22" fmla="*/ 37 w 40"/>
              <a:gd name="T23" fmla="*/ 25 h 56"/>
              <a:gd name="T24" fmla="*/ 39 w 40"/>
              <a:gd name="T25" fmla="*/ 29 h 56"/>
              <a:gd name="T26" fmla="*/ 39 w 40"/>
              <a:gd name="T27" fmla="*/ 33 h 56"/>
              <a:gd name="T28" fmla="*/ 40 w 40"/>
              <a:gd name="T29" fmla="*/ 37 h 56"/>
              <a:gd name="T30" fmla="*/ 40 w 40"/>
              <a:gd name="T31" fmla="*/ 44 h 56"/>
              <a:gd name="T32" fmla="*/ 40 w 40"/>
              <a:gd name="T33" fmla="*/ 46 h 56"/>
              <a:gd name="T34" fmla="*/ 40 w 40"/>
              <a:gd name="T35" fmla="*/ 49 h 56"/>
              <a:gd name="T36" fmla="*/ 40 w 40"/>
              <a:gd name="T37" fmla="*/ 56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40" h="56">
                <a:moveTo>
                  <a:pt x="40" y="56"/>
                </a:moveTo>
                <a:lnTo>
                  <a:pt x="37" y="46"/>
                </a:lnTo>
                <a:lnTo>
                  <a:pt x="33" y="38"/>
                </a:lnTo>
                <a:lnTo>
                  <a:pt x="28" y="32"/>
                </a:lnTo>
                <a:lnTo>
                  <a:pt x="23" y="28"/>
                </a:lnTo>
                <a:lnTo>
                  <a:pt x="11" y="21"/>
                </a:lnTo>
                <a:lnTo>
                  <a:pt x="0" y="12"/>
                </a:lnTo>
                <a:lnTo>
                  <a:pt x="13" y="4"/>
                </a:lnTo>
                <a:lnTo>
                  <a:pt x="20" y="0"/>
                </a:lnTo>
                <a:lnTo>
                  <a:pt x="28" y="12"/>
                </a:lnTo>
                <a:lnTo>
                  <a:pt x="35" y="22"/>
                </a:lnTo>
                <a:lnTo>
                  <a:pt x="37" y="25"/>
                </a:lnTo>
                <a:lnTo>
                  <a:pt x="39" y="29"/>
                </a:lnTo>
                <a:lnTo>
                  <a:pt x="39" y="33"/>
                </a:lnTo>
                <a:lnTo>
                  <a:pt x="40" y="37"/>
                </a:lnTo>
                <a:lnTo>
                  <a:pt x="40" y="44"/>
                </a:lnTo>
                <a:lnTo>
                  <a:pt x="40" y="46"/>
                </a:lnTo>
                <a:lnTo>
                  <a:pt x="40" y="49"/>
                </a:lnTo>
                <a:lnTo>
                  <a:pt x="4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085" name="Freeform 37"/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8378825" y="3487738"/>
            <a:ext cx="44450" cy="57150"/>
          </a:xfrm>
          <a:custGeom>
            <a:avLst/>
            <a:gdLst>
              <a:gd name="T0" fmla="*/ 0 w 106"/>
              <a:gd name="T1" fmla="*/ 7 h 71"/>
              <a:gd name="T2" fmla="*/ 12 w 106"/>
              <a:gd name="T3" fmla="*/ 10 h 71"/>
              <a:gd name="T4" fmla="*/ 24 w 106"/>
              <a:gd name="T5" fmla="*/ 12 h 71"/>
              <a:gd name="T6" fmla="*/ 35 w 106"/>
              <a:gd name="T7" fmla="*/ 13 h 71"/>
              <a:gd name="T8" fmla="*/ 45 w 106"/>
              <a:gd name="T9" fmla="*/ 13 h 71"/>
              <a:gd name="T10" fmla="*/ 54 w 106"/>
              <a:gd name="T11" fmla="*/ 11 h 71"/>
              <a:gd name="T12" fmla="*/ 61 w 106"/>
              <a:gd name="T13" fmla="*/ 8 h 71"/>
              <a:gd name="T14" fmla="*/ 68 w 106"/>
              <a:gd name="T15" fmla="*/ 5 h 71"/>
              <a:gd name="T16" fmla="*/ 74 w 106"/>
              <a:gd name="T17" fmla="*/ 0 h 71"/>
              <a:gd name="T18" fmla="*/ 84 w 106"/>
              <a:gd name="T19" fmla="*/ 16 h 71"/>
              <a:gd name="T20" fmla="*/ 94 w 106"/>
              <a:gd name="T21" fmla="*/ 30 h 71"/>
              <a:gd name="T22" fmla="*/ 101 w 106"/>
              <a:gd name="T23" fmla="*/ 44 h 71"/>
              <a:gd name="T24" fmla="*/ 105 w 106"/>
              <a:gd name="T25" fmla="*/ 55 h 71"/>
              <a:gd name="T26" fmla="*/ 106 w 106"/>
              <a:gd name="T27" fmla="*/ 60 h 71"/>
              <a:gd name="T28" fmla="*/ 106 w 106"/>
              <a:gd name="T29" fmla="*/ 63 h 71"/>
              <a:gd name="T30" fmla="*/ 105 w 106"/>
              <a:gd name="T31" fmla="*/ 67 h 71"/>
              <a:gd name="T32" fmla="*/ 103 w 106"/>
              <a:gd name="T33" fmla="*/ 69 h 71"/>
              <a:gd name="T34" fmla="*/ 101 w 106"/>
              <a:gd name="T35" fmla="*/ 70 h 71"/>
              <a:gd name="T36" fmla="*/ 98 w 106"/>
              <a:gd name="T37" fmla="*/ 70 h 71"/>
              <a:gd name="T38" fmla="*/ 92 w 106"/>
              <a:gd name="T39" fmla="*/ 70 h 71"/>
              <a:gd name="T40" fmla="*/ 87 w 106"/>
              <a:gd name="T41" fmla="*/ 68 h 71"/>
              <a:gd name="T42" fmla="*/ 74 w 106"/>
              <a:gd name="T43" fmla="*/ 70 h 71"/>
              <a:gd name="T44" fmla="*/ 63 w 106"/>
              <a:gd name="T45" fmla="*/ 71 h 71"/>
              <a:gd name="T46" fmla="*/ 53 w 106"/>
              <a:gd name="T47" fmla="*/ 69 h 71"/>
              <a:gd name="T48" fmla="*/ 45 w 106"/>
              <a:gd name="T49" fmla="*/ 66 h 71"/>
              <a:gd name="T50" fmla="*/ 37 w 106"/>
              <a:gd name="T51" fmla="*/ 62 h 71"/>
              <a:gd name="T52" fmla="*/ 32 w 106"/>
              <a:gd name="T53" fmla="*/ 57 h 71"/>
              <a:gd name="T54" fmla="*/ 27 w 106"/>
              <a:gd name="T55" fmla="*/ 51 h 71"/>
              <a:gd name="T56" fmla="*/ 24 w 106"/>
              <a:gd name="T57" fmla="*/ 45 h 71"/>
              <a:gd name="T58" fmla="*/ 21 w 106"/>
              <a:gd name="T59" fmla="*/ 38 h 71"/>
              <a:gd name="T60" fmla="*/ 20 w 106"/>
              <a:gd name="T61" fmla="*/ 30 h 71"/>
              <a:gd name="T62" fmla="*/ 19 w 106"/>
              <a:gd name="T63" fmla="*/ 24 h 71"/>
              <a:gd name="T64" fmla="*/ 18 w 106"/>
              <a:gd name="T65" fmla="*/ 19 h 71"/>
              <a:gd name="T66" fmla="*/ 18 w 106"/>
              <a:gd name="T67" fmla="*/ 14 h 71"/>
              <a:gd name="T68" fmla="*/ 19 w 106"/>
              <a:gd name="T69" fmla="*/ 10 h 71"/>
              <a:gd name="T70" fmla="*/ 20 w 106"/>
              <a:gd name="T71" fmla="*/ 7 h 71"/>
              <a:gd name="T72" fmla="*/ 21 w 106"/>
              <a:gd name="T73" fmla="*/ 7 h 71"/>
              <a:gd name="T74" fmla="*/ 20 w 106"/>
              <a:gd name="T75" fmla="*/ 10 h 71"/>
              <a:gd name="T76" fmla="*/ 19 w 106"/>
              <a:gd name="T77" fmla="*/ 16 h 71"/>
              <a:gd name="T78" fmla="*/ 19 w 106"/>
              <a:gd name="T79" fmla="*/ 17 h 71"/>
              <a:gd name="T80" fmla="*/ 19 w 106"/>
              <a:gd name="T81" fmla="*/ 17 h 71"/>
              <a:gd name="T82" fmla="*/ 20 w 106"/>
              <a:gd name="T83" fmla="*/ 17 h 71"/>
              <a:gd name="T84" fmla="*/ 21 w 106"/>
              <a:gd name="T85" fmla="*/ 17 h 71"/>
              <a:gd name="T86" fmla="*/ 23 w 106"/>
              <a:gd name="T87" fmla="*/ 13 h 71"/>
              <a:gd name="T88" fmla="*/ 27 w 106"/>
              <a:gd name="T89" fmla="*/ 7 h 71"/>
              <a:gd name="T90" fmla="*/ 0 w 106"/>
              <a:gd name="T91" fmla="*/ 7 h 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06" h="71">
                <a:moveTo>
                  <a:pt x="0" y="7"/>
                </a:moveTo>
                <a:lnTo>
                  <a:pt x="12" y="10"/>
                </a:lnTo>
                <a:lnTo>
                  <a:pt x="24" y="12"/>
                </a:lnTo>
                <a:lnTo>
                  <a:pt x="35" y="13"/>
                </a:lnTo>
                <a:lnTo>
                  <a:pt x="45" y="13"/>
                </a:lnTo>
                <a:lnTo>
                  <a:pt x="54" y="11"/>
                </a:lnTo>
                <a:lnTo>
                  <a:pt x="61" y="8"/>
                </a:lnTo>
                <a:lnTo>
                  <a:pt x="68" y="5"/>
                </a:lnTo>
                <a:lnTo>
                  <a:pt x="74" y="0"/>
                </a:lnTo>
                <a:lnTo>
                  <a:pt x="84" y="16"/>
                </a:lnTo>
                <a:lnTo>
                  <a:pt x="94" y="30"/>
                </a:lnTo>
                <a:lnTo>
                  <a:pt x="101" y="44"/>
                </a:lnTo>
                <a:lnTo>
                  <a:pt x="105" y="55"/>
                </a:lnTo>
                <a:lnTo>
                  <a:pt x="106" y="60"/>
                </a:lnTo>
                <a:lnTo>
                  <a:pt x="106" y="63"/>
                </a:lnTo>
                <a:lnTo>
                  <a:pt x="105" y="67"/>
                </a:lnTo>
                <a:lnTo>
                  <a:pt x="103" y="69"/>
                </a:lnTo>
                <a:lnTo>
                  <a:pt x="101" y="70"/>
                </a:lnTo>
                <a:lnTo>
                  <a:pt x="98" y="70"/>
                </a:lnTo>
                <a:lnTo>
                  <a:pt x="92" y="70"/>
                </a:lnTo>
                <a:lnTo>
                  <a:pt x="87" y="68"/>
                </a:lnTo>
                <a:lnTo>
                  <a:pt x="74" y="70"/>
                </a:lnTo>
                <a:lnTo>
                  <a:pt x="63" y="71"/>
                </a:lnTo>
                <a:lnTo>
                  <a:pt x="53" y="69"/>
                </a:lnTo>
                <a:lnTo>
                  <a:pt x="45" y="66"/>
                </a:lnTo>
                <a:lnTo>
                  <a:pt x="37" y="62"/>
                </a:lnTo>
                <a:lnTo>
                  <a:pt x="32" y="57"/>
                </a:lnTo>
                <a:lnTo>
                  <a:pt x="27" y="51"/>
                </a:lnTo>
                <a:lnTo>
                  <a:pt x="24" y="45"/>
                </a:lnTo>
                <a:lnTo>
                  <a:pt x="21" y="38"/>
                </a:lnTo>
                <a:lnTo>
                  <a:pt x="20" y="30"/>
                </a:lnTo>
                <a:lnTo>
                  <a:pt x="19" y="24"/>
                </a:lnTo>
                <a:lnTo>
                  <a:pt x="18" y="19"/>
                </a:lnTo>
                <a:lnTo>
                  <a:pt x="18" y="14"/>
                </a:lnTo>
                <a:lnTo>
                  <a:pt x="19" y="10"/>
                </a:lnTo>
                <a:lnTo>
                  <a:pt x="20" y="7"/>
                </a:lnTo>
                <a:lnTo>
                  <a:pt x="21" y="7"/>
                </a:lnTo>
                <a:lnTo>
                  <a:pt x="20" y="10"/>
                </a:lnTo>
                <a:lnTo>
                  <a:pt x="19" y="16"/>
                </a:lnTo>
                <a:lnTo>
                  <a:pt x="19" y="17"/>
                </a:lnTo>
                <a:lnTo>
                  <a:pt x="19" y="17"/>
                </a:lnTo>
                <a:lnTo>
                  <a:pt x="20" y="17"/>
                </a:lnTo>
                <a:lnTo>
                  <a:pt x="21" y="17"/>
                </a:lnTo>
                <a:lnTo>
                  <a:pt x="23" y="13"/>
                </a:lnTo>
                <a:lnTo>
                  <a:pt x="27" y="7"/>
                </a:lnTo>
                <a:lnTo>
                  <a:pt x="0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grpSp>
        <p:nvGrpSpPr>
          <p:cNvPr id="2086" name="Group 38"/>
          <p:cNvGrpSpPr>
            <a:grpSpLocks/>
          </p:cNvGrpSpPr>
          <p:nvPr>
            <p:custDataLst>
              <p:tags r:id="rId33"/>
            </p:custDataLst>
          </p:nvPr>
        </p:nvGrpSpPr>
        <p:grpSpPr bwMode="auto">
          <a:xfrm>
            <a:off x="4230689" y="5295901"/>
            <a:ext cx="65087" cy="55563"/>
            <a:chOff x="1654" y="3671"/>
            <a:chExt cx="49" cy="17"/>
          </a:xfrm>
        </p:grpSpPr>
        <p:sp>
          <p:nvSpPr>
            <p:cNvPr id="2087" name="Freeform 39"/>
            <p:cNvSpPr>
              <a:spLocks/>
            </p:cNvSpPr>
            <p:nvPr/>
          </p:nvSpPr>
          <p:spPr bwMode="auto">
            <a:xfrm>
              <a:off x="1654" y="3672"/>
              <a:ext cx="20" cy="14"/>
            </a:xfrm>
            <a:custGeom>
              <a:avLst/>
              <a:gdLst>
                <a:gd name="T0" fmla="*/ 26 w 59"/>
                <a:gd name="T1" fmla="*/ 43 h 43"/>
                <a:gd name="T2" fmla="*/ 59 w 59"/>
                <a:gd name="T3" fmla="*/ 18 h 43"/>
                <a:gd name="T4" fmla="*/ 55 w 59"/>
                <a:gd name="T5" fmla="*/ 14 h 43"/>
                <a:gd name="T6" fmla="*/ 51 w 59"/>
                <a:gd name="T7" fmla="*/ 9 h 43"/>
                <a:gd name="T8" fmla="*/ 47 w 59"/>
                <a:gd name="T9" fmla="*/ 5 h 43"/>
                <a:gd name="T10" fmla="*/ 46 w 59"/>
                <a:gd name="T11" fmla="*/ 0 h 43"/>
                <a:gd name="T12" fmla="*/ 41 w 59"/>
                <a:gd name="T13" fmla="*/ 1 h 43"/>
                <a:gd name="T14" fmla="*/ 34 w 59"/>
                <a:gd name="T15" fmla="*/ 4 h 43"/>
                <a:gd name="T16" fmla="*/ 31 w 59"/>
                <a:gd name="T17" fmla="*/ 6 h 43"/>
                <a:gd name="T18" fmla="*/ 29 w 59"/>
                <a:gd name="T19" fmla="*/ 8 h 43"/>
                <a:gd name="T20" fmla="*/ 26 w 59"/>
                <a:gd name="T21" fmla="*/ 10 h 43"/>
                <a:gd name="T22" fmla="*/ 26 w 59"/>
                <a:gd name="T23" fmla="*/ 12 h 43"/>
                <a:gd name="T24" fmla="*/ 20 w 59"/>
                <a:gd name="T25" fmla="*/ 13 h 43"/>
                <a:gd name="T26" fmla="*/ 13 w 59"/>
                <a:gd name="T27" fmla="*/ 16 h 43"/>
                <a:gd name="T28" fmla="*/ 6 w 59"/>
                <a:gd name="T29" fmla="*/ 20 h 43"/>
                <a:gd name="T30" fmla="*/ 0 w 59"/>
                <a:gd name="T31" fmla="*/ 24 h 43"/>
                <a:gd name="T32" fmla="*/ 5 w 59"/>
                <a:gd name="T33" fmla="*/ 29 h 43"/>
                <a:gd name="T34" fmla="*/ 10 w 59"/>
                <a:gd name="T35" fmla="*/ 34 h 43"/>
                <a:gd name="T36" fmla="*/ 18 w 59"/>
                <a:gd name="T37" fmla="*/ 39 h 43"/>
                <a:gd name="T38" fmla="*/ 26 w 59"/>
                <a:gd name="T39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" h="43">
                  <a:moveTo>
                    <a:pt x="26" y="43"/>
                  </a:moveTo>
                  <a:lnTo>
                    <a:pt x="59" y="18"/>
                  </a:lnTo>
                  <a:lnTo>
                    <a:pt x="55" y="14"/>
                  </a:lnTo>
                  <a:lnTo>
                    <a:pt x="51" y="9"/>
                  </a:lnTo>
                  <a:lnTo>
                    <a:pt x="47" y="5"/>
                  </a:lnTo>
                  <a:lnTo>
                    <a:pt x="46" y="0"/>
                  </a:lnTo>
                  <a:lnTo>
                    <a:pt x="41" y="1"/>
                  </a:lnTo>
                  <a:lnTo>
                    <a:pt x="34" y="4"/>
                  </a:lnTo>
                  <a:lnTo>
                    <a:pt x="31" y="6"/>
                  </a:lnTo>
                  <a:lnTo>
                    <a:pt x="29" y="8"/>
                  </a:lnTo>
                  <a:lnTo>
                    <a:pt x="26" y="10"/>
                  </a:lnTo>
                  <a:lnTo>
                    <a:pt x="26" y="12"/>
                  </a:lnTo>
                  <a:lnTo>
                    <a:pt x="20" y="13"/>
                  </a:lnTo>
                  <a:lnTo>
                    <a:pt x="13" y="16"/>
                  </a:lnTo>
                  <a:lnTo>
                    <a:pt x="6" y="20"/>
                  </a:lnTo>
                  <a:lnTo>
                    <a:pt x="0" y="24"/>
                  </a:lnTo>
                  <a:lnTo>
                    <a:pt x="5" y="29"/>
                  </a:lnTo>
                  <a:lnTo>
                    <a:pt x="10" y="34"/>
                  </a:lnTo>
                  <a:lnTo>
                    <a:pt x="18" y="39"/>
                  </a:lnTo>
                  <a:lnTo>
                    <a:pt x="26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88" name="Freeform 40"/>
            <p:cNvSpPr>
              <a:spLocks/>
            </p:cNvSpPr>
            <p:nvPr/>
          </p:nvSpPr>
          <p:spPr bwMode="auto">
            <a:xfrm>
              <a:off x="1681" y="3671"/>
              <a:ext cx="22" cy="17"/>
            </a:xfrm>
            <a:custGeom>
              <a:avLst/>
              <a:gdLst>
                <a:gd name="T0" fmla="*/ 0 w 67"/>
                <a:gd name="T1" fmla="*/ 2 h 51"/>
                <a:gd name="T2" fmla="*/ 24 w 67"/>
                <a:gd name="T3" fmla="*/ 1 h 51"/>
                <a:gd name="T4" fmla="*/ 39 w 67"/>
                <a:gd name="T5" fmla="*/ 0 h 51"/>
                <a:gd name="T6" fmla="*/ 45 w 67"/>
                <a:gd name="T7" fmla="*/ 1 h 51"/>
                <a:gd name="T8" fmla="*/ 51 w 67"/>
                <a:gd name="T9" fmla="*/ 2 h 51"/>
                <a:gd name="T10" fmla="*/ 58 w 67"/>
                <a:gd name="T11" fmla="*/ 4 h 51"/>
                <a:gd name="T12" fmla="*/ 67 w 67"/>
                <a:gd name="T13" fmla="*/ 8 h 51"/>
                <a:gd name="T14" fmla="*/ 55 w 67"/>
                <a:gd name="T15" fmla="*/ 13 h 51"/>
                <a:gd name="T16" fmla="*/ 46 w 67"/>
                <a:gd name="T17" fmla="*/ 19 h 51"/>
                <a:gd name="T18" fmla="*/ 42 w 67"/>
                <a:gd name="T19" fmla="*/ 22 h 51"/>
                <a:gd name="T20" fmla="*/ 36 w 67"/>
                <a:gd name="T21" fmla="*/ 24 h 51"/>
                <a:gd name="T22" fmla="*/ 29 w 67"/>
                <a:gd name="T23" fmla="*/ 26 h 51"/>
                <a:gd name="T24" fmla="*/ 20 w 67"/>
                <a:gd name="T25" fmla="*/ 26 h 51"/>
                <a:gd name="T26" fmla="*/ 24 w 67"/>
                <a:gd name="T27" fmla="*/ 26 h 51"/>
                <a:gd name="T28" fmla="*/ 34 w 67"/>
                <a:gd name="T29" fmla="*/ 26 h 51"/>
                <a:gd name="T30" fmla="*/ 29 w 67"/>
                <a:gd name="T31" fmla="*/ 34 h 51"/>
                <a:gd name="T32" fmla="*/ 25 w 67"/>
                <a:gd name="T33" fmla="*/ 40 h 51"/>
                <a:gd name="T34" fmla="*/ 22 w 67"/>
                <a:gd name="T35" fmla="*/ 44 h 51"/>
                <a:gd name="T36" fmla="*/ 20 w 67"/>
                <a:gd name="T37" fmla="*/ 46 h 51"/>
                <a:gd name="T38" fmla="*/ 12 w 67"/>
                <a:gd name="T39" fmla="*/ 48 h 51"/>
                <a:gd name="T40" fmla="*/ 0 w 67"/>
                <a:gd name="T41" fmla="*/ 51 h 51"/>
                <a:gd name="T42" fmla="*/ 0 w 67"/>
                <a:gd name="T43" fmla="*/ 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7" h="51">
                  <a:moveTo>
                    <a:pt x="0" y="2"/>
                  </a:moveTo>
                  <a:lnTo>
                    <a:pt x="24" y="1"/>
                  </a:lnTo>
                  <a:lnTo>
                    <a:pt x="39" y="0"/>
                  </a:lnTo>
                  <a:lnTo>
                    <a:pt x="45" y="1"/>
                  </a:lnTo>
                  <a:lnTo>
                    <a:pt x="51" y="2"/>
                  </a:lnTo>
                  <a:lnTo>
                    <a:pt x="58" y="4"/>
                  </a:lnTo>
                  <a:lnTo>
                    <a:pt x="67" y="8"/>
                  </a:lnTo>
                  <a:lnTo>
                    <a:pt x="55" y="13"/>
                  </a:lnTo>
                  <a:lnTo>
                    <a:pt x="46" y="19"/>
                  </a:lnTo>
                  <a:lnTo>
                    <a:pt x="42" y="22"/>
                  </a:lnTo>
                  <a:lnTo>
                    <a:pt x="36" y="24"/>
                  </a:lnTo>
                  <a:lnTo>
                    <a:pt x="29" y="26"/>
                  </a:lnTo>
                  <a:lnTo>
                    <a:pt x="20" y="26"/>
                  </a:lnTo>
                  <a:lnTo>
                    <a:pt x="24" y="26"/>
                  </a:lnTo>
                  <a:lnTo>
                    <a:pt x="34" y="26"/>
                  </a:lnTo>
                  <a:lnTo>
                    <a:pt x="29" y="34"/>
                  </a:lnTo>
                  <a:lnTo>
                    <a:pt x="25" y="40"/>
                  </a:lnTo>
                  <a:lnTo>
                    <a:pt x="22" y="44"/>
                  </a:lnTo>
                  <a:lnTo>
                    <a:pt x="20" y="46"/>
                  </a:lnTo>
                  <a:lnTo>
                    <a:pt x="12" y="48"/>
                  </a:lnTo>
                  <a:lnTo>
                    <a:pt x="0" y="51"/>
                  </a:lnTo>
                  <a:lnTo>
                    <a:pt x="0" y="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2089" name="Freeform 41"/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3878263" y="3090864"/>
            <a:ext cx="31750" cy="58737"/>
          </a:xfrm>
          <a:custGeom>
            <a:avLst/>
            <a:gdLst>
              <a:gd name="T0" fmla="*/ 0 w 80"/>
              <a:gd name="T1" fmla="*/ 15 h 34"/>
              <a:gd name="T2" fmla="*/ 1 w 80"/>
              <a:gd name="T3" fmla="*/ 19 h 34"/>
              <a:gd name="T4" fmla="*/ 2 w 80"/>
              <a:gd name="T5" fmla="*/ 21 h 34"/>
              <a:gd name="T6" fmla="*/ 4 w 80"/>
              <a:gd name="T7" fmla="*/ 24 h 34"/>
              <a:gd name="T8" fmla="*/ 7 w 80"/>
              <a:gd name="T9" fmla="*/ 26 h 34"/>
              <a:gd name="T10" fmla="*/ 13 w 80"/>
              <a:gd name="T11" fmla="*/ 29 h 34"/>
              <a:gd name="T12" fmla="*/ 22 w 80"/>
              <a:gd name="T13" fmla="*/ 31 h 34"/>
              <a:gd name="T14" fmla="*/ 40 w 80"/>
              <a:gd name="T15" fmla="*/ 33 h 34"/>
              <a:gd name="T16" fmla="*/ 54 w 80"/>
              <a:gd name="T17" fmla="*/ 34 h 34"/>
              <a:gd name="T18" fmla="*/ 58 w 80"/>
              <a:gd name="T19" fmla="*/ 33 h 34"/>
              <a:gd name="T20" fmla="*/ 62 w 80"/>
              <a:gd name="T21" fmla="*/ 32 h 34"/>
              <a:gd name="T22" fmla="*/ 65 w 80"/>
              <a:gd name="T23" fmla="*/ 29 h 34"/>
              <a:gd name="T24" fmla="*/ 67 w 80"/>
              <a:gd name="T25" fmla="*/ 27 h 34"/>
              <a:gd name="T26" fmla="*/ 73 w 80"/>
              <a:gd name="T27" fmla="*/ 21 h 34"/>
              <a:gd name="T28" fmla="*/ 80 w 80"/>
              <a:gd name="T29" fmla="*/ 15 h 34"/>
              <a:gd name="T30" fmla="*/ 75 w 80"/>
              <a:gd name="T31" fmla="*/ 10 h 34"/>
              <a:gd name="T32" fmla="*/ 70 w 80"/>
              <a:gd name="T33" fmla="*/ 7 h 34"/>
              <a:gd name="T34" fmla="*/ 65 w 80"/>
              <a:gd name="T35" fmla="*/ 4 h 34"/>
              <a:gd name="T36" fmla="*/ 60 w 80"/>
              <a:gd name="T37" fmla="*/ 2 h 34"/>
              <a:gd name="T38" fmla="*/ 55 w 80"/>
              <a:gd name="T39" fmla="*/ 0 h 34"/>
              <a:gd name="T40" fmla="*/ 51 w 80"/>
              <a:gd name="T41" fmla="*/ 0 h 34"/>
              <a:gd name="T42" fmla="*/ 45 w 80"/>
              <a:gd name="T43" fmla="*/ 1 h 34"/>
              <a:gd name="T44" fmla="*/ 41 w 80"/>
              <a:gd name="T45" fmla="*/ 2 h 34"/>
              <a:gd name="T46" fmla="*/ 34 w 80"/>
              <a:gd name="T47" fmla="*/ 2 h 34"/>
              <a:gd name="T48" fmla="*/ 21 w 80"/>
              <a:gd name="T49" fmla="*/ 2 h 34"/>
              <a:gd name="T50" fmla="*/ 13 w 80"/>
              <a:gd name="T51" fmla="*/ 3 h 34"/>
              <a:gd name="T52" fmla="*/ 7 w 80"/>
              <a:gd name="T53" fmla="*/ 5 h 34"/>
              <a:gd name="T54" fmla="*/ 4 w 80"/>
              <a:gd name="T55" fmla="*/ 7 h 34"/>
              <a:gd name="T56" fmla="*/ 2 w 80"/>
              <a:gd name="T57" fmla="*/ 9 h 34"/>
              <a:gd name="T58" fmla="*/ 1 w 80"/>
              <a:gd name="T59" fmla="*/ 11 h 34"/>
              <a:gd name="T60" fmla="*/ 0 w 80"/>
              <a:gd name="T61" fmla="*/ 15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80" h="34">
                <a:moveTo>
                  <a:pt x="0" y="15"/>
                </a:moveTo>
                <a:lnTo>
                  <a:pt x="1" y="19"/>
                </a:lnTo>
                <a:lnTo>
                  <a:pt x="2" y="21"/>
                </a:lnTo>
                <a:lnTo>
                  <a:pt x="4" y="24"/>
                </a:lnTo>
                <a:lnTo>
                  <a:pt x="7" y="26"/>
                </a:lnTo>
                <a:lnTo>
                  <a:pt x="13" y="29"/>
                </a:lnTo>
                <a:lnTo>
                  <a:pt x="22" y="31"/>
                </a:lnTo>
                <a:lnTo>
                  <a:pt x="40" y="33"/>
                </a:lnTo>
                <a:lnTo>
                  <a:pt x="54" y="34"/>
                </a:lnTo>
                <a:lnTo>
                  <a:pt x="58" y="33"/>
                </a:lnTo>
                <a:lnTo>
                  <a:pt x="62" y="32"/>
                </a:lnTo>
                <a:lnTo>
                  <a:pt x="65" y="29"/>
                </a:lnTo>
                <a:lnTo>
                  <a:pt x="67" y="27"/>
                </a:lnTo>
                <a:lnTo>
                  <a:pt x="73" y="21"/>
                </a:lnTo>
                <a:lnTo>
                  <a:pt x="80" y="15"/>
                </a:lnTo>
                <a:lnTo>
                  <a:pt x="75" y="10"/>
                </a:lnTo>
                <a:lnTo>
                  <a:pt x="70" y="7"/>
                </a:lnTo>
                <a:lnTo>
                  <a:pt x="65" y="4"/>
                </a:lnTo>
                <a:lnTo>
                  <a:pt x="60" y="2"/>
                </a:lnTo>
                <a:lnTo>
                  <a:pt x="55" y="0"/>
                </a:lnTo>
                <a:lnTo>
                  <a:pt x="51" y="0"/>
                </a:lnTo>
                <a:lnTo>
                  <a:pt x="45" y="1"/>
                </a:lnTo>
                <a:lnTo>
                  <a:pt x="41" y="2"/>
                </a:lnTo>
                <a:lnTo>
                  <a:pt x="34" y="2"/>
                </a:lnTo>
                <a:lnTo>
                  <a:pt x="21" y="2"/>
                </a:lnTo>
                <a:lnTo>
                  <a:pt x="13" y="3"/>
                </a:lnTo>
                <a:lnTo>
                  <a:pt x="7" y="5"/>
                </a:lnTo>
                <a:lnTo>
                  <a:pt x="4" y="7"/>
                </a:lnTo>
                <a:lnTo>
                  <a:pt x="2" y="9"/>
                </a:lnTo>
                <a:lnTo>
                  <a:pt x="1" y="11"/>
                </a:lnTo>
                <a:lnTo>
                  <a:pt x="0" y="15"/>
                </a:lnTo>
              </a:path>
            </a:pathLst>
          </a:custGeom>
          <a:solidFill>
            <a:srgbClr val="29713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090" name="Freeform 42"/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3933825" y="3097214"/>
            <a:ext cx="1588" cy="58737"/>
          </a:xfrm>
          <a:custGeom>
            <a:avLst/>
            <a:gdLst>
              <a:gd name="T0" fmla="*/ 0 w 7"/>
              <a:gd name="T1" fmla="*/ 0 h 13"/>
              <a:gd name="T2" fmla="*/ 7 w 7"/>
              <a:gd name="T3" fmla="*/ 13 h 13"/>
              <a:gd name="T4" fmla="*/ 7 w 7"/>
              <a:gd name="T5" fmla="*/ 7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7" h="13">
                <a:moveTo>
                  <a:pt x="0" y="0"/>
                </a:moveTo>
                <a:lnTo>
                  <a:pt x="7" y="13"/>
                </a:lnTo>
                <a:lnTo>
                  <a:pt x="7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091" name="Freeform 43"/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3946525" y="3098800"/>
            <a:ext cx="6350" cy="58738"/>
          </a:xfrm>
          <a:custGeom>
            <a:avLst/>
            <a:gdLst>
              <a:gd name="T0" fmla="*/ 0 w 20"/>
              <a:gd name="T1" fmla="*/ 0 h 6"/>
              <a:gd name="T2" fmla="*/ 7 w 20"/>
              <a:gd name="T3" fmla="*/ 3 h 6"/>
              <a:gd name="T4" fmla="*/ 20 w 20"/>
              <a:gd name="T5" fmla="*/ 6 h 6"/>
              <a:gd name="T6" fmla="*/ 0 w 20"/>
              <a:gd name="T7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0" h="6">
                <a:moveTo>
                  <a:pt x="0" y="0"/>
                </a:moveTo>
                <a:lnTo>
                  <a:pt x="7" y="3"/>
                </a:lnTo>
                <a:lnTo>
                  <a:pt x="20" y="6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092" name="Freeform 44"/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3960814" y="3089275"/>
            <a:ext cx="7937" cy="57150"/>
          </a:xfrm>
          <a:custGeom>
            <a:avLst/>
            <a:gdLst>
              <a:gd name="T0" fmla="*/ 0 w 14"/>
              <a:gd name="T1" fmla="*/ 12 h 12"/>
              <a:gd name="T2" fmla="*/ 14 w 14"/>
              <a:gd name="T3" fmla="*/ 0 h 12"/>
              <a:gd name="T4" fmla="*/ 0 w 14"/>
              <a:gd name="T5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4" h="12">
                <a:moveTo>
                  <a:pt x="0" y="12"/>
                </a:moveTo>
                <a:lnTo>
                  <a:pt x="14" y="0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093" name="Freeform 45"/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3940176" y="3081339"/>
            <a:ext cx="11113" cy="58737"/>
          </a:xfrm>
          <a:custGeom>
            <a:avLst/>
            <a:gdLst>
              <a:gd name="T0" fmla="*/ 0 w 27"/>
              <a:gd name="T1" fmla="*/ 0 h 7"/>
              <a:gd name="T2" fmla="*/ 0 w 27"/>
              <a:gd name="T3" fmla="*/ 4 h 7"/>
              <a:gd name="T4" fmla="*/ 2 w 27"/>
              <a:gd name="T5" fmla="*/ 6 h 7"/>
              <a:gd name="T6" fmla="*/ 7 w 27"/>
              <a:gd name="T7" fmla="*/ 7 h 7"/>
              <a:gd name="T8" fmla="*/ 10 w 27"/>
              <a:gd name="T9" fmla="*/ 7 h 7"/>
              <a:gd name="T10" fmla="*/ 15 w 27"/>
              <a:gd name="T11" fmla="*/ 6 h 7"/>
              <a:gd name="T12" fmla="*/ 19 w 27"/>
              <a:gd name="T13" fmla="*/ 4 h 7"/>
              <a:gd name="T14" fmla="*/ 23 w 27"/>
              <a:gd name="T15" fmla="*/ 2 h 7"/>
              <a:gd name="T16" fmla="*/ 27 w 27"/>
              <a:gd name="T17" fmla="*/ 0 h 7"/>
              <a:gd name="T18" fmla="*/ 0 w 27"/>
              <a:gd name="T19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7" h="7">
                <a:moveTo>
                  <a:pt x="0" y="0"/>
                </a:moveTo>
                <a:lnTo>
                  <a:pt x="0" y="4"/>
                </a:lnTo>
                <a:lnTo>
                  <a:pt x="2" y="6"/>
                </a:lnTo>
                <a:lnTo>
                  <a:pt x="7" y="7"/>
                </a:lnTo>
                <a:lnTo>
                  <a:pt x="10" y="7"/>
                </a:lnTo>
                <a:lnTo>
                  <a:pt x="15" y="6"/>
                </a:lnTo>
                <a:lnTo>
                  <a:pt x="19" y="4"/>
                </a:lnTo>
                <a:lnTo>
                  <a:pt x="23" y="2"/>
                </a:lnTo>
                <a:lnTo>
                  <a:pt x="2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094" name="Freeform 46"/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3989389" y="3109914"/>
            <a:ext cx="14287" cy="60325"/>
          </a:xfrm>
          <a:custGeom>
            <a:avLst/>
            <a:gdLst>
              <a:gd name="T0" fmla="*/ 0 w 27"/>
              <a:gd name="T1" fmla="*/ 0 h 6"/>
              <a:gd name="T2" fmla="*/ 11 w 27"/>
              <a:gd name="T3" fmla="*/ 3 h 6"/>
              <a:gd name="T4" fmla="*/ 27 w 27"/>
              <a:gd name="T5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7" h="6">
                <a:moveTo>
                  <a:pt x="0" y="0"/>
                </a:moveTo>
                <a:lnTo>
                  <a:pt x="11" y="3"/>
                </a:lnTo>
                <a:lnTo>
                  <a:pt x="27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095" name="Line 47"/>
          <p:cNvSpPr>
            <a:spLocks noChangeShapeType="1"/>
          </p:cNvSpPr>
          <p:nvPr>
            <p:custDataLst>
              <p:tags r:id="rId40"/>
            </p:custDataLst>
          </p:nvPr>
        </p:nvSpPr>
        <p:spPr bwMode="auto">
          <a:xfrm flipH="1" flipV="1">
            <a:off x="3997325" y="3106739"/>
            <a:ext cx="6350" cy="952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096" name="Line 48"/>
          <p:cNvSpPr>
            <a:spLocks noChangeShapeType="1"/>
          </p:cNvSpPr>
          <p:nvPr>
            <p:custDataLst>
              <p:tags r:id="rId41"/>
            </p:custDataLst>
          </p:nvPr>
        </p:nvSpPr>
        <p:spPr bwMode="auto">
          <a:xfrm flipH="1">
            <a:off x="3997325" y="3132138"/>
            <a:ext cx="6350" cy="11112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097" name="Freeform 49"/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3997326" y="3127375"/>
            <a:ext cx="11113" cy="58738"/>
          </a:xfrm>
          <a:custGeom>
            <a:avLst/>
            <a:gdLst>
              <a:gd name="T0" fmla="*/ 0 w 20"/>
              <a:gd name="T1" fmla="*/ 24 h 24"/>
              <a:gd name="T2" fmla="*/ 2 w 20"/>
              <a:gd name="T3" fmla="*/ 24 h 24"/>
              <a:gd name="T4" fmla="*/ 6 w 20"/>
              <a:gd name="T5" fmla="*/ 22 h 24"/>
              <a:gd name="T6" fmla="*/ 9 w 20"/>
              <a:gd name="T7" fmla="*/ 20 h 24"/>
              <a:gd name="T8" fmla="*/ 12 w 20"/>
              <a:gd name="T9" fmla="*/ 16 h 24"/>
              <a:gd name="T10" fmla="*/ 15 w 20"/>
              <a:gd name="T11" fmla="*/ 13 h 24"/>
              <a:gd name="T12" fmla="*/ 18 w 20"/>
              <a:gd name="T13" fmla="*/ 9 h 24"/>
              <a:gd name="T14" fmla="*/ 19 w 20"/>
              <a:gd name="T15" fmla="*/ 4 h 24"/>
              <a:gd name="T16" fmla="*/ 20 w 20"/>
              <a:gd name="T17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0" h="24">
                <a:moveTo>
                  <a:pt x="0" y="24"/>
                </a:moveTo>
                <a:lnTo>
                  <a:pt x="2" y="24"/>
                </a:lnTo>
                <a:lnTo>
                  <a:pt x="6" y="22"/>
                </a:lnTo>
                <a:lnTo>
                  <a:pt x="9" y="20"/>
                </a:lnTo>
                <a:lnTo>
                  <a:pt x="12" y="16"/>
                </a:lnTo>
                <a:lnTo>
                  <a:pt x="15" y="13"/>
                </a:lnTo>
                <a:lnTo>
                  <a:pt x="18" y="9"/>
                </a:lnTo>
                <a:lnTo>
                  <a:pt x="19" y="4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098" name="Freeform 50"/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4003676" y="3155951"/>
            <a:ext cx="17463" cy="55563"/>
          </a:xfrm>
          <a:custGeom>
            <a:avLst/>
            <a:gdLst>
              <a:gd name="T0" fmla="*/ 13 w 33"/>
              <a:gd name="T1" fmla="*/ 7 h 25"/>
              <a:gd name="T2" fmla="*/ 0 w 33"/>
              <a:gd name="T3" fmla="*/ 19 h 25"/>
              <a:gd name="T4" fmla="*/ 10 w 33"/>
              <a:gd name="T5" fmla="*/ 20 h 25"/>
              <a:gd name="T6" fmla="*/ 19 w 33"/>
              <a:gd name="T7" fmla="*/ 22 h 25"/>
              <a:gd name="T8" fmla="*/ 27 w 33"/>
              <a:gd name="T9" fmla="*/ 25 h 25"/>
              <a:gd name="T10" fmla="*/ 33 w 33"/>
              <a:gd name="T11" fmla="*/ 25 h 25"/>
              <a:gd name="T12" fmla="*/ 33 w 33"/>
              <a:gd name="T13" fmla="*/ 0 h 25"/>
              <a:gd name="T14" fmla="*/ 27 w 33"/>
              <a:gd name="T15" fmla="*/ 0 h 25"/>
              <a:gd name="T16" fmla="*/ 13 w 33"/>
              <a:gd name="T17" fmla="*/ 7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3" h="25">
                <a:moveTo>
                  <a:pt x="13" y="7"/>
                </a:moveTo>
                <a:lnTo>
                  <a:pt x="0" y="19"/>
                </a:lnTo>
                <a:lnTo>
                  <a:pt x="10" y="20"/>
                </a:lnTo>
                <a:lnTo>
                  <a:pt x="19" y="22"/>
                </a:lnTo>
                <a:lnTo>
                  <a:pt x="27" y="25"/>
                </a:lnTo>
                <a:lnTo>
                  <a:pt x="33" y="25"/>
                </a:lnTo>
                <a:lnTo>
                  <a:pt x="33" y="0"/>
                </a:lnTo>
                <a:lnTo>
                  <a:pt x="27" y="0"/>
                </a:lnTo>
                <a:lnTo>
                  <a:pt x="13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099" name="Freeform 51"/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4010026" y="3203575"/>
            <a:ext cx="15875" cy="57150"/>
          </a:xfrm>
          <a:custGeom>
            <a:avLst/>
            <a:gdLst>
              <a:gd name="T0" fmla="*/ 0 w 40"/>
              <a:gd name="T1" fmla="*/ 0 h 18"/>
              <a:gd name="T2" fmla="*/ 3 w 40"/>
              <a:gd name="T3" fmla="*/ 6 h 18"/>
              <a:gd name="T4" fmla="*/ 6 w 40"/>
              <a:gd name="T5" fmla="*/ 11 h 18"/>
              <a:gd name="T6" fmla="*/ 10 w 40"/>
              <a:gd name="T7" fmla="*/ 14 h 18"/>
              <a:gd name="T8" fmla="*/ 15 w 40"/>
              <a:gd name="T9" fmla="*/ 16 h 18"/>
              <a:gd name="T10" fmla="*/ 27 w 40"/>
              <a:gd name="T11" fmla="*/ 18 h 18"/>
              <a:gd name="T12" fmla="*/ 40 w 40"/>
              <a:gd name="T13" fmla="*/ 18 h 18"/>
              <a:gd name="T14" fmla="*/ 40 w 40"/>
              <a:gd name="T15" fmla="*/ 0 h 18"/>
              <a:gd name="T16" fmla="*/ 30 w 40"/>
              <a:gd name="T17" fmla="*/ 0 h 18"/>
              <a:gd name="T18" fmla="*/ 20 w 40"/>
              <a:gd name="T19" fmla="*/ 0 h 18"/>
              <a:gd name="T20" fmla="*/ 10 w 40"/>
              <a:gd name="T21" fmla="*/ 0 h 18"/>
              <a:gd name="T22" fmla="*/ 0 w 40"/>
              <a:gd name="T23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0" h="18">
                <a:moveTo>
                  <a:pt x="0" y="0"/>
                </a:moveTo>
                <a:lnTo>
                  <a:pt x="3" y="6"/>
                </a:lnTo>
                <a:lnTo>
                  <a:pt x="6" y="11"/>
                </a:lnTo>
                <a:lnTo>
                  <a:pt x="10" y="14"/>
                </a:lnTo>
                <a:lnTo>
                  <a:pt x="15" y="16"/>
                </a:lnTo>
                <a:lnTo>
                  <a:pt x="27" y="18"/>
                </a:lnTo>
                <a:lnTo>
                  <a:pt x="40" y="18"/>
                </a:lnTo>
                <a:lnTo>
                  <a:pt x="40" y="0"/>
                </a:lnTo>
                <a:lnTo>
                  <a:pt x="30" y="0"/>
                </a:lnTo>
                <a:lnTo>
                  <a:pt x="20" y="0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100" name="Freeform 52"/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4019551" y="3228975"/>
            <a:ext cx="3175" cy="57150"/>
          </a:xfrm>
          <a:custGeom>
            <a:avLst/>
            <a:gdLst>
              <a:gd name="T0" fmla="*/ 4 w 11"/>
              <a:gd name="T1" fmla="*/ 32 h 32"/>
              <a:gd name="T2" fmla="*/ 6 w 11"/>
              <a:gd name="T3" fmla="*/ 28 h 32"/>
              <a:gd name="T4" fmla="*/ 8 w 11"/>
              <a:gd name="T5" fmla="*/ 25 h 32"/>
              <a:gd name="T6" fmla="*/ 9 w 11"/>
              <a:gd name="T7" fmla="*/ 22 h 32"/>
              <a:gd name="T8" fmla="*/ 10 w 11"/>
              <a:gd name="T9" fmla="*/ 18 h 32"/>
              <a:gd name="T10" fmla="*/ 11 w 11"/>
              <a:gd name="T11" fmla="*/ 9 h 32"/>
              <a:gd name="T12" fmla="*/ 11 w 11"/>
              <a:gd name="T13" fmla="*/ 0 h 32"/>
              <a:gd name="T14" fmla="*/ 6 w 11"/>
              <a:gd name="T15" fmla="*/ 3 h 32"/>
              <a:gd name="T16" fmla="*/ 3 w 11"/>
              <a:gd name="T17" fmla="*/ 7 h 32"/>
              <a:gd name="T18" fmla="*/ 1 w 11"/>
              <a:gd name="T19" fmla="*/ 11 h 32"/>
              <a:gd name="T20" fmla="*/ 0 w 11"/>
              <a:gd name="T21" fmla="*/ 16 h 32"/>
              <a:gd name="T22" fmla="*/ 0 w 11"/>
              <a:gd name="T23" fmla="*/ 20 h 32"/>
              <a:gd name="T24" fmla="*/ 1 w 11"/>
              <a:gd name="T25" fmla="*/ 24 h 32"/>
              <a:gd name="T26" fmla="*/ 2 w 11"/>
              <a:gd name="T27" fmla="*/ 28 h 32"/>
              <a:gd name="T28" fmla="*/ 4 w 11"/>
              <a:gd name="T29" fmla="*/ 32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1" h="32">
                <a:moveTo>
                  <a:pt x="4" y="32"/>
                </a:moveTo>
                <a:lnTo>
                  <a:pt x="6" y="28"/>
                </a:lnTo>
                <a:lnTo>
                  <a:pt x="8" y="25"/>
                </a:lnTo>
                <a:lnTo>
                  <a:pt x="9" y="22"/>
                </a:lnTo>
                <a:lnTo>
                  <a:pt x="10" y="18"/>
                </a:lnTo>
                <a:lnTo>
                  <a:pt x="11" y="9"/>
                </a:lnTo>
                <a:lnTo>
                  <a:pt x="11" y="0"/>
                </a:lnTo>
                <a:lnTo>
                  <a:pt x="6" y="3"/>
                </a:lnTo>
                <a:lnTo>
                  <a:pt x="3" y="7"/>
                </a:lnTo>
                <a:lnTo>
                  <a:pt x="1" y="11"/>
                </a:lnTo>
                <a:lnTo>
                  <a:pt x="0" y="16"/>
                </a:lnTo>
                <a:lnTo>
                  <a:pt x="0" y="20"/>
                </a:lnTo>
                <a:lnTo>
                  <a:pt x="1" y="24"/>
                </a:lnTo>
                <a:lnTo>
                  <a:pt x="2" y="28"/>
                </a:lnTo>
                <a:lnTo>
                  <a:pt x="4" y="3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101" name="Freeform 53"/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4041775" y="3259138"/>
            <a:ext cx="1588" cy="55562"/>
          </a:xfrm>
          <a:custGeom>
            <a:avLst/>
            <a:gdLst>
              <a:gd name="T0" fmla="*/ 0 w 14"/>
              <a:gd name="T1" fmla="*/ 0 h 24"/>
              <a:gd name="T2" fmla="*/ 0 w 14"/>
              <a:gd name="T3" fmla="*/ 24 h 24"/>
              <a:gd name="T4" fmla="*/ 14 w 14"/>
              <a:gd name="T5" fmla="*/ 12 h 24"/>
              <a:gd name="T6" fmla="*/ 0 w 14"/>
              <a:gd name="T7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4" h="24">
                <a:moveTo>
                  <a:pt x="0" y="0"/>
                </a:moveTo>
                <a:lnTo>
                  <a:pt x="0" y="24"/>
                </a:lnTo>
                <a:lnTo>
                  <a:pt x="14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102" name="Freeform 54"/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4003676" y="3271839"/>
            <a:ext cx="15875" cy="58737"/>
          </a:xfrm>
          <a:custGeom>
            <a:avLst/>
            <a:gdLst>
              <a:gd name="T0" fmla="*/ 0 w 27"/>
              <a:gd name="T1" fmla="*/ 12 h 18"/>
              <a:gd name="T2" fmla="*/ 7 w 27"/>
              <a:gd name="T3" fmla="*/ 15 h 18"/>
              <a:gd name="T4" fmla="*/ 13 w 27"/>
              <a:gd name="T5" fmla="*/ 18 h 18"/>
              <a:gd name="T6" fmla="*/ 22 w 27"/>
              <a:gd name="T7" fmla="*/ 7 h 18"/>
              <a:gd name="T8" fmla="*/ 27 w 27"/>
              <a:gd name="T9" fmla="*/ 0 h 18"/>
              <a:gd name="T10" fmla="*/ 22 w 27"/>
              <a:gd name="T11" fmla="*/ 0 h 18"/>
              <a:gd name="T12" fmla="*/ 18 w 27"/>
              <a:gd name="T13" fmla="*/ 1 h 18"/>
              <a:gd name="T14" fmla="*/ 13 w 27"/>
              <a:gd name="T15" fmla="*/ 2 h 18"/>
              <a:gd name="T16" fmla="*/ 10 w 27"/>
              <a:gd name="T17" fmla="*/ 4 h 18"/>
              <a:gd name="T18" fmla="*/ 5 w 27"/>
              <a:gd name="T19" fmla="*/ 8 h 18"/>
              <a:gd name="T20" fmla="*/ 0 w 27"/>
              <a:gd name="T21" fmla="*/ 12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7" h="18">
                <a:moveTo>
                  <a:pt x="0" y="12"/>
                </a:moveTo>
                <a:lnTo>
                  <a:pt x="7" y="15"/>
                </a:lnTo>
                <a:lnTo>
                  <a:pt x="13" y="18"/>
                </a:lnTo>
                <a:lnTo>
                  <a:pt x="22" y="7"/>
                </a:lnTo>
                <a:lnTo>
                  <a:pt x="27" y="0"/>
                </a:lnTo>
                <a:lnTo>
                  <a:pt x="22" y="0"/>
                </a:lnTo>
                <a:lnTo>
                  <a:pt x="18" y="1"/>
                </a:lnTo>
                <a:lnTo>
                  <a:pt x="13" y="2"/>
                </a:lnTo>
                <a:lnTo>
                  <a:pt x="10" y="4"/>
                </a:lnTo>
                <a:lnTo>
                  <a:pt x="5" y="8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103" name="Freeform 55"/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3989388" y="3336925"/>
            <a:ext cx="23812" cy="57150"/>
          </a:xfrm>
          <a:custGeom>
            <a:avLst/>
            <a:gdLst>
              <a:gd name="T0" fmla="*/ 0 w 47"/>
              <a:gd name="T1" fmla="*/ 36 h 49"/>
              <a:gd name="T2" fmla="*/ 1 w 47"/>
              <a:gd name="T3" fmla="*/ 39 h 49"/>
              <a:gd name="T4" fmla="*/ 2 w 47"/>
              <a:gd name="T5" fmla="*/ 41 h 49"/>
              <a:gd name="T6" fmla="*/ 4 w 47"/>
              <a:gd name="T7" fmla="*/ 43 h 49"/>
              <a:gd name="T8" fmla="*/ 6 w 47"/>
              <a:gd name="T9" fmla="*/ 45 h 49"/>
              <a:gd name="T10" fmla="*/ 12 w 47"/>
              <a:gd name="T11" fmla="*/ 48 h 49"/>
              <a:gd name="T12" fmla="*/ 14 w 47"/>
              <a:gd name="T13" fmla="*/ 49 h 49"/>
              <a:gd name="T14" fmla="*/ 18 w 47"/>
              <a:gd name="T15" fmla="*/ 49 h 49"/>
              <a:gd name="T16" fmla="*/ 24 w 47"/>
              <a:gd name="T17" fmla="*/ 46 h 49"/>
              <a:gd name="T18" fmla="*/ 29 w 47"/>
              <a:gd name="T19" fmla="*/ 42 h 49"/>
              <a:gd name="T20" fmla="*/ 35 w 47"/>
              <a:gd name="T21" fmla="*/ 39 h 49"/>
              <a:gd name="T22" fmla="*/ 39 w 47"/>
              <a:gd name="T23" fmla="*/ 35 h 49"/>
              <a:gd name="T24" fmla="*/ 44 w 47"/>
              <a:gd name="T25" fmla="*/ 31 h 49"/>
              <a:gd name="T26" fmla="*/ 46 w 47"/>
              <a:gd name="T27" fmla="*/ 27 h 49"/>
              <a:gd name="T28" fmla="*/ 47 w 47"/>
              <a:gd name="T29" fmla="*/ 24 h 49"/>
              <a:gd name="T30" fmla="*/ 47 w 47"/>
              <a:gd name="T31" fmla="*/ 12 h 49"/>
              <a:gd name="T32" fmla="*/ 47 w 47"/>
              <a:gd name="T33" fmla="*/ 0 h 49"/>
              <a:gd name="T34" fmla="*/ 27 w 47"/>
              <a:gd name="T35" fmla="*/ 0 h 49"/>
              <a:gd name="T36" fmla="*/ 17 w 47"/>
              <a:gd name="T37" fmla="*/ 8 h 49"/>
              <a:gd name="T38" fmla="*/ 9 w 47"/>
              <a:gd name="T39" fmla="*/ 16 h 49"/>
              <a:gd name="T40" fmla="*/ 5 w 47"/>
              <a:gd name="T41" fmla="*/ 20 h 49"/>
              <a:gd name="T42" fmla="*/ 2 w 47"/>
              <a:gd name="T43" fmla="*/ 25 h 49"/>
              <a:gd name="T44" fmla="*/ 1 w 47"/>
              <a:gd name="T45" fmla="*/ 30 h 49"/>
              <a:gd name="T46" fmla="*/ 0 w 47"/>
              <a:gd name="T47" fmla="*/ 36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47" h="49">
                <a:moveTo>
                  <a:pt x="0" y="36"/>
                </a:moveTo>
                <a:lnTo>
                  <a:pt x="1" y="39"/>
                </a:lnTo>
                <a:lnTo>
                  <a:pt x="2" y="41"/>
                </a:lnTo>
                <a:lnTo>
                  <a:pt x="4" y="43"/>
                </a:lnTo>
                <a:lnTo>
                  <a:pt x="6" y="45"/>
                </a:lnTo>
                <a:lnTo>
                  <a:pt x="12" y="48"/>
                </a:lnTo>
                <a:lnTo>
                  <a:pt x="14" y="49"/>
                </a:lnTo>
                <a:lnTo>
                  <a:pt x="18" y="49"/>
                </a:lnTo>
                <a:lnTo>
                  <a:pt x="24" y="46"/>
                </a:lnTo>
                <a:lnTo>
                  <a:pt x="29" y="42"/>
                </a:lnTo>
                <a:lnTo>
                  <a:pt x="35" y="39"/>
                </a:lnTo>
                <a:lnTo>
                  <a:pt x="39" y="35"/>
                </a:lnTo>
                <a:lnTo>
                  <a:pt x="44" y="31"/>
                </a:lnTo>
                <a:lnTo>
                  <a:pt x="46" y="27"/>
                </a:lnTo>
                <a:lnTo>
                  <a:pt x="47" y="24"/>
                </a:lnTo>
                <a:lnTo>
                  <a:pt x="47" y="12"/>
                </a:lnTo>
                <a:lnTo>
                  <a:pt x="47" y="0"/>
                </a:lnTo>
                <a:lnTo>
                  <a:pt x="27" y="0"/>
                </a:lnTo>
                <a:lnTo>
                  <a:pt x="17" y="8"/>
                </a:lnTo>
                <a:lnTo>
                  <a:pt x="9" y="16"/>
                </a:lnTo>
                <a:lnTo>
                  <a:pt x="5" y="20"/>
                </a:lnTo>
                <a:lnTo>
                  <a:pt x="2" y="25"/>
                </a:lnTo>
                <a:lnTo>
                  <a:pt x="1" y="30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104" name="Freeform 56"/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4008438" y="3313113"/>
            <a:ext cx="12700" cy="57150"/>
          </a:xfrm>
          <a:custGeom>
            <a:avLst/>
            <a:gdLst>
              <a:gd name="T0" fmla="*/ 0 w 26"/>
              <a:gd name="T1" fmla="*/ 0 h 9"/>
              <a:gd name="T2" fmla="*/ 0 w 26"/>
              <a:gd name="T3" fmla="*/ 4 h 9"/>
              <a:gd name="T4" fmla="*/ 3 w 26"/>
              <a:gd name="T5" fmla="*/ 7 h 9"/>
              <a:gd name="T6" fmla="*/ 6 w 26"/>
              <a:gd name="T7" fmla="*/ 8 h 9"/>
              <a:gd name="T8" fmla="*/ 11 w 26"/>
              <a:gd name="T9" fmla="*/ 9 h 9"/>
              <a:gd name="T10" fmla="*/ 15 w 26"/>
              <a:gd name="T11" fmla="*/ 8 h 9"/>
              <a:gd name="T12" fmla="*/ 20 w 26"/>
              <a:gd name="T13" fmla="*/ 7 h 9"/>
              <a:gd name="T14" fmla="*/ 23 w 26"/>
              <a:gd name="T15" fmla="*/ 4 h 9"/>
              <a:gd name="T16" fmla="*/ 26 w 26"/>
              <a:gd name="T17" fmla="*/ 0 h 9"/>
              <a:gd name="T18" fmla="*/ 0 w 26"/>
              <a:gd name="T19" fmla="*/ 0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6" h="9">
                <a:moveTo>
                  <a:pt x="0" y="0"/>
                </a:moveTo>
                <a:lnTo>
                  <a:pt x="0" y="4"/>
                </a:lnTo>
                <a:lnTo>
                  <a:pt x="3" y="7"/>
                </a:lnTo>
                <a:lnTo>
                  <a:pt x="6" y="8"/>
                </a:lnTo>
                <a:lnTo>
                  <a:pt x="11" y="9"/>
                </a:lnTo>
                <a:lnTo>
                  <a:pt x="15" y="8"/>
                </a:lnTo>
                <a:lnTo>
                  <a:pt x="20" y="7"/>
                </a:lnTo>
                <a:lnTo>
                  <a:pt x="23" y="4"/>
                </a:lnTo>
                <a:lnTo>
                  <a:pt x="26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105" name="Freeform 57"/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3490914" y="2984500"/>
            <a:ext cx="15875" cy="57150"/>
          </a:xfrm>
          <a:custGeom>
            <a:avLst/>
            <a:gdLst>
              <a:gd name="T0" fmla="*/ 0 w 39"/>
              <a:gd name="T1" fmla="*/ 0 h 18"/>
              <a:gd name="T2" fmla="*/ 0 w 39"/>
              <a:gd name="T3" fmla="*/ 18 h 18"/>
              <a:gd name="T4" fmla="*/ 6 w 39"/>
              <a:gd name="T5" fmla="*/ 18 h 18"/>
              <a:gd name="T6" fmla="*/ 13 w 39"/>
              <a:gd name="T7" fmla="*/ 18 h 18"/>
              <a:gd name="T8" fmla="*/ 23 w 39"/>
              <a:gd name="T9" fmla="*/ 17 h 18"/>
              <a:gd name="T10" fmla="*/ 30 w 39"/>
              <a:gd name="T11" fmla="*/ 14 h 18"/>
              <a:gd name="T12" fmla="*/ 34 w 39"/>
              <a:gd name="T13" fmla="*/ 12 h 18"/>
              <a:gd name="T14" fmla="*/ 37 w 39"/>
              <a:gd name="T15" fmla="*/ 10 h 18"/>
              <a:gd name="T16" fmla="*/ 38 w 39"/>
              <a:gd name="T17" fmla="*/ 8 h 18"/>
              <a:gd name="T18" fmla="*/ 39 w 39"/>
              <a:gd name="T19" fmla="*/ 6 h 18"/>
              <a:gd name="T20" fmla="*/ 29 w 39"/>
              <a:gd name="T21" fmla="*/ 5 h 18"/>
              <a:gd name="T22" fmla="*/ 19 w 39"/>
              <a:gd name="T23" fmla="*/ 3 h 18"/>
              <a:gd name="T24" fmla="*/ 10 w 39"/>
              <a:gd name="T25" fmla="*/ 0 h 18"/>
              <a:gd name="T26" fmla="*/ 0 w 39"/>
              <a:gd name="T27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9" h="18">
                <a:moveTo>
                  <a:pt x="0" y="0"/>
                </a:moveTo>
                <a:lnTo>
                  <a:pt x="0" y="18"/>
                </a:lnTo>
                <a:lnTo>
                  <a:pt x="6" y="18"/>
                </a:lnTo>
                <a:lnTo>
                  <a:pt x="13" y="18"/>
                </a:lnTo>
                <a:lnTo>
                  <a:pt x="23" y="17"/>
                </a:lnTo>
                <a:lnTo>
                  <a:pt x="30" y="14"/>
                </a:lnTo>
                <a:lnTo>
                  <a:pt x="34" y="12"/>
                </a:lnTo>
                <a:lnTo>
                  <a:pt x="37" y="10"/>
                </a:lnTo>
                <a:lnTo>
                  <a:pt x="38" y="8"/>
                </a:lnTo>
                <a:lnTo>
                  <a:pt x="39" y="6"/>
                </a:lnTo>
                <a:lnTo>
                  <a:pt x="29" y="5"/>
                </a:lnTo>
                <a:lnTo>
                  <a:pt x="19" y="3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rgbClr val="29713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grpSp>
        <p:nvGrpSpPr>
          <p:cNvPr id="2106" name="Group 58"/>
          <p:cNvGrpSpPr>
            <a:grpSpLocks/>
          </p:cNvGrpSpPr>
          <p:nvPr>
            <p:custDataLst>
              <p:tags r:id="rId51"/>
            </p:custDataLst>
          </p:nvPr>
        </p:nvGrpSpPr>
        <p:grpSpPr bwMode="auto">
          <a:xfrm>
            <a:off x="3616326" y="2817813"/>
            <a:ext cx="131763" cy="195262"/>
            <a:chOff x="1199" y="2121"/>
            <a:chExt cx="97" cy="123"/>
          </a:xfrm>
        </p:grpSpPr>
        <p:sp>
          <p:nvSpPr>
            <p:cNvPr id="2107" name="Freeform 59"/>
            <p:cNvSpPr>
              <a:spLocks/>
            </p:cNvSpPr>
            <p:nvPr/>
          </p:nvSpPr>
          <p:spPr bwMode="auto">
            <a:xfrm>
              <a:off x="1274" y="2236"/>
              <a:ext cx="16" cy="8"/>
            </a:xfrm>
            <a:custGeom>
              <a:avLst/>
              <a:gdLst>
                <a:gd name="T0" fmla="*/ 0 w 52"/>
                <a:gd name="T1" fmla="*/ 25 h 25"/>
                <a:gd name="T2" fmla="*/ 7 w 52"/>
                <a:gd name="T3" fmla="*/ 25 h 25"/>
                <a:gd name="T4" fmla="*/ 15 w 52"/>
                <a:gd name="T5" fmla="*/ 24 h 25"/>
                <a:gd name="T6" fmla="*/ 23 w 52"/>
                <a:gd name="T7" fmla="*/ 22 h 25"/>
                <a:gd name="T8" fmla="*/ 30 w 52"/>
                <a:gd name="T9" fmla="*/ 19 h 25"/>
                <a:gd name="T10" fmla="*/ 38 w 52"/>
                <a:gd name="T11" fmla="*/ 15 h 25"/>
                <a:gd name="T12" fmla="*/ 43 w 52"/>
                <a:gd name="T13" fmla="*/ 11 h 25"/>
                <a:gd name="T14" fmla="*/ 49 w 52"/>
                <a:gd name="T15" fmla="*/ 6 h 25"/>
                <a:gd name="T16" fmla="*/ 52 w 52"/>
                <a:gd name="T17" fmla="*/ 0 h 25"/>
                <a:gd name="T18" fmla="*/ 40 w 52"/>
                <a:gd name="T19" fmla="*/ 0 h 25"/>
                <a:gd name="T20" fmla="*/ 31 w 52"/>
                <a:gd name="T21" fmla="*/ 0 h 25"/>
                <a:gd name="T22" fmla="*/ 23 w 52"/>
                <a:gd name="T23" fmla="*/ 1 h 25"/>
                <a:gd name="T24" fmla="*/ 16 w 52"/>
                <a:gd name="T25" fmla="*/ 3 h 25"/>
                <a:gd name="T26" fmla="*/ 11 w 52"/>
                <a:gd name="T27" fmla="*/ 6 h 25"/>
                <a:gd name="T28" fmla="*/ 5 w 52"/>
                <a:gd name="T29" fmla="*/ 10 h 25"/>
                <a:gd name="T30" fmla="*/ 2 w 52"/>
                <a:gd name="T31" fmla="*/ 16 h 25"/>
                <a:gd name="T32" fmla="*/ 0 w 52"/>
                <a:gd name="T33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2" h="25">
                  <a:moveTo>
                    <a:pt x="0" y="25"/>
                  </a:moveTo>
                  <a:lnTo>
                    <a:pt x="7" y="25"/>
                  </a:lnTo>
                  <a:lnTo>
                    <a:pt x="15" y="24"/>
                  </a:lnTo>
                  <a:lnTo>
                    <a:pt x="23" y="22"/>
                  </a:lnTo>
                  <a:lnTo>
                    <a:pt x="30" y="19"/>
                  </a:lnTo>
                  <a:lnTo>
                    <a:pt x="38" y="15"/>
                  </a:lnTo>
                  <a:lnTo>
                    <a:pt x="43" y="11"/>
                  </a:lnTo>
                  <a:lnTo>
                    <a:pt x="49" y="6"/>
                  </a:lnTo>
                  <a:lnTo>
                    <a:pt x="52" y="0"/>
                  </a:lnTo>
                  <a:lnTo>
                    <a:pt x="40" y="0"/>
                  </a:lnTo>
                  <a:lnTo>
                    <a:pt x="31" y="0"/>
                  </a:lnTo>
                  <a:lnTo>
                    <a:pt x="23" y="1"/>
                  </a:lnTo>
                  <a:lnTo>
                    <a:pt x="16" y="3"/>
                  </a:lnTo>
                  <a:lnTo>
                    <a:pt x="11" y="6"/>
                  </a:lnTo>
                  <a:lnTo>
                    <a:pt x="5" y="10"/>
                  </a:lnTo>
                  <a:lnTo>
                    <a:pt x="2" y="16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08" name="Freeform 60"/>
            <p:cNvSpPr>
              <a:spLocks/>
            </p:cNvSpPr>
            <p:nvPr/>
          </p:nvSpPr>
          <p:spPr bwMode="auto">
            <a:xfrm>
              <a:off x="1199" y="2131"/>
              <a:ext cx="11" cy="4"/>
            </a:xfrm>
            <a:custGeom>
              <a:avLst/>
              <a:gdLst>
                <a:gd name="T0" fmla="*/ 0 w 33"/>
                <a:gd name="T1" fmla="*/ 0 h 13"/>
                <a:gd name="T2" fmla="*/ 0 w 33"/>
                <a:gd name="T3" fmla="*/ 6 h 13"/>
                <a:gd name="T4" fmla="*/ 0 w 33"/>
                <a:gd name="T5" fmla="*/ 13 h 13"/>
                <a:gd name="T6" fmla="*/ 9 w 33"/>
                <a:gd name="T7" fmla="*/ 13 h 13"/>
                <a:gd name="T8" fmla="*/ 16 w 33"/>
                <a:gd name="T9" fmla="*/ 13 h 13"/>
                <a:gd name="T10" fmla="*/ 24 w 33"/>
                <a:gd name="T11" fmla="*/ 11 h 13"/>
                <a:gd name="T12" fmla="*/ 33 w 33"/>
                <a:gd name="T13" fmla="*/ 6 h 13"/>
                <a:gd name="T14" fmla="*/ 24 w 33"/>
                <a:gd name="T15" fmla="*/ 3 h 13"/>
                <a:gd name="T16" fmla="*/ 16 w 33"/>
                <a:gd name="T17" fmla="*/ 1 h 13"/>
                <a:gd name="T18" fmla="*/ 9 w 33"/>
                <a:gd name="T19" fmla="*/ 0 h 13"/>
                <a:gd name="T20" fmla="*/ 0 w 33"/>
                <a:gd name="T2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  <a:lnTo>
                    <a:pt x="9" y="13"/>
                  </a:lnTo>
                  <a:lnTo>
                    <a:pt x="16" y="13"/>
                  </a:lnTo>
                  <a:lnTo>
                    <a:pt x="24" y="11"/>
                  </a:lnTo>
                  <a:lnTo>
                    <a:pt x="33" y="6"/>
                  </a:lnTo>
                  <a:lnTo>
                    <a:pt x="24" y="3"/>
                  </a:lnTo>
                  <a:lnTo>
                    <a:pt x="16" y="1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09" name="Freeform 61"/>
            <p:cNvSpPr>
              <a:spLocks/>
            </p:cNvSpPr>
            <p:nvPr/>
          </p:nvSpPr>
          <p:spPr bwMode="auto">
            <a:xfrm>
              <a:off x="1210" y="2121"/>
              <a:ext cx="20" cy="28"/>
            </a:xfrm>
            <a:custGeom>
              <a:avLst/>
              <a:gdLst>
                <a:gd name="T0" fmla="*/ 26 w 67"/>
                <a:gd name="T1" fmla="*/ 18 h 86"/>
                <a:gd name="T2" fmla="*/ 0 w 67"/>
                <a:gd name="T3" fmla="*/ 0 h 86"/>
                <a:gd name="T4" fmla="*/ 26 w 67"/>
                <a:gd name="T5" fmla="*/ 0 h 86"/>
                <a:gd name="T6" fmla="*/ 29 w 67"/>
                <a:gd name="T7" fmla="*/ 4 h 86"/>
                <a:gd name="T8" fmla="*/ 33 w 67"/>
                <a:gd name="T9" fmla="*/ 8 h 86"/>
                <a:gd name="T10" fmla="*/ 36 w 67"/>
                <a:gd name="T11" fmla="*/ 11 h 86"/>
                <a:gd name="T12" fmla="*/ 39 w 67"/>
                <a:gd name="T13" fmla="*/ 14 h 86"/>
                <a:gd name="T14" fmla="*/ 47 w 67"/>
                <a:gd name="T15" fmla="*/ 17 h 86"/>
                <a:gd name="T16" fmla="*/ 54 w 67"/>
                <a:gd name="T17" fmla="*/ 18 h 86"/>
                <a:gd name="T18" fmla="*/ 58 w 67"/>
                <a:gd name="T19" fmla="*/ 30 h 86"/>
                <a:gd name="T20" fmla="*/ 62 w 67"/>
                <a:gd name="T21" fmla="*/ 40 h 86"/>
                <a:gd name="T22" fmla="*/ 63 w 67"/>
                <a:gd name="T23" fmla="*/ 45 h 86"/>
                <a:gd name="T24" fmla="*/ 66 w 67"/>
                <a:gd name="T25" fmla="*/ 50 h 86"/>
                <a:gd name="T26" fmla="*/ 66 w 67"/>
                <a:gd name="T27" fmla="*/ 55 h 86"/>
                <a:gd name="T28" fmla="*/ 67 w 67"/>
                <a:gd name="T29" fmla="*/ 61 h 86"/>
                <a:gd name="T30" fmla="*/ 63 w 67"/>
                <a:gd name="T31" fmla="*/ 74 h 86"/>
                <a:gd name="T32" fmla="*/ 60 w 67"/>
                <a:gd name="T33" fmla="*/ 86 h 86"/>
                <a:gd name="T34" fmla="*/ 55 w 67"/>
                <a:gd name="T35" fmla="*/ 69 h 86"/>
                <a:gd name="T36" fmla="*/ 51 w 67"/>
                <a:gd name="T37" fmla="*/ 54 h 86"/>
                <a:gd name="T38" fmla="*/ 50 w 67"/>
                <a:gd name="T39" fmla="*/ 47 h 86"/>
                <a:gd name="T40" fmla="*/ 50 w 67"/>
                <a:gd name="T41" fmla="*/ 41 h 86"/>
                <a:gd name="T42" fmla="*/ 51 w 67"/>
                <a:gd name="T43" fmla="*/ 35 h 86"/>
                <a:gd name="T44" fmla="*/ 54 w 67"/>
                <a:gd name="T45" fmla="*/ 30 h 86"/>
                <a:gd name="T46" fmla="*/ 44 w 67"/>
                <a:gd name="T47" fmla="*/ 30 h 86"/>
                <a:gd name="T48" fmla="*/ 35 w 67"/>
                <a:gd name="T49" fmla="*/ 29 h 86"/>
                <a:gd name="T50" fmla="*/ 32 w 67"/>
                <a:gd name="T51" fmla="*/ 27 h 86"/>
                <a:gd name="T52" fmla="*/ 28 w 67"/>
                <a:gd name="T53" fmla="*/ 25 h 86"/>
                <a:gd name="T54" fmla="*/ 27 w 67"/>
                <a:gd name="T55" fmla="*/ 22 h 86"/>
                <a:gd name="T56" fmla="*/ 26 w 67"/>
                <a:gd name="T57" fmla="*/ 18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7" h="86">
                  <a:moveTo>
                    <a:pt x="26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29" y="4"/>
                  </a:lnTo>
                  <a:lnTo>
                    <a:pt x="33" y="8"/>
                  </a:lnTo>
                  <a:lnTo>
                    <a:pt x="36" y="11"/>
                  </a:lnTo>
                  <a:lnTo>
                    <a:pt x="39" y="14"/>
                  </a:lnTo>
                  <a:lnTo>
                    <a:pt x="47" y="17"/>
                  </a:lnTo>
                  <a:lnTo>
                    <a:pt x="54" y="18"/>
                  </a:lnTo>
                  <a:lnTo>
                    <a:pt x="58" y="30"/>
                  </a:lnTo>
                  <a:lnTo>
                    <a:pt x="62" y="40"/>
                  </a:lnTo>
                  <a:lnTo>
                    <a:pt x="63" y="45"/>
                  </a:lnTo>
                  <a:lnTo>
                    <a:pt x="66" y="50"/>
                  </a:lnTo>
                  <a:lnTo>
                    <a:pt x="66" y="55"/>
                  </a:lnTo>
                  <a:lnTo>
                    <a:pt x="67" y="61"/>
                  </a:lnTo>
                  <a:lnTo>
                    <a:pt x="63" y="74"/>
                  </a:lnTo>
                  <a:lnTo>
                    <a:pt x="60" y="86"/>
                  </a:lnTo>
                  <a:lnTo>
                    <a:pt x="55" y="69"/>
                  </a:lnTo>
                  <a:lnTo>
                    <a:pt x="51" y="54"/>
                  </a:lnTo>
                  <a:lnTo>
                    <a:pt x="50" y="47"/>
                  </a:lnTo>
                  <a:lnTo>
                    <a:pt x="50" y="41"/>
                  </a:lnTo>
                  <a:lnTo>
                    <a:pt x="51" y="35"/>
                  </a:lnTo>
                  <a:lnTo>
                    <a:pt x="54" y="30"/>
                  </a:lnTo>
                  <a:lnTo>
                    <a:pt x="44" y="30"/>
                  </a:lnTo>
                  <a:lnTo>
                    <a:pt x="35" y="29"/>
                  </a:lnTo>
                  <a:lnTo>
                    <a:pt x="32" y="27"/>
                  </a:lnTo>
                  <a:lnTo>
                    <a:pt x="28" y="25"/>
                  </a:lnTo>
                  <a:lnTo>
                    <a:pt x="27" y="22"/>
                  </a:lnTo>
                  <a:lnTo>
                    <a:pt x="26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10" name="Freeform 62"/>
            <p:cNvSpPr>
              <a:spLocks/>
            </p:cNvSpPr>
            <p:nvPr/>
          </p:nvSpPr>
          <p:spPr bwMode="auto">
            <a:xfrm>
              <a:off x="1201" y="2159"/>
              <a:ext cx="16" cy="28"/>
            </a:xfrm>
            <a:custGeom>
              <a:avLst/>
              <a:gdLst>
                <a:gd name="T0" fmla="*/ 27 w 49"/>
                <a:gd name="T1" fmla="*/ 12 h 86"/>
                <a:gd name="T2" fmla="*/ 20 w 49"/>
                <a:gd name="T3" fmla="*/ 6 h 86"/>
                <a:gd name="T4" fmla="*/ 14 w 49"/>
                <a:gd name="T5" fmla="*/ 0 h 86"/>
                <a:gd name="T6" fmla="*/ 9 w 49"/>
                <a:gd name="T7" fmla="*/ 5 h 86"/>
                <a:gd name="T8" fmla="*/ 5 w 49"/>
                <a:gd name="T9" fmla="*/ 13 h 86"/>
                <a:gd name="T10" fmla="*/ 1 w 49"/>
                <a:gd name="T11" fmla="*/ 21 h 86"/>
                <a:gd name="T12" fmla="*/ 0 w 49"/>
                <a:gd name="T13" fmla="*/ 30 h 86"/>
                <a:gd name="T14" fmla="*/ 0 w 49"/>
                <a:gd name="T15" fmla="*/ 36 h 86"/>
                <a:gd name="T16" fmla="*/ 3 w 49"/>
                <a:gd name="T17" fmla="*/ 43 h 86"/>
                <a:gd name="T18" fmla="*/ 5 w 49"/>
                <a:gd name="T19" fmla="*/ 50 h 86"/>
                <a:gd name="T20" fmla="*/ 8 w 49"/>
                <a:gd name="T21" fmla="*/ 58 h 86"/>
                <a:gd name="T22" fmla="*/ 12 w 49"/>
                <a:gd name="T23" fmla="*/ 66 h 86"/>
                <a:gd name="T24" fmla="*/ 17 w 49"/>
                <a:gd name="T25" fmla="*/ 74 h 86"/>
                <a:gd name="T26" fmla="*/ 22 w 49"/>
                <a:gd name="T27" fmla="*/ 80 h 86"/>
                <a:gd name="T28" fmla="*/ 27 w 49"/>
                <a:gd name="T29" fmla="*/ 86 h 86"/>
                <a:gd name="T30" fmla="*/ 31 w 49"/>
                <a:gd name="T31" fmla="*/ 79 h 86"/>
                <a:gd name="T32" fmla="*/ 37 w 49"/>
                <a:gd name="T33" fmla="*/ 69 h 86"/>
                <a:gd name="T34" fmla="*/ 42 w 49"/>
                <a:gd name="T35" fmla="*/ 57 h 86"/>
                <a:gd name="T36" fmla="*/ 46 w 49"/>
                <a:gd name="T37" fmla="*/ 45 h 86"/>
                <a:gd name="T38" fmla="*/ 49 w 49"/>
                <a:gd name="T39" fmla="*/ 39 h 86"/>
                <a:gd name="T40" fmla="*/ 49 w 49"/>
                <a:gd name="T41" fmla="*/ 33 h 86"/>
                <a:gd name="T42" fmla="*/ 49 w 49"/>
                <a:gd name="T43" fmla="*/ 26 h 86"/>
                <a:gd name="T44" fmla="*/ 48 w 49"/>
                <a:gd name="T45" fmla="*/ 22 h 86"/>
                <a:gd name="T46" fmla="*/ 44 w 49"/>
                <a:gd name="T47" fmla="*/ 18 h 86"/>
                <a:gd name="T48" fmla="*/ 40 w 49"/>
                <a:gd name="T49" fmla="*/ 15 h 86"/>
                <a:gd name="T50" fmla="*/ 34 w 49"/>
                <a:gd name="T51" fmla="*/ 13 h 86"/>
                <a:gd name="T52" fmla="*/ 27 w 49"/>
                <a:gd name="T53" fmla="*/ 12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9" h="86">
                  <a:moveTo>
                    <a:pt x="27" y="12"/>
                  </a:moveTo>
                  <a:lnTo>
                    <a:pt x="20" y="6"/>
                  </a:lnTo>
                  <a:lnTo>
                    <a:pt x="14" y="0"/>
                  </a:lnTo>
                  <a:lnTo>
                    <a:pt x="9" y="5"/>
                  </a:lnTo>
                  <a:lnTo>
                    <a:pt x="5" y="13"/>
                  </a:lnTo>
                  <a:lnTo>
                    <a:pt x="1" y="21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3" y="43"/>
                  </a:lnTo>
                  <a:lnTo>
                    <a:pt x="5" y="50"/>
                  </a:lnTo>
                  <a:lnTo>
                    <a:pt x="8" y="58"/>
                  </a:lnTo>
                  <a:lnTo>
                    <a:pt x="12" y="66"/>
                  </a:lnTo>
                  <a:lnTo>
                    <a:pt x="17" y="74"/>
                  </a:lnTo>
                  <a:lnTo>
                    <a:pt x="22" y="80"/>
                  </a:lnTo>
                  <a:lnTo>
                    <a:pt x="27" y="86"/>
                  </a:lnTo>
                  <a:lnTo>
                    <a:pt x="31" y="79"/>
                  </a:lnTo>
                  <a:lnTo>
                    <a:pt x="37" y="69"/>
                  </a:lnTo>
                  <a:lnTo>
                    <a:pt x="42" y="57"/>
                  </a:lnTo>
                  <a:lnTo>
                    <a:pt x="46" y="45"/>
                  </a:lnTo>
                  <a:lnTo>
                    <a:pt x="49" y="39"/>
                  </a:lnTo>
                  <a:lnTo>
                    <a:pt x="49" y="33"/>
                  </a:lnTo>
                  <a:lnTo>
                    <a:pt x="49" y="26"/>
                  </a:lnTo>
                  <a:lnTo>
                    <a:pt x="48" y="22"/>
                  </a:lnTo>
                  <a:lnTo>
                    <a:pt x="44" y="18"/>
                  </a:lnTo>
                  <a:lnTo>
                    <a:pt x="40" y="15"/>
                  </a:lnTo>
                  <a:lnTo>
                    <a:pt x="34" y="13"/>
                  </a:lnTo>
                  <a:lnTo>
                    <a:pt x="27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11" name="Freeform 63"/>
            <p:cNvSpPr>
              <a:spLocks/>
            </p:cNvSpPr>
            <p:nvPr/>
          </p:nvSpPr>
          <p:spPr bwMode="auto">
            <a:xfrm>
              <a:off x="1226" y="2161"/>
              <a:ext cx="2" cy="4"/>
            </a:xfrm>
            <a:custGeom>
              <a:avLst/>
              <a:gdLst>
                <a:gd name="T0" fmla="*/ 0 w 6"/>
                <a:gd name="T1" fmla="*/ 12 h 12"/>
                <a:gd name="T2" fmla="*/ 6 w 6"/>
                <a:gd name="T3" fmla="*/ 0 h 12"/>
                <a:gd name="T4" fmla="*/ 4 w 6"/>
                <a:gd name="T5" fmla="*/ 0 h 12"/>
                <a:gd name="T6" fmla="*/ 2 w 6"/>
                <a:gd name="T7" fmla="*/ 2 h 12"/>
                <a:gd name="T8" fmla="*/ 1 w 6"/>
                <a:gd name="T9" fmla="*/ 4 h 12"/>
                <a:gd name="T10" fmla="*/ 0 w 6"/>
                <a:gd name="T11" fmla="*/ 6 h 12"/>
                <a:gd name="T12" fmla="*/ 0 w 6"/>
                <a:gd name="T13" fmla="*/ 10 h 12"/>
                <a:gd name="T14" fmla="*/ 0 w 6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12">
                  <a:moveTo>
                    <a:pt x="0" y="12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1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12" name="Freeform 64"/>
            <p:cNvSpPr>
              <a:spLocks/>
            </p:cNvSpPr>
            <p:nvPr/>
          </p:nvSpPr>
          <p:spPr bwMode="auto">
            <a:xfrm>
              <a:off x="1230" y="2154"/>
              <a:ext cx="13" cy="15"/>
            </a:xfrm>
            <a:custGeom>
              <a:avLst/>
              <a:gdLst>
                <a:gd name="T0" fmla="*/ 0 w 39"/>
                <a:gd name="T1" fmla="*/ 0 h 48"/>
                <a:gd name="T2" fmla="*/ 11 w 39"/>
                <a:gd name="T3" fmla="*/ 9 h 48"/>
                <a:gd name="T4" fmla="*/ 22 w 39"/>
                <a:gd name="T5" fmla="*/ 17 h 48"/>
                <a:gd name="T6" fmla="*/ 32 w 39"/>
                <a:gd name="T7" fmla="*/ 24 h 48"/>
                <a:gd name="T8" fmla="*/ 39 w 39"/>
                <a:gd name="T9" fmla="*/ 30 h 48"/>
                <a:gd name="T10" fmla="*/ 36 w 39"/>
                <a:gd name="T11" fmla="*/ 39 h 48"/>
                <a:gd name="T12" fmla="*/ 33 w 39"/>
                <a:gd name="T13" fmla="*/ 48 h 48"/>
                <a:gd name="T14" fmla="*/ 18 w 39"/>
                <a:gd name="T15" fmla="*/ 36 h 48"/>
                <a:gd name="T16" fmla="*/ 8 w 39"/>
                <a:gd name="T17" fmla="*/ 26 h 48"/>
                <a:gd name="T18" fmla="*/ 4 w 39"/>
                <a:gd name="T19" fmla="*/ 21 h 48"/>
                <a:gd name="T20" fmla="*/ 2 w 39"/>
                <a:gd name="T21" fmla="*/ 15 h 48"/>
                <a:gd name="T22" fmla="*/ 0 w 39"/>
                <a:gd name="T23" fmla="*/ 8 h 48"/>
                <a:gd name="T24" fmla="*/ 0 w 39"/>
                <a:gd name="T25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48">
                  <a:moveTo>
                    <a:pt x="0" y="0"/>
                  </a:moveTo>
                  <a:lnTo>
                    <a:pt x="11" y="9"/>
                  </a:lnTo>
                  <a:lnTo>
                    <a:pt x="22" y="17"/>
                  </a:lnTo>
                  <a:lnTo>
                    <a:pt x="32" y="24"/>
                  </a:lnTo>
                  <a:lnTo>
                    <a:pt x="39" y="30"/>
                  </a:lnTo>
                  <a:lnTo>
                    <a:pt x="36" y="39"/>
                  </a:lnTo>
                  <a:lnTo>
                    <a:pt x="33" y="48"/>
                  </a:lnTo>
                  <a:lnTo>
                    <a:pt x="18" y="36"/>
                  </a:lnTo>
                  <a:lnTo>
                    <a:pt x="8" y="26"/>
                  </a:lnTo>
                  <a:lnTo>
                    <a:pt x="4" y="21"/>
                  </a:lnTo>
                  <a:lnTo>
                    <a:pt x="2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13" name="Freeform 65"/>
            <p:cNvSpPr>
              <a:spLocks/>
            </p:cNvSpPr>
            <p:nvPr/>
          </p:nvSpPr>
          <p:spPr bwMode="auto">
            <a:xfrm>
              <a:off x="1247" y="2167"/>
              <a:ext cx="6" cy="14"/>
            </a:xfrm>
            <a:custGeom>
              <a:avLst/>
              <a:gdLst>
                <a:gd name="T0" fmla="*/ 7 w 16"/>
                <a:gd name="T1" fmla="*/ 0 h 43"/>
                <a:gd name="T2" fmla="*/ 11 w 16"/>
                <a:gd name="T3" fmla="*/ 9 h 43"/>
                <a:gd name="T4" fmla="*/ 15 w 16"/>
                <a:gd name="T5" fmla="*/ 16 h 43"/>
                <a:gd name="T6" fmla="*/ 16 w 16"/>
                <a:gd name="T7" fmla="*/ 22 h 43"/>
                <a:gd name="T8" fmla="*/ 16 w 16"/>
                <a:gd name="T9" fmla="*/ 27 h 43"/>
                <a:gd name="T10" fmla="*/ 15 w 16"/>
                <a:gd name="T11" fmla="*/ 31 h 43"/>
                <a:gd name="T12" fmla="*/ 11 w 16"/>
                <a:gd name="T13" fmla="*/ 35 h 43"/>
                <a:gd name="T14" fmla="*/ 7 w 16"/>
                <a:gd name="T15" fmla="*/ 39 h 43"/>
                <a:gd name="T16" fmla="*/ 0 w 16"/>
                <a:gd name="T17" fmla="*/ 43 h 43"/>
                <a:gd name="T18" fmla="*/ 2 w 16"/>
                <a:gd name="T19" fmla="*/ 28 h 43"/>
                <a:gd name="T20" fmla="*/ 4 w 16"/>
                <a:gd name="T21" fmla="*/ 18 h 43"/>
                <a:gd name="T22" fmla="*/ 6 w 16"/>
                <a:gd name="T23" fmla="*/ 9 h 43"/>
                <a:gd name="T24" fmla="*/ 7 w 16"/>
                <a:gd name="T25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" h="43">
                  <a:moveTo>
                    <a:pt x="7" y="0"/>
                  </a:moveTo>
                  <a:lnTo>
                    <a:pt x="11" y="9"/>
                  </a:lnTo>
                  <a:lnTo>
                    <a:pt x="15" y="16"/>
                  </a:lnTo>
                  <a:lnTo>
                    <a:pt x="16" y="22"/>
                  </a:lnTo>
                  <a:lnTo>
                    <a:pt x="16" y="27"/>
                  </a:lnTo>
                  <a:lnTo>
                    <a:pt x="15" y="31"/>
                  </a:lnTo>
                  <a:lnTo>
                    <a:pt x="11" y="35"/>
                  </a:lnTo>
                  <a:lnTo>
                    <a:pt x="7" y="39"/>
                  </a:lnTo>
                  <a:lnTo>
                    <a:pt x="0" y="43"/>
                  </a:lnTo>
                  <a:lnTo>
                    <a:pt x="2" y="28"/>
                  </a:lnTo>
                  <a:lnTo>
                    <a:pt x="4" y="18"/>
                  </a:lnTo>
                  <a:lnTo>
                    <a:pt x="6" y="9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14" name="Freeform 66"/>
            <p:cNvSpPr>
              <a:spLocks/>
            </p:cNvSpPr>
            <p:nvPr/>
          </p:nvSpPr>
          <p:spPr bwMode="auto">
            <a:xfrm>
              <a:off x="1248" y="2190"/>
              <a:ext cx="8" cy="12"/>
            </a:xfrm>
            <a:custGeom>
              <a:avLst/>
              <a:gdLst>
                <a:gd name="T0" fmla="*/ 24 w 24"/>
                <a:gd name="T1" fmla="*/ 36 h 37"/>
                <a:gd name="T2" fmla="*/ 19 w 24"/>
                <a:gd name="T3" fmla="*/ 27 h 37"/>
                <a:gd name="T4" fmla="*/ 15 w 24"/>
                <a:gd name="T5" fmla="*/ 18 h 37"/>
                <a:gd name="T6" fmla="*/ 12 w 24"/>
                <a:gd name="T7" fmla="*/ 9 h 37"/>
                <a:gd name="T8" fmla="*/ 11 w 24"/>
                <a:gd name="T9" fmla="*/ 0 h 37"/>
                <a:gd name="T10" fmla="*/ 6 w 24"/>
                <a:gd name="T11" fmla="*/ 10 h 37"/>
                <a:gd name="T12" fmla="*/ 3 w 24"/>
                <a:gd name="T13" fmla="*/ 19 h 37"/>
                <a:gd name="T14" fmla="*/ 1 w 24"/>
                <a:gd name="T15" fmla="*/ 26 h 37"/>
                <a:gd name="T16" fmla="*/ 0 w 24"/>
                <a:gd name="T17" fmla="*/ 31 h 37"/>
                <a:gd name="T18" fmla="*/ 1 w 24"/>
                <a:gd name="T19" fmla="*/ 33 h 37"/>
                <a:gd name="T20" fmla="*/ 2 w 24"/>
                <a:gd name="T21" fmla="*/ 35 h 37"/>
                <a:gd name="T22" fmla="*/ 4 w 24"/>
                <a:gd name="T23" fmla="*/ 36 h 37"/>
                <a:gd name="T24" fmla="*/ 6 w 24"/>
                <a:gd name="T25" fmla="*/ 37 h 37"/>
                <a:gd name="T26" fmla="*/ 14 w 24"/>
                <a:gd name="T27" fmla="*/ 37 h 37"/>
                <a:gd name="T28" fmla="*/ 24 w 24"/>
                <a:gd name="T29" fmla="*/ 3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" h="37">
                  <a:moveTo>
                    <a:pt x="24" y="36"/>
                  </a:moveTo>
                  <a:lnTo>
                    <a:pt x="19" y="27"/>
                  </a:lnTo>
                  <a:lnTo>
                    <a:pt x="15" y="18"/>
                  </a:lnTo>
                  <a:lnTo>
                    <a:pt x="12" y="9"/>
                  </a:lnTo>
                  <a:lnTo>
                    <a:pt x="11" y="0"/>
                  </a:lnTo>
                  <a:lnTo>
                    <a:pt x="6" y="10"/>
                  </a:lnTo>
                  <a:lnTo>
                    <a:pt x="3" y="19"/>
                  </a:lnTo>
                  <a:lnTo>
                    <a:pt x="1" y="26"/>
                  </a:lnTo>
                  <a:lnTo>
                    <a:pt x="0" y="31"/>
                  </a:lnTo>
                  <a:lnTo>
                    <a:pt x="1" y="33"/>
                  </a:lnTo>
                  <a:lnTo>
                    <a:pt x="2" y="35"/>
                  </a:lnTo>
                  <a:lnTo>
                    <a:pt x="4" y="36"/>
                  </a:lnTo>
                  <a:lnTo>
                    <a:pt x="6" y="37"/>
                  </a:lnTo>
                  <a:lnTo>
                    <a:pt x="14" y="37"/>
                  </a:lnTo>
                  <a:lnTo>
                    <a:pt x="24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15" name="Freeform 67"/>
            <p:cNvSpPr>
              <a:spLocks/>
            </p:cNvSpPr>
            <p:nvPr/>
          </p:nvSpPr>
          <p:spPr bwMode="auto">
            <a:xfrm>
              <a:off x="1265" y="2204"/>
              <a:ext cx="11" cy="17"/>
            </a:xfrm>
            <a:custGeom>
              <a:avLst/>
              <a:gdLst>
                <a:gd name="T0" fmla="*/ 34 w 34"/>
                <a:gd name="T1" fmla="*/ 0 h 55"/>
                <a:gd name="T2" fmla="*/ 34 w 34"/>
                <a:gd name="T3" fmla="*/ 13 h 55"/>
                <a:gd name="T4" fmla="*/ 34 w 34"/>
                <a:gd name="T5" fmla="*/ 25 h 55"/>
                <a:gd name="T6" fmla="*/ 33 w 34"/>
                <a:gd name="T7" fmla="*/ 32 h 55"/>
                <a:gd name="T8" fmla="*/ 31 w 34"/>
                <a:gd name="T9" fmla="*/ 38 h 55"/>
                <a:gd name="T10" fmla="*/ 29 w 34"/>
                <a:gd name="T11" fmla="*/ 43 h 55"/>
                <a:gd name="T12" fmla="*/ 24 w 34"/>
                <a:gd name="T13" fmla="*/ 47 h 55"/>
                <a:gd name="T14" fmla="*/ 20 w 34"/>
                <a:gd name="T15" fmla="*/ 51 h 55"/>
                <a:gd name="T16" fmla="*/ 14 w 34"/>
                <a:gd name="T17" fmla="*/ 53 h 55"/>
                <a:gd name="T18" fmla="*/ 8 w 34"/>
                <a:gd name="T19" fmla="*/ 55 h 55"/>
                <a:gd name="T20" fmla="*/ 0 w 34"/>
                <a:gd name="T21" fmla="*/ 55 h 55"/>
                <a:gd name="T22" fmla="*/ 9 w 34"/>
                <a:gd name="T23" fmla="*/ 36 h 55"/>
                <a:gd name="T24" fmla="*/ 14 w 34"/>
                <a:gd name="T25" fmla="*/ 21 h 55"/>
                <a:gd name="T26" fmla="*/ 18 w 34"/>
                <a:gd name="T27" fmla="*/ 16 h 55"/>
                <a:gd name="T28" fmla="*/ 22 w 34"/>
                <a:gd name="T29" fmla="*/ 10 h 55"/>
                <a:gd name="T30" fmla="*/ 28 w 34"/>
                <a:gd name="T31" fmla="*/ 5 h 55"/>
                <a:gd name="T32" fmla="*/ 34 w 34"/>
                <a:gd name="T3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" h="55">
                  <a:moveTo>
                    <a:pt x="34" y="0"/>
                  </a:moveTo>
                  <a:lnTo>
                    <a:pt x="34" y="13"/>
                  </a:lnTo>
                  <a:lnTo>
                    <a:pt x="34" y="25"/>
                  </a:lnTo>
                  <a:lnTo>
                    <a:pt x="33" y="32"/>
                  </a:lnTo>
                  <a:lnTo>
                    <a:pt x="31" y="38"/>
                  </a:lnTo>
                  <a:lnTo>
                    <a:pt x="29" y="43"/>
                  </a:lnTo>
                  <a:lnTo>
                    <a:pt x="24" y="47"/>
                  </a:lnTo>
                  <a:lnTo>
                    <a:pt x="20" y="51"/>
                  </a:lnTo>
                  <a:lnTo>
                    <a:pt x="14" y="53"/>
                  </a:lnTo>
                  <a:lnTo>
                    <a:pt x="8" y="55"/>
                  </a:lnTo>
                  <a:lnTo>
                    <a:pt x="0" y="55"/>
                  </a:lnTo>
                  <a:lnTo>
                    <a:pt x="9" y="36"/>
                  </a:lnTo>
                  <a:lnTo>
                    <a:pt x="14" y="21"/>
                  </a:lnTo>
                  <a:lnTo>
                    <a:pt x="18" y="16"/>
                  </a:lnTo>
                  <a:lnTo>
                    <a:pt x="22" y="10"/>
                  </a:lnTo>
                  <a:lnTo>
                    <a:pt x="28" y="5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16" name="Freeform 68"/>
            <p:cNvSpPr>
              <a:spLocks/>
            </p:cNvSpPr>
            <p:nvPr/>
          </p:nvSpPr>
          <p:spPr bwMode="auto">
            <a:xfrm>
              <a:off x="1285" y="2215"/>
              <a:ext cx="11" cy="4"/>
            </a:xfrm>
            <a:custGeom>
              <a:avLst/>
              <a:gdLst>
                <a:gd name="T0" fmla="*/ 0 w 33"/>
                <a:gd name="T1" fmla="*/ 0 h 12"/>
                <a:gd name="T2" fmla="*/ 2 w 33"/>
                <a:gd name="T3" fmla="*/ 4 h 12"/>
                <a:gd name="T4" fmla="*/ 6 w 33"/>
                <a:gd name="T5" fmla="*/ 7 h 12"/>
                <a:gd name="T6" fmla="*/ 10 w 33"/>
                <a:gd name="T7" fmla="*/ 9 h 12"/>
                <a:gd name="T8" fmla="*/ 14 w 33"/>
                <a:gd name="T9" fmla="*/ 11 h 12"/>
                <a:gd name="T10" fmla="*/ 23 w 33"/>
                <a:gd name="T11" fmla="*/ 12 h 12"/>
                <a:gd name="T12" fmla="*/ 33 w 33"/>
                <a:gd name="T13" fmla="*/ 12 h 12"/>
                <a:gd name="T14" fmla="*/ 28 w 33"/>
                <a:gd name="T15" fmla="*/ 8 h 12"/>
                <a:gd name="T16" fmla="*/ 19 w 33"/>
                <a:gd name="T17" fmla="*/ 4 h 12"/>
                <a:gd name="T18" fmla="*/ 10 w 33"/>
                <a:gd name="T19" fmla="*/ 1 h 12"/>
                <a:gd name="T20" fmla="*/ 0 w 33"/>
                <a:gd name="T2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12">
                  <a:moveTo>
                    <a:pt x="0" y="0"/>
                  </a:moveTo>
                  <a:lnTo>
                    <a:pt x="2" y="4"/>
                  </a:lnTo>
                  <a:lnTo>
                    <a:pt x="6" y="7"/>
                  </a:lnTo>
                  <a:lnTo>
                    <a:pt x="10" y="9"/>
                  </a:lnTo>
                  <a:lnTo>
                    <a:pt x="14" y="11"/>
                  </a:lnTo>
                  <a:lnTo>
                    <a:pt x="23" y="12"/>
                  </a:lnTo>
                  <a:lnTo>
                    <a:pt x="33" y="12"/>
                  </a:lnTo>
                  <a:lnTo>
                    <a:pt x="28" y="8"/>
                  </a:lnTo>
                  <a:lnTo>
                    <a:pt x="19" y="4"/>
                  </a:lnTo>
                  <a:lnTo>
                    <a:pt x="10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2117" name="Freeform 69"/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9429750" y="4244975"/>
            <a:ext cx="12700" cy="57150"/>
          </a:xfrm>
          <a:custGeom>
            <a:avLst/>
            <a:gdLst>
              <a:gd name="T0" fmla="*/ 0 w 33"/>
              <a:gd name="T1" fmla="*/ 62 h 62"/>
              <a:gd name="T2" fmla="*/ 0 w 33"/>
              <a:gd name="T3" fmla="*/ 53 h 62"/>
              <a:gd name="T4" fmla="*/ 0 w 33"/>
              <a:gd name="T5" fmla="*/ 45 h 62"/>
              <a:gd name="T6" fmla="*/ 0 w 33"/>
              <a:gd name="T7" fmla="*/ 37 h 62"/>
              <a:gd name="T8" fmla="*/ 0 w 33"/>
              <a:gd name="T9" fmla="*/ 31 h 62"/>
              <a:gd name="T10" fmla="*/ 0 w 33"/>
              <a:gd name="T11" fmla="*/ 26 h 62"/>
              <a:gd name="T12" fmla="*/ 2 w 33"/>
              <a:gd name="T13" fmla="*/ 22 h 62"/>
              <a:gd name="T14" fmla="*/ 4 w 33"/>
              <a:gd name="T15" fmla="*/ 17 h 62"/>
              <a:gd name="T16" fmla="*/ 8 w 33"/>
              <a:gd name="T17" fmla="*/ 13 h 62"/>
              <a:gd name="T18" fmla="*/ 14 w 33"/>
              <a:gd name="T19" fmla="*/ 6 h 62"/>
              <a:gd name="T20" fmla="*/ 20 w 33"/>
              <a:gd name="T21" fmla="*/ 0 h 62"/>
              <a:gd name="T22" fmla="*/ 26 w 33"/>
              <a:gd name="T23" fmla="*/ 6 h 62"/>
              <a:gd name="T24" fmla="*/ 33 w 33"/>
              <a:gd name="T25" fmla="*/ 13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3" h="62">
                <a:moveTo>
                  <a:pt x="0" y="62"/>
                </a:moveTo>
                <a:lnTo>
                  <a:pt x="0" y="53"/>
                </a:lnTo>
                <a:lnTo>
                  <a:pt x="0" y="45"/>
                </a:lnTo>
                <a:lnTo>
                  <a:pt x="0" y="37"/>
                </a:lnTo>
                <a:lnTo>
                  <a:pt x="0" y="31"/>
                </a:lnTo>
                <a:lnTo>
                  <a:pt x="0" y="26"/>
                </a:lnTo>
                <a:lnTo>
                  <a:pt x="2" y="22"/>
                </a:lnTo>
                <a:lnTo>
                  <a:pt x="4" y="17"/>
                </a:lnTo>
                <a:lnTo>
                  <a:pt x="8" y="13"/>
                </a:lnTo>
                <a:lnTo>
                  <a:pt x="14" y="6"/>
                </a:lnTo>
                <a:lnTo>
                  <a:pt x="20" y="0"/>
                </a:lnTo>
                <a:lnTo>
                  <a:pt x="26" y="6"/>
                </a:lnTo>
                <a:lnTo>
                  <a:pt x="33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118" name="Freeform 70"/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9439276" y="4335464"/>
            <a:ext cx="9525" cy="58737"/>
          </a:xfrm>
          <a:custGeom>
            <a:avLst/>
            <a:gdLst>
              <a:gd name="T0" fmla="*/ 0 w 26"/>
              <a:gd name="T1" fmla="*/ 18 h 18"/>
              <a:gd name="T2" fmla="*/ 0 w 26"/>
              <a:gd name="T3" fmla="*/ 0 h 18"/>
              <a:gd name="T4" fmla="*/ 26 w 26"/>
              <a:gd name="T5" fmla="*/ 0 h 18"/>
              <a:gd name="T6" fmla="*/ 6 w 26"/>
              <a:gd name="T7" fmla="*/ 12 h 18"/>
              <a:gd name="T8" fmla="*/ 6 w 26"/>
              <a:gd name="T9" fmla="*/ 6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6" h="18">
                <a:moveTo>
                  <a:pt x="0" y="18"/>
                </a:moveTo>
                <a:lnTo>
                  <a:pt x="0" y="0"/>
                </a:lnTo>
                <a:lnTo>
                  <a:pt x="26" y="0"/>
                </a:lnTo>
                <a:lnTo>
                  <a:pt x="6" y="12"/>
                </a:lnTo>
                <a:lnTo>
                  <a:pt x="6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119" name="Freeform 71"/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9553575" y="4244976"/>
            <a:ext cx="77788" cy="130175"/>
          </a:xfrm>
          <a:custGeom>
            <a:avLst/>
            <a:gdLst>
              <a:gd name="T0" fmla="*/ 180 w 180"/>
              <a:gd name="T1" fmla="*/ 222 h 240"/>
              <a:gd name="T2" fmla="*/ 175 w 180"/>
              <a:gd name="T3" fmla="*/ 223 h 240"/>
              <a:gd name="T4" fmla="*/ 171 w 180"/>
              <a:gd name="T5" fmla="*/ 223 h 240"/>
              <a:gd name="T6" fmla="*/ 167 w 180"/>
              <a:gd name="T7" fmla="*/ 225 h 240"/>
              <a:gd name="T8" fmla="*/ 164 w 180"/>
              <a:gd name="T9" fmla="*/ 227 h 240"/>
              <a:gd name="T10" fmla="*/ 158 w 180"/>
              <a:gd name="T11" fmla="*/ 232 h 240"/>
              <a:gd name="T12" fmla="*/ 153 w 180"/>
              <a:gd name="T13" fmla="*/ 240 h 240"/>
              <a:gd name="T14" fmla="*/ 140 w 180"/>
              <a:gd name="T15" fmla="*/ 232 h 240"/>
              <a:gd name="T16" fmla="*/ 131 w 180"/>
              <a:gd name="T17" fmla="*/ 223 h 240"/>
              <a:gd name="T18" fmla="*/ 123 w 180"/>
              <a:gd name="T19" fmla="*/ 214 h 240"/>
              <a:gd name="T20" fmla="*/ 118 w 180"/>
              <a:gd name="T21" fmla="*/ 206 h 240"/>
              <a:gd name="T22" fmla="*/ 112 w 180"/>
              <a:gd name="T23" fmla="*/ 195 h 240"/>
              <a:gd name="T24" fmla="*/ 106 w 180"/>
              <a:gd name="T25" fmla="*/ 185 h 240"/>
              <a:gd name="T26" fmla="*/ 98 w 180"/>
              <a:gd name="T27" fmla="*/ 174 h 240"/>
              <a:gd name="T28" fmla="*/ 87 w 180"/>
              <a:gd name="T29" fmla="*/ 161 h 240"/>
              <a:gd name="T30" fmla="*/ 82 w 180"/>
              <a:gd name="T31" fmla="*/ 153 h 240"/>
              <a:gd name="T32" fmla="*/ 75 w 180"/>
              <a:gd name="T33" fmla="*/ 146 h 240"/>
              <a:gd name="T34" fmla="*/ 70 w 180"/>
              <a:gd name="T35" fmla="*/ 139 h 240"/>
              <a:gd name="T36" fmla="*/ 62 w 180"/>
              <a:gd name="T37" fmla="*/ 133 h 240"/>
              <a:gd name="T38" fmla="*/ 48 w 180"/>
              <a:gd name="T39" fmla="*/ 121 h 240"/>
              <a:gd name="T40" fmla="*/ 33 w 180"/>
              <a:gd name="T41" fmla="*/ 110 h 240"/>
              <a:gd name="T42" fmla="*/ 27 w 180"/>
              <a:gd name="T43" fmla="*/ 104 h 240"/>
              <a:gd name="T44" fmla="*/ 21 w 180"/>
              <a:gd name="T45" fmla="*/ 98 h 240"/>
              <a:gd name="T46" fmla="*/ 15 w 180"/>
              <a:gd name="T47" fmla="*/ 92 h 240"/>
              <a:gd name="T48" fmla="*/ 10 w 180"/>
              <a:gd name="T49" fmla="*/ 84 h 240"/>
              <a:gd name="T50" fmla="*/ 6 w 180"/>
              <a:gd name="T51" fmla="*/ 77 h 240"/>
              <a:gd name="T52" fmla="*/ 4 w 180"/>
              <a:gd name="T53" fmla="*/ 68 h 240"/>
              <a:gd name="T54" fmla="*/ 1 w 180"/>
              <a:gd name="T55" fmla="*/ 60 h 240"/>
              <a:gd name="T56" fmla="*/ 0 w 180"/>
              <a:gd name="T57" fmla="*/ 50 h 240"/>
              <a:gd name="T58" fmla="*/ 0 w 180"/>
              <a:gd name="T59" fmla="*/ 35 h 240"/>
              <a:gd name="T60" fmla="*/ 0 w 180"/>
              <a:gd name="T61" fmla="*/ 25 h 240"/>
              <a:gd name="T62" fmla="*/ 0 w 180"/>
              <a:gd name="T63" fmla="*/ 15 h 240"/>
              <a:gd name="T64" fmla="*/ 0 w 180"/>
              <a:gd name="T65" fmla="*/ 0 h 240"/>
              <a:gd name="T66" fmla="*/ 10 w 180"/>
              <a:gd name="T67" fmla="*/ 8 h 240"/>
              <a:gd name="T68" fmla="*/ 19 w 180"/>
              <a:gd name="T69" fmla="*/ 17 h 240"/>
              <a:gd name="T70" fmla="*/ 27 w 180"/>
              <a:gd name="T71" fmla="*/ 27 h 240"/>
              <a:gd name="T72" fmla="*/ 34 w 180"/>
              <a:gd name="T73" fmla="*/ 38 h 240"/>
              <a:gd name="T74" fmla="*/ 41 w 180"/>
              <a:gd name="T75" fmla="*/ 48 h 240"/>
              <a:gd name="T76" fmla="*/ 46 w 180"/>
              <a:gd name="T77" fmla="*/ 58 h 240"/>
              <a:gd name="T78" fmla="*/ 51 w 180"/>
              <a:gd name="T79" fmla="*/ 66 h 240"/>
              <a:gd name="T80" fmla="*/ 54 w 180"/>
              <a:gd name="T81" fmla="*/ 74 h 240"/>
              <a:gd name="T82" fmla="*/ 60 w 180"/>
              <a:gd name="T83" fmla="*/ 86 h 240"/>
              <a:gd name="T84" fmla="*/ 66 w 180"/>
              <a:gd name="T85" fmla="*/ 98 h 240"/>
              <a:gd name="T86" fmla="*/ 74 w 180"/>
              <a:gd name="T87" fmla="*/ 107 h 240"/>
              <a:gd name="T88" fmla="*/ 82 w 180"/>
              <a:gd name="T89" fmla="*/ 116 h 240"/>
              <a:gd name="T90" fmla="*/ 100 w 180"/>
              <a:gd name="T91" fmla="*/ 133 h 240"/>
              <a:gd name="T92" fmla="*/ 119 w 180"/>
              <a:gd name="T93" fmla="*/ 149 h 240"/>
              <a:gd name="T94" fmla="*/ 139 w 180"/>
              <a:gd name="T95" fmla="*/ 164 h 240"/>
              <a:gd name="T96" fmla="*/ 155 w 180"/>
              <a:gd name="T97" fmla="*/ 180 h 240"/>
              <a:gd name="T98" fmla="*/ 163 w 180"/>
              <a:gd name="T99" fmla="*/ 189 h 240"/>
              <a:gd name="T100" fmla="*/ 169 w 180"/>
              <a:gd name="T101" fmla="*/ 199 h 240"/>
              <a:gd name="T102" fmla="*/ 175 w 180"/>
              <a:gd name="T103" fmla="*/ 210 h 240"/>
              <a:gd name="T104" fmla="*/ 180 w 180"/>
              <a:gd name="T105" fmla="*/ 222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80" h="240">
                <a:moveTo>
                  <a:pt x="180" y="222"/>
                </a:moveTo>
                <a:lnTo>
                  <a:pt x="175" y="223"/>
                </a:lnTo>
                <a:lnTo>
                  <a:pt x="171" y="223"/>
                </a:lnTo>
                <a:lnTo>
                  <a:pt x="167" y="225"/>
                </a:lnTo>
                <a:lnTo>
                  <a:pt x="164" y="227"/>
                </a:lnTo>
                <a:lnTo>
                  <a:pt x="158" y="232"/>
                </a:lnTo>
                <a:lnTo>
                  <a:pt x="153" y="240"/>
                </a:lnTo>
                <a:lnTo>
                  <a:pt x="140" y="232"/>
                </a:lnTo>
                <a:lnTo>
                  <a:pt x="131" y="223"/>
                </a:lnTo>
                <a:lnTo>
                  <a:pt x="123" y="214"/>
                </a:lnTo>
                <a:lnTo>
                  <a:pt x="118" y="206"/>
                </a:lnTo>
                <a:lnTo>
                  <a:pt x="112" y="195"/>
                </a:lnTo>
                <a:lnTo>
                  <a:pt x="106" y="185"/>
                </a:lnTo>
                <a:lnTo>
                  <a:pt x="98" y="174"/>
                </a:lnTo>
                <a:lnTo>
                  <a:pt x="87" y="161"/>
                </a:lnTo>
                <a:lnTo>
                  <a:pt x="82" y="153"/>
                </a:lnTo>
                <a:lnTo>
                  <a:pt x="75" y="146"/>
                </a:lnTo>
                <a:lnTo>
                  <a:pt x="70" y="139"/>
                </a:lnTo>
                <a:lnTo>
                  <a:pt x="62" y="133"/>
                </a:lnTo>
                <a:lnTo>
                  <a:pt x="48" y="121"/>
                </a:lnTo>
                <a:lnTo>
                  <a:pt x="33" y="110"/>
                </a:lnTo>
                <a:lnTo>
                  <a:pt x="27" y="104"/>
                </a:lnTo>
                <a:lnTo>
                  <a:pt x="21" y="98"/>
                </a:lnTo>
                <a:lnTo>
                  <a:pt x="15" y="92"/>
                </a:lnTo>
                <a:lnTo>
                  <a:pt x="10" y="84"/>
                </a:lnTo>
                <a:lnTo>
                  <a:pt x="6" y="77"/>
                </a:lnTo>
                <a:lnTo>
                  <a:pt x="4" y="68"/>
                </a:lnTo>
                <a:lnTo>
                  <a:pt x="1" y="60"/>
                </a:lnTo>
                <a:lnTo>
                  <a:pt x="0" y="50"/>
                </a:lnTo>
                <a:lnTo>
                  <a:pt x="0" y="35"/>
                </a:lnTo>
                <a:lnTo>
                  <a:pt x="0" y="25"/>
                </a:lnTo>
                <a:lnTo>
                  <a:pt x="0" y="15"/>
                </a:lnTo>
                <a:lnTo>
                  <a:pt x="0" y="0"/>
                </a:lnTo>
                <a:lnTo>
                  <a:pt x="10" y="8"/>
                </a:lnTo>
                <a:lnTo>
                  <a:pt x="19" y="17"/>
                </a:lnTo>
                <a:lnTo>
                  <a:pt x="27" y="27"/>
                </a:lnTo>
                <a:lnTo>
                  <a:pt x="34" y="38"/>
                </a:lnTo>
                <a:lnTo>
                  <a:pt x="41" y="48"/>
                </a:lnTo>
                <a:lnTo>
                  <a:pt x="46" y="58"/>
                </a:lnTo>
                <a:lnTo>
                  <a:pt x="51" y="66"/>
                </a:lnTo>
                <a:lnTo>
                  <a:pt x="54" y="74"/>
                </a:lnTo>
                <a:lnTo>
                  <a:pt x="60" y="86"/>
                </a:lnTo>
                <a:lnTo>
                  <a:pt x="66" y="98"/>
                </a:lnTo>
                <a:lnTo>
                  <a:pt x="74" y="107"/>
                </a:lnTo>
                <a:lnTo>
                  <a:pt x="82" y="116"/>
                </a:lnTo>
                <a:lnTo>
                  <a:pt x="100" y="133"/>
                </a:lnTo>
                <a:lnTo>
                  <a:pt x="119" y="149"/>
                </a:lnTo>
                <a:lnTo>
                  <a:pt x="139" y="164"/>
                </a:lnTo>
                <a:lnTo>
                  <a:pt x="155" y="180"/>
                </a:lnTo>
                <a:lnTo>
                  <a:pt x="163" y="189"/>
                </a:lnTo>
                <a:lnTo>
                  <a:pt x="169" y="199"/>
                </a:lnTo>
                <a:lnTo>
                  <a:pt x="175" y="210"/>
                </a:lnTo>
                <a:lnTo>
                  <a:pt x="180" y="22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120" name="Freeform 72"/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9553575" y="4217988"/>
            <a:ext cx="14288" cy="57150"/>
          </a:xfrm>
          <a:custGeom>
            <a:avLst/>
            <a:gdLst>
              <a:gd name="T0" fmla="*/ 0 w 27"/>
              <a:gd name="T1" fmla="*/ 0 h 30"/>
              <a:gd name="T2" fmla="*/ 1 w 27"/>
              <a:gd name="T3" fmla="*/ 5 h 30"/>
              <a:gd name="T4" fmla="*/ 3 w 27"/>
              <a:gd name="T5" fmla="*/ 11 h 30"/>
              <a:gd name="T6" fmla="*/ 4 w 27"/>
              <a:gd name="T7" fmla="*/ 14 h 30"/>
              <a:gd name="T8" fmla="*/ 4 w 27"/>
              <a:gd name="T9" fmla="*/ 19 h 30"/>
              <a:gd name="T10" fmla="*/ 3 w 27"/>
              <a:gd name="T11" fmla="*/ 24 h 30"/>
              <a:gd name="T12" fmla="*/ 0 w 27"/>
              <a:gd name="T13" fmla="*/ 30 h 30"/>
              <a:gd name="T14" fmla="*/ 17 w 27"/>
              <a:gd name="T15" fmla="*/ 27 h 30"/>
              <a:gd name="T16" fmla="*/ 27 w 27"/>
              <a:gd name="T17" fmla="*/ 24 h 30"/>
              <a:gd name="T18" fmla="*/ 23 w 27"/>
              <a:gd name="T19" fmla="*/ 20 h 30"/>
              <a:gd name="T20" fmla="*/ 17 w 27"/>
              <a:gd name="T21" fmla="*/ 12 h 30"/>
              <a:gd name="T22" fmla="*/ 11 w 27"/>
              <a:gd name="T23" fmla="*/ 8 h 30"/>
              <a:gd name="T24" fmla="*/ 7 w 27"/>
              <a:gd name="T25" fmla="*/ 4 h 30"/>
              <a:gd name="T26" fmla="*/ 4 w 27"/>
              <a:gd name="T27" fmla="*/ 1 h 30"/>
              <a:gd name="T28" fmla="*/ 0 w 27"/>
              <a:gd name="T29" fmla="*/ 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7" h="30">
                <a:moveTo>
                  <a:pt x="0" y="0"/>
                </a:moveTo>
                <a:lnTo>
                  <a:pt x="1" y="5"/>
                </a:lnTo>
                <a:lnTo>
                  <a:pt x="3" y="11"/>
                </a:lnTo>
                <a:lnTo>
                  <a:pt x="4" y="14"/>
                </a:lnTo>
                <a:lnTo>
                  <a:pt x="4" y="19"/>
                </a:lnTo>
                <a:lnTo>
                  <a:pt x="3" y="24"/>
                </a:lnTo>
                <a:lnTo>
                  <a:pt x="0" y="30"/>
                </a:lnTo>
                <a:lnTo>
                  <a:pt x="17" y="27"/>
                </a:lnTo>
                <a:lnTo>
                  <a:pt x="27" y="24"/>
                </a:lnTo>
                <a:lnTo>
                  <a:pt x="23" y="20"/>
                </a:lnTo>
                <a:lnTo>
                  <a:pt x="17" y="12"/>
                </a:lnTo>
                <a:lnTo>
                  <a:pt x="11" y="8"/>
                </a:lnTo>
                <a:lnTo>
                  <a:pt x="7" y="4"/>
                </a:lnTo>
                <a:lnTo>
                  <a:pt x="4" y="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grpSp>
        <p:nvGrpSpPr>
          <p:cNvPr id="2121" name="Group 73"/>
          <p:cNvGrpSpPr>
            <a:grpSpLocks/>
          </p:cNvGrpSpPr>
          <p:nvPr>
            <p:custDataLst>
              <p:tags r:id="rId56"/>
            </p:custDataLst>
          </p:nvPr>
        </p:nvGrpSpPr>
        <p:grpSpPr bwMode="auto">
          <a:xfrm>
            <a:off x="9244014" y="4738688"/>
            <a:ext cx="458787" cy="404812"/>
            <a:chOff x="5372" y="3323"/>
            <a:chExt cx="341" cy="253"/>
          </a:xfrm>
        </p:grpSpPr>
        <p:sp>
          <p:nvSpPr>
            <p:cNvPr id="2122" name="Freeform 74"/>
            <p:cNvSpPr>
              <a:spLocks/>
            </p:cNvSpPr>
            <p:nvPr/>
          </p:nvSpPr>
          <p:spPr bwMode="auto">
            <a:xfrm>
              <a:off x="5372" y="3565"/>
              <a:ext cx="16" cy="11"/>
            </a:xfrm>
            <a:custGeom>
              <a:avLst/>
              <a:gdLst>
                <a:gd name="T0" fmla="*/ 0 w 53"/>
                <a:gd name="T1" fmla="*/ 31 h 33"/>
                <a:gd name="T2" fmla="*/ 4 w 53"/>
                <a:gd name="T3" fmla="*/ 26 h 33"/>
                <a:gd name="T4" fmla="*/ 8 w 53"/>
                <a:gd name="T5" fmla="*/ 21 h 33"/>
                <a:gd name="T6" fmla="*/ 15 w 53"/>
                <a:gd name="T7" fmla="*/ 16 h 33"/>
                <a:gd name="T8" fmla="*/ 21 w 53"/>
                <a:gd name="T9" fmla="*/ 11 h 33"/>
                <a:gd name="T10" fmla="*/ 29 w 53"/>
                <a:gd name="T11" fmla="*/ 7 h 33"/>
                <a:gd name="T12" fmla="*/ 38 w 53"/>
                <a:gd name="T13" fmla="*/ 3 h 33"/>
                <a:gd name="T14" fmla="*/ 45 w 53"/>
                <a:gd name="T15" fmla="*/ 1 h 33"/>
                <a:gd name="T16" fmla="*/ 53 w 53"/>
                <a:gd name="T17" fmla="*/ 0 h 33"/>
                <a:gd name="T18" fmla="*/ 53 w 53"/>
                <a:gd name="T19" fmla="*/ 18 h 33"/>
                <a:gd name="T20" fmla="*/ 38 w 53"/>
                <a:gd name="T21" fmla="*/ 24 h 33"/>
                <a:gd name="T22" fmla="*/ 27 w 53"/>
                <a:gd name="T23" fmla="*/ 30 h 33"/>
                <a:gd name="T24" fmla="*/ 21 w 53"/>
                <a:gd name="T25" fmla="*/ 32 h 33"/>
                <a:gd name="T26" fmla="*/ 16 w 53"/>
                <a:gd name="T27" fmla="*/ 33 h 33"/>
                <a:gd name="T28" fmla="*/ 9 w 53"/>
                <a:gd name="T29" fmla="*/ 33 h 33"/>
                <a:gd name="T30" fmla="*/ 0 w 53"/>
                <a:gd name="T31" fmla="*/ 3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3" h="33">
                  <a:moveTo>
                    <a:pt x="0" y="31"/>
                  </a:moveTo>
                  <a:lnTo>
                    <a:pt x="4" y="26"/>
                  </a:lnTo>
                  <a:lnTo>
                    <a:pt x="8" y="21"/>
                  </a:lnTo>
                  <a:lnTo>
                    <a:pt x="15" y="16"/>
                  </a:lnTo>
                  <a:lnTo>
                    <a:pt x="21" y="11"/>
                  </a:lnTo>
                  <a:lnTo>
                    <a:pt x="29" y="7"/>
                  </a:lnTo>
                  <a:lnTo>
                    <a:pt x="38" y="3"/>
                  </a:lnTo>
                  <a:lnTo>
                    <a:pt x="45" y="1"/>
                  </a:lnTo>
                  <a:lnTo>
                    <a:pt x="53" y="0"/>
                  </a:lnTo>
                  <a:lnTo>
                    <a:pt x="53" y="18"/>
                  </a:lnTo>
                  <a:lnTo>
                    <a:pt x="38" y="24"/>
                  </a:lnTo>
                  <a:lnTo>
                    <a:pt x="27" y="30"/>
                  </a:lnTo>
                  <a:lnTo>
                    <a:pt x="21" y="32"/>
                  </a:lnTo>
                  <a:lnTo>
                    <a:pt x="16" y="33"/>
                  </a:lnTo>
                  <a:lnTo>
                    <a:pt x="9" y="3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23" name="Freeform 75"/>
            <p:cNvSpPr>
              <a:spLocks/>
            </p:cNvSpPr>
            <p:nvPr/>
          </p:nvSpPr>
          <p:spPr bwMode="auto">
            <a:xfrm>
              <a:off x="5379" y="3446"/>
              <a:ext cx="202" cy="117"/>
            </a:xfrm>
            <a:custGeom>
              <a:avLst/>
              <a:gdLst>
                <a:gd name="T0" fmla="*/ 24 w 631"/>
                <a:gd name="T1" fmla="*/ 296 h 358"/>
                <a:gd name="T2" fmla="*/ 50 w 631"/>
                <a:gd name="T3" fmla="*/ 290 h 358"/>
                <a:gd name="T4" fmla="*/ 65 w 631"/>
                <a:gd name="T5" fmla="*/ 277 h 358"/>
                <a:gd name="T6" fmla="*/ 79 w 631"/>
                <a:gd name="T7" fmla="*/ 253 h 358"/>
                <a:gd name="T8" fmla="*/ 100 w 631"/>
                <a:gd name="T9" fmla="*/ 256 h 358"/>
                <a:gd name="T10" fmla="*/ 126 w 631"/>
                <a:gd name="T11" fmla="*/ 253 h 358"/>
                <a:gd name="T12" fmla="*/ 141 w 631"/>
                <a:gd name="T13" fmla="*/ 247 h 358"/>
                <a:gd name="T14" fmla="*/ 162 w 631"/>
                <a:gd name="T15" fmla="*/ 229 h 358"/>
                <a:gd name="T16" fmla="*/ 180 w 631"/>
                <a:gd name="T17" fmla="*/ 208 h 358"/>
                <a:gd name="T18" fmla="*/ 211 w 631"/>
                <a:gd name="T19" fmla="*/ 192 h 358"/>
                <a:gd name="T20" fmla="*/ 260 w 631"/>
                <a:gd name="T21" fmla="*/ 175 h 358"/>
                <a:gd name="T22" fmla="*/ 329 w 631"/>
                <a:gd name="T23" fmla="*/ 152 h 358"/>
                <a:gd name="T24" fmla="*/ 361 w 631"/>
                <a:gd name="T25" fmla="*/ 137 h 358"/>
                <a:gd name="T26" fmla="*/ 392 w 631"/>
                <a:gd name="T27" fmla="*/ 130 h 358"/>
                <a:gd name="T28" fmla="*/ 406 w 631"/>
                <a:gd name="T29" fmla="*/ 127 h 358"/>
                <a:gd name="T30" fmla="*/ 440 w 631"/>
                <a:gd name="T31" fmla="*/ 107 h 358"/>
                <a:gd name="T32" fmla="*/ 469 w 631"/>
                <a:gd name="T33" fmla="*/ 80 h 358"/>
                <a:gd name="T34" fmla="*/ 478 w 631"/>
                <a:gd name="T35" fmla="*/ 63 h 358"/>
                <a:gd name="T36" fmla="*/ 504 w 631"/>
                <a:gd name="T37" fmla="*/ 58 h 358"/>
                <a:gd name="T38" fmla="*/ 537 w 631"/>
                <a:gd name="T39" fmla="*/ 36 h 358"/>
                <a:gd name="T40" fmla="*/ 568 w 631"/>
                <a:gd name="T41" fmla="*/ 11 h 358"/>
                <a:gd name="T42" fmla="*/ 591 w 631"/>
                <a:gd name="T43" fmla="*/ 0 h 358"/>
                <a:gd name="T44" fmla="*/ 602 w 631"/>
                <a:gd name="T45" fmla="*/ 22 h 358"/>
                <a:gd name="T46" fmla="*/ 617 w 631"/>
                <a:gd name="T47" fmla="*/ 30 h 358"/>
                <a:gd name="T48" fmla="*/ 625 w 631"/>
                <a:gd name="T49" fmla="*/ 46 h 358"/>
                <a:gd name="T50" fmla="*/ 601 w 631"/>
                <a:gd name="T51" fmla="*/ 88 h 358"/>
                <a:gd name="T52" fmla="*/ 568 w 631"/>
                <a:gd name="T53" fmla="*/ 125 h 358"/>
                <a:gd name="T54" fmla="*/ 529 w 631"/>
                <a:gd name="T55" fmla="*/ 154 h 358"/>
                <a:gd name="T56" fmla="*/ 487 w 631"/>
                <a:gd name="T57" fmla="*/ 173 h 358"/>
                <a:gd name="T58" fmla="*/ 445 w 631"/>
                <a:gd name="T59" fmla="*/ 180 h 358"/>
                <a:gd name="T60" fmla="*/ 438 w 631"/>
                <a:gd name="T61" fmla="*/ 197 h 358"/>
                <a:gd name="T62" fmla="*/ 433 w 631"/>
                <a:gd name="T63" fmla="*/ 200 h 358"/>
                <a:gd name="T64" fmla="*/ 395 w 631"/>
                <a:gd name="T65" fmla="*/ 199 h 358"/>
                <a:gd name="T66" fmla="*/ 367 w 631"/>
                <a:gd name="T67" fmla="*/ 210 h 358"/>
                <a:gd name="T68" fmla="*/ 347 w 631"/>
                <a:gd name="T69" fmla="*/ 212 h 358"/>
                <a:gd name="T70" fmla="*/ 338 w 631"/>
                <a:gd name="T71" fmla="*/ 204 h 358"/>
                <a:gd name="T72" fmla="*/ 313 w 631"/>
                <a:gd name="T73" fmla="*/ 241 h 358"/>
                <a:gd name="T74" fmla="*/ 272 w 631"/>
                <a:gd name="T75" fmla="*/ 280 h 358"/>
                <a:gd name="T76" fmla="*/ 220 w 631"/>
                <a:gd name="T77" fmla="*/ 315 h 358"/>
                <a:gd name="T78" fmla="*/ 164 w 631"/>
                <a:gd name="T79" fmla="*/ 343 h 358"/>
                <a:gd name="T80" fmla="*/ 110 w 631"/>
                <a:gd name="T81" fmla="*/ 357 h 358"/>
                <a:gd name="T82" fmla="*/ 71 w 631"/>
                <a:gd name="T83" fmla="*/ 356 h 358"/>
                <a:gd name="T84" fmla="*/ 56 w 631"/>
                <a:gd name="T85" fmla="*/ 348 h 358"/>
                <a:gd name="T86" fmla="*/ 33 w 631"/>
                <a:gd name="T87" fmla="*/ 340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31" h="358">
                  <a:moveTo>
                    <a:pt x="0" y="327"/>
                  </a:moveTo>
                  <a:lnTo>
                    <a:pt x="7" y="297"/>
                  </a:lnTo>
                  <a:lnTo>
                    <a:pt x="24" y="296"/>
                  </a:lnTo>
                  <a:lnTo>
                    <a:pt x="39" y="293"/>
                  </a:lnTo>
                  <a:lnTo>
                    <a:pt x="44" y="292"/>
                  </a:lnTo>
                  <a:lnTo>
                    <a:pt x="50" y="290"/>
                  </a:lnTo>
                  <a:lnTo>
                    <a:pt x="54" y="287"/>
                  </a:lnTo>
                  <a:lnTo>
                    <a:pt x="58" y="285"/>
                  </a:lnTo>
                  <a:lnTo>
                    <a:pt x="65" y="277"/>
                  </a:lnTo>
                  <a:lnTo>
                    <a:pt x="70" y="270"/>
                  </a:lnTo>
                  <a:lnTo>
                    <a:pt x="75" y="262"/>
                  </a:lnTo>
                  <a:lnTo>
                    <a:pt x="79" y="253"/>
                  </a:lnTo>
                  <a:lnTo>
                    <a:pt x="87" y="255"/>
                  </a:lnTo>
                  <a:lnTo>
                    <a:pt x="93" y="256"/>
                  </a:lnTo>
                  <a:lnTo>
                    <a:pt x="100" y="256"/>
                  </a:lnTo>
                  <a:lnTo>
                    <a:pt x="106" y="256"/>
                  </a:lnTo>
                  <a:lnTo>
                    <a:pt x="116" y="254"/>
                  </a:lnTo>
                  <a:lnTo>
                    <a:pt x="126" y="253"/>
                  </a:lnTo>
                  <a:lnTo>
                    <a:pt x="131" y="252"/>
                  </a:lnTo>
                  <a:lnTo>
                    <a:pt x="136" y="250"/>
                  </a:lnTo>
                  <a:lnTo>
                    <a:pt x="141" y="247"/>
                  </a:lnTo>
                  <a:lnTo>
                    <a:pt x="145" y="244"/>
                  </a:lnTo>
                  <a:lnTo>
                    <a:pt x="153" y="237"/>
                  </a:lnTo>
                  <a:lnTo>
                    <a:pt x="162" y="229"/>
                  </a:lnTo>
                  <a:lnTo>
                    <a:pt x="168" y="220"/>
                  </a:lnTo>
                  <a:lnTo>
                    <a:pt x="175" y="213"/>
                  </a:lnTo>
                  <a:lnTo>
                    <a:pt x="180" y="208"/>
                  </a:lnTo>
                  <a:lnTo>
                    <a:pt x="186" y="204"/>
                  </a:lnTo>
                  <a:lnTo>
                    <a:pt x="199" y="198"/>
                  </a:lnTo>
                  <a:lnTo>
                    <a:pt x="211" y="192"/>
                  </a:lnTo>
                  <a:lnTo>
                    <a:pt x="223" y="187"/>
                  </a:lnTo>
                  <a:lnTo>
                    <a:pt x="235" y="182"/>
                  </a:lnTo>
                  <a:lnTo>
                    <a:pt x="260" y="175"/>
                  </a:lnTo>
                  <a:lnTo>
                    <a:pt x="283" y="167"/>
                  </a:lnTo>
                  <a:lnTo>
                    <a:pt x="308" y="160"/>
                  </a:lnTo>
                  <a:lnTo>
                    <a:pt x="329" y="152"/>
                  </a:lnTo>
                  <a:lnTo>
                    <a:pt x="340" y="147"/>
                  </a:lnTo>
                  <a:lnTo>
                    <a:pt x="351" y="142"/>
                  </a:lnTo>
                  <a:lnTo>
                    <a:pt x="361" y="137"/>
                  </a:lnTo>
                  <a:lnTo>
                    <a:pt x="372" y="130"/>
                  </a:lnTo>
                  <a:lnTo>
                    <a:pt x="382" y="130"/>
                  </a:lnTo>
                  <a:lnTo>
                    <a:pt x="392" y="130"/>
                  </a:lnTo>
                  <a:lnTo>
                    <a:pt x="396" y="130"/>
                  </a:lnTo>
                  <a:lnTo>
                    <a:pt x="401" y="129"/>
                  </a:lnTo>
                  <a:lnTo>
                    <a:pt x="406" y="127"/>
                  </a:lnTo>
                  <a:lnTo>
                    <a:pt x="413" y="124"/>
                  </a:lnTo>
                  <a:lnTo>
                    <a:pt x="426" y="117"/>
                  </a:lnTo>
                  <a:lnTo>
                    <a:pt x="440" y="107"/>
                  </a:lnTo>
                  <a:lnTo>
                    <a:pt x="454" y="97"/>
                  </a:lnTo>
                  <a:lnTo>
                    <a:pt x="465" y="86"/>
                  </a:lnTo>
                  <a:lnTo>
                    <a:pt x="469" y="80"/>
                  </a:lnTo>
                  <a:lnTo>
                    <a:pt x="473" y="74"/>
                  </a:lnTo>
                  <a:lnTo>
                    <a:pt x="477" y="69"/>
                  </a:lnTo>
                  <a:lnTo>
                    <a:pt x="478" y="63"/>
                  </a:lnTo>
                  <a:lnTo>
                    <a:pt x="488" y="62"/>
                  </a:lnTo>
                  <a:lnTo>
                    <a:pt x="496" y="61"/>
                  </a:lnTo>
                  <a:lnTo>
                    <a:pt x="504" y="58"/>
                  </a:lnTo>
                  <a:lnTo>
                    <a:pt x="512" y="54"/>
                  </a:lnTo>
                  <a:lnTo>
                    <a:pt x="525" y="46"/>
                  </a:lnTo>
                  <a:lnTo>
                    <a:pt x="537" y="36"/>
                  </a:lnTo>
                  <a:lnTo>
                    <a:pt x="549" y="26"/>
                  </a:lnTo>
                  <a:lnTo>
                    <a:pt x="561" y="16"/>
                  </a:lnTo>
                  <a:lnTo>
                    <a:pt x="568" y="11"/>
                  </a:lnTo>
                  <a:lnTo>
                    <a:pt x="575" y="7"/>
                  </a:lnTo>
                  <a:lnTo>
                    <a:pt x="583" y="4"/>
                  </a:lnTo>
                  <a:lnTo>
                    <a:pt x="591" y="0"/>
                  </a:lnTo>
                  <a:lnTo>
                    <a:pt x="594" y="10"/>
                  </a:lnTo>
                  <a:lnTo>
                    <a:pt x="597" y="16"/>
                  </a:lnTo>
                  <a:lnTo>
                    <a:pt x="602" y="22"/>
                  </a:lnTo>
                  <a:lnTo>
                    <a:pt x="606" y="25"/>
                  </a:lnTo>
                  <a:lnTo>
                    <a:pt x="612" y="28"/>
                  </a:lnTo>
                  <a:lnTo>
                    <a:pt x="617" y="30"/>
                  </a:lnTo>
                  <a:lnTo>
                    <a:pt x="624" y="31"/>
                  </a:lnTo>
                  <a:lnTo>
                    <a:pt x="631" y="31"/>
                  </a:lnTo>
                  <a:lnTo>
                    <a:pt x="625" y="46"/>
                  </a:lnTo>
                  <a:lnTo>
                    <a:pt x="618" y="61"/>
                  </a:lnTo>
                  <a:lnTo>
                    <a:pt x="611" y="75"/>
                  </a:lnTo>
                  <a:lnTo>
                    <a:pt x="601" y="88"/>
                  </a:lnTo>
                  <a:lnTo>
                    <a:pt x="591" y="101"/>
                  </a:lnTo>
                  <a:lnTo>
                    <a:pt x="580" y="114"/>
                  </a:lnTo>
                  <a:lnTo>
                    <a:pt x="568" y="125"/>
                  </a:lnTo>
                  <a:lnTo>
                    <a:pt x="556" y="136"/>
                  </a:lnTo>
                  <a:lnTo>
                    <a:pt x="543" y="145"/>
                  </a:lnTo>
                  <a:lnTo>
                    <a:pt x="529" y="154"/>
                  </a:lnTo>
                  <a:lnTo>
                    <a:pt x="515" y="161"/>
                  </a:lnTo>
                  <a:lnTo>
                    <a:pt x="501" y="167"/>
                  </a:lnTo>
                  <a:lnTo>
                    <a:pt x="487" y="173"/>
                  </a:lnTo>
                  <a:lnTo>
                    <a:pt x="473" y="177"/>
                  </a:lnTo>
                  <a:lnTo>
                    <a:pt x="459" y="179"/>
                  </a:lnTo>
                  <a:lnTo>
                    <a:pt x="445" y="180"/>
                  </a:lnTo>
                  <a:lnTo>
                    <a:pt x="443" y="189"/>
                  </a:lnTo>
                  <a:lnTo>
                    <a:pt x="439" y="195"/>
                  </a:lnTo>
                  <a:lnTo>
                    <a:pt x="438" y="197"/>
                  </a:lnTo>
                  <a:lnTo>
                    <a:pt x="436" y="199"/>
                  </a:lnTo>
                  <a:lnTo>
                    <a:pt x="435" y="200"/>
                  </a:lnTo>
                  <a:lnTo>
                    <a:pt x="433" y="200"/>
                  </a:lnTo>
                  <a:lnTo>
                    <a:pt x="422" y="199"/>
                  </a:lnTo>
                  <a:lnTo>
                    <a:pt x="405" y="198"/>
                  </a:lnTo>
                  <a:lnTo>
                    <a:pt x="395" y="199"/>
                  </a:lnTo>
                  <a:lnTo>
                    <a:pt x="385" y="202"/>
                  </a:lnTo>
                  <a:lnTo>
                    <a:pt x="376" y="206"/>
                  </a:lnTo>
                  <a:lnTo>
                    <a:pt x="367" y="210"/>
                  </a:lnTo>
                  <a:lnTo>
                    <a:pt x="358" y="213"/>
                  </a:lnTo>
                  <a:lnTo>
                    <a:pt x="351" y="213"/>
                  </a:lnTo>
                  <a:lnTo>
                    <a:pt x="347" y="212"/>
                  </a:lnTo>
                  <a:lnTo>
                    <a:pt x="344" y="211"/>
                  </a:lnTo>
                  <a:lnTo>
                    <a:pt x="342" y="208"/>
                  </a:lnTo>
                  <a:lnTo>
                    <a:pt x="338" y="204"/>
                  </a:lnTo>
                  <a:lnTo>
                    <a:pt x="333" y="216"/>
                  </a:lnTo>
                  <a:lnTo>
                    <a:pt x="324" y="229"/>
                  </a:lnTo>
                  <a:lnTo>
                    <a:pt x="313" y="241"/>
                  </a:lnTo>
                  <a:lnTo>
                    <a:pt x="301" y="254"/>
                  </a:lnTo>
                  <a:lnTo>
                    <a:pt x="288" y="267"/>
                  </a:lnTo>
                  <a:lnTo>
                    <a:pt x="272" y="280"/>
                  </a:lnTo>
                  <a:lnTo>
                    <a:pt x="256" y="293"/>
                  </a:lnTo>
                  <a:lnTo>
                    <a:pt x="238" y="304"/>
                  </a:lnTo>
                  <a:lnTo>
                    <a:pt x="220" y="315"/>
                  </a:lnTo>
                  <a:lnTo>
                    <a:pt x="202" y="325"/>
                  </a:lnTo>
                  <a:lnTo>
                    <a:pt x="182" y="334"/>
                  </a:lnTo>
                  <a:lnTo>
                    <a:pt x="164" y="343"/>
                  </a:lnTo>
                  <a:lnTo>
                    <a:pt x="145" y="349"/>
                  </a:lnTo>
                  <a:lnTo>
                    <a:pt x="127" y="354"/>
                  </a:lnTo>
                  <a:lnTo>
                    <a:pt x="110" y="357"/>
                  </a:lnTo>
                  <a:lnTo>
                    <a:pt x="93" y="358"/>
                  </a:lnTo>
                  <a:lnTo>
                    <a:pt x="80" y="358"/>
                  </a:lnTo>
                  <a:lnTo>
                    <a:pt x="71" y="356"/>
                  </a:lnTo>
                  <a:lnTo>
                    <a:pt x="65" y="354"/>
                  </a:lnTo>
                  <a:lnTo>
                    <a:pt x="60" y="351"/>
                  </a:lnTo>
                  <a:lnTo>
                    <a:pt x="56" y="348"/>
                  </a:lnTo>
                  <a:lnTo>
                    <a:pt x="51" y="345"/>
                  </a:lnTo>
                  <a:lnTo>
                    <a:pt x="44" y="343"/>
                  </a:lnTo>
                  <a:lnTo>
                    <a:pt x="33" y="340"/>
                  </a:lnTo>
                  <a:lnTo>
                    <a:pt x="0" y="32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24" name="Freeform 76"/>
            <p:cNvSpPr>
              <a:spLocks/>
            </p:cNvSpPr>
            <p:nvPr/>
          </p:nvSpPr>
          <p:spPr bwMode="auto">
            <a:xfrm>
              <a:off x="5597" y="3323"/>
              <a:ext cx="116" cy="141"/>
            </a:xfrm>
            <a:custGeom>
              <a:avLst/>
              <a:gdLst>
                <a:gd name="T0" fmla="*/ 60 w 359"/>
                <a:gd name="T1" fmla="*/ 288 h 431"/>
                <a:gd name="T2" fmla="*/ 95 w 359"/>
                <a:gd name="T3" fmla="*/ 269 h 431"/>
                <a:gd name="T4" fmla="*/ 165 w 359"/>
                <a:gd name="T5" fmla="*/ 209 h 431"/>
                <a:gd name="T6" fmla="*/ 172 w 359"/>
                <a:gd name="T7" fmla="*/ 168 h 431"/>
                <a:gd name="T8" fmla="*/ 180 w 359"/>
                <a:gd name="T9" fmla="*/ 149 h 431"/>
                <a:gd name="T10" fmla="*/ 193 w 359"/>
                <a:gd name="T11" fmla="*/ 137 h 431"/>
                <a:gd name="T12" fmla="*/ 190 w 359"/>
                <a:gd name="T13" fmla="*/ 126 h 431"/>
                <a:gd name="T14" fmla="*/ 179 w 359"/>
                <a:gd name="T15" fmla="*/ 94 h 431"/>
                <a:gd name="T16" fmla="*/ 173 w 359"/>
                <a:gd name="T17" fmla="*/ 34 h 431"/>
                <a:gd name="T18" fmla="*/ 182 w 359"/>
                <a:gd name="T19" fmla="*/ 0 h 431"/>
                <a:gd name="T20" fmla="*/ 194 w 359"/>
                <a:gd name="T21" fmla="*/ 11 h 431"/>
                <a:gd name="T22" fmla="*/ 207 w 359"/>
                <a:gd name="T23" fmla="*/ 29 h 431"/>
                <a:gd name="T24" fmla="*/ 231 w 359"/>
                <a:gd name="T25" fmla="*/ 56 h 431"/>
                <a:gd name="T26" fmla="*/ 238 w 359"/>
                <a:gd name="T27" fmla="*/ 73 h 431"/>
                <a:gd name="T28" fmla="*/ 237 w 359"/>
                <a:gd name="T29" fmla="*/ 88 h 431"/>
                <a:gd name="T30" fmla="*/ 226 w 359"/>
                <a:gd name="T31" fmla="*/ 102 h 431"/>
                <a:gd name="T32" fmla="*/ 205 w 359"/>
                <a:gd name="T33" fmla="*/ 120 h 431"/>
                <a:gd name="T34" fmla="*/ 199 w 359"/>
                <a:gd name="T35" fmla="*/ 131 h 431"/>
                <a:gd name="T36" fmla="*/ 199 w 359"/>
                <a:gd name="T37" fmla="*/ 149 h 431"/>
                <a:gd name="T38" fmla="*/ 205 w 359"/>
                <a:gd name="T39" fmla="*/ 159 h 431"/>
                <a:gd name="T40" fmla="*/ 226 w 359"/>
                <a:gd name="T41" fmla="*/ 160 h 431"/>
                <a:gd name="T42" fmla="*/ 233 w 359"/>
                <a:gd name="T43" fmla="*/ 153 h 431"/>
                <a:gd name="T44" fmla="*/ 232 w 359"/>
                <a:gd name="T45" fmla="*/ 135 h 431"/>
                <a:gd name="T46" fmla="*/ 259 w 359"/>
                <a:gd name="T47" fmla="*/ 193 h 431"/>
                <a:gd name="T48" fmla="*/ 271 w 359"/>
                <a:gd name="T49" fmla="*/ 208 h 431"/>
                <a:gd name="T50" fmla="*/ 291 w 359"/>
                <a:gd name="T51" fmla="*/ 219 h 431"/>
                <a:gd name="T52" fmla="*/ 300 w 359"/>
                <a:gd name="T53" fmla="*/ 217 h 431"/>
                <a:gd name="T54" fmla="*/ 312 w 359"/>
                <a:gd name="T55" fmla="*/ 206 h 431"/>
                <a:gd name="T56" fmla="*/ 341 w 359"/>
                <a:gd name="T57" fmla="*/ 194 h 431"/>
                <a:gd name="T58" fmla="*/ 355 w 359"/>
                <a:gd name="T59" fmla="*/ 206 h 431"/>
                <a:gd name="T60" fmla="*/ 342 w 359"/>
                <a:gd name="T61" fmla="*/ 240 h 431"/>
                <a:gd name="T62" fmla="*/ 321 w 359"/>
                <a:gd name="T63" fmla="*/ 261 h 431"/>
                <a:gd name="T64" fmla="*/ 295 w 359"/>
                <a:gd name="T65" fmla="*/ 275 h 431"/>
                <a:gd name="T66" fmla="*/ 247 w 359"/>
                <a:gd name="T67" fmla="*/ 288 h 431"/>
                <a:gd name="T68" fmla="*/ 208 w 359"/>
                <a:gd name="T69" fmla="*/ 299 h 431"/>
                <a:gd name="T70" fmla="*/ 193 w 359"/>
                <a:gd name="T71" fmla="*/ 308 h 431"/>
                <a:gd name="T72" fmla="*/ 179 w 359"/>
                <a:gd name="T73" fmla="*/ 339 h 431"/>
                <a:gd name="T74" fmla="*/ 163 w 359"/>
                <a:gd name="T75" fmla="*/ 356 h 431"/>
                <a:gd name="T76" fmla="*/ 109 w 359"/>
                <a:gd name="T77" fmla="*/ 394 h 431"/>
                <a:gd name="T78" fmla="*/ 48 w 359"/>
                <a:gd name="T79" fmla="*/ 424 h 431"/>
                <a:gd name="T80" fmla="*/ 19 w 359"/>
                <a:gd name="T81" fmla="*/ 431 h 431"/>
                <a:gd name="T82" fmla="*/ 7 w 359"/>
                <a:gd name="T83" fmla="*/ 426 h 431"/>
                <a:gd name="T84" fmla="*/ 1 w 359"/>
                <a:gd name="T85" fmla="*/ 415 h 431"/>
                <a:gd name="T86" fmla="*/ 1 w 359"/>
                <a:gd name="T87" fmla="*/ 402 h 431"/>
                <a:gd name="T88" fmla="*/ 9 w 359"/>
                <a:gd name="T89" fmla="*/ 391 h 431"/>
                <a:gd name="T90" fmla="*/ 56 w 359"/>
                <a:gd name="T91" fmla="*/ 374 h 431"/>
                <a:gd name="T92" fmla="*/ 73 w 359"/>
                <a:gd name="T93" fmla="*/ 351 h 431"/>
                <a:gd name="T94" fmla="*/ 71 w 359"/>
                <a:gd name="T95" fmla="*/ 335 h 431"/>
                <a:gd name="T96" fmla="*/ 64 w 359"/>
                <a:gd name="T97" fmla="*/ 326 h 431"/>
                <a:gd name="T98" fmla="*/ 51 w 359"/>
                <a:gd name="T99" fmla="*/ 320 h 431"/>
                <a:gd name="T100" fmla="*/ 19 w 359"/>
                <a:gd name="T101" fmla="*/ 320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59" h="431">
                  <a:moveTo>
                    <a:pt x="39" y="296"/>
                  </a:moveTo>
                  <a:lnTo>
                    <a:pt x="50" y="292"/>
                  </a:lnTo>
                  <a:lnTo>
                    <a:pt x="60" y="288"/>
                  </a:lnTo>
                  <a:lnTo>
                    <a:pt x="70" y="284"/>
                  </a:lnTo>
                  <a:lnTo>
                    <a:pt x="79" y="279"/>
                  </a:lnTo>
                  <a:lnTo>
                    <a:pt x="95" y="269"/>
                  </a:lnTo>
                  <a:lnTo>
                    <a:pt x="110" y="257"/>
                  </a:lnTo>
                  <a:lnTo>
                    <a:pt x="138" y="233"/>
                  </a:lnTo>
                  <a:lnTo>
                    <a:pt x="165" y="209"/>
                  </a:lnTo>
                  <a:lnTo>
                    <a:pt x="166" y="198"/>
                  </a:lnTo>
                  <a:lnTo>
                    <a:pt x="170" y="175"/>
                  </a:lnTo>
                  <a:lnTo>
                    <a:pt x="172" y="168"/>
                  </a:lnTo>
                  <a:lnTo>
                    <a:pt x="174" y="162"/>
                  </a:lnTo>
                  <a:lnTo>
                    <a:pt x="176" y="156"/>
                  </a:lnTo>
                  <a:lnTo>
                    <a:pt x="180" y="149"/>
                  </a:lnTo>
                  <a:lnTo>
                    <a:pt x="183" y="144"/>
                  </a:lnTo>
                  <a:lnTo>
                    <a:pt x="188" y="140"/>
                  </a:lnTo>
                  <a:lnTo>
                    <a:pt x="193" y="137"/>
                  </a:lnTo>
                  <a:lnTo>
                    <a:pt x="199" y="135"/>
                  </a:lnTo>
                  <a:lnTo>
                    <a:pt x="194" y="131"/>
                  </a:lnTo>
                  <a:lnTo>
                    <a:pt x="190" y="126"/>
                  </a:lnTo>
                  <a:lnTo>
                    <a:pt x="186" y="119"/>
                  </a:lnTo>
                  <a:lnTo>
                    <a:pt x="184" y="112"/>
                  </a:lnTo>
                  <a:lnTo>
                    <a:pt x="179" y="94"/>
                  </a:lnTo>
                  <a:lnTo>
                    <a:pt x="175" y="75"/>
                  </a:lnTo>
                  <a:lnTo>
                    <a:pt x="174" y="54"/>
                  </a:lnTo>
                  <a:lnTo>
                    <a:pt x="173" y="34"/>
                  </a:lnTo>
                  <a:lnTo>
                    <a:pt x="172" y="16"/>
                  </a:lnTo>
                  <a:lnTo>
                    <a:pt x="172" y="0"/>
                  </a:lnTo>
                  <a:lnTo>
                    <a:pt x="182" y="0"/>
                  </a:lnTo>
                  <a:lnTo>
                    <a:pt x="192" y="0"/>
                  </a:lnTo>
                  <a:lnTo>
                    <a:pt x="193" y="6"/>
                  </a:lnTo>
                  <a:lnTo>
                    <a:pt x="194" y="11"/>
                  </a:lnTo>
                  <a:lnTo>
                    <a:pt x="196" y="16"/>
                  </a:lnTo>
                  <a:lnTo>
                    <a:pt x="199" y="20"/>
                  </a:lnTo>
                  <a:lnTo>
                    <a:pt x="207" y="29"/>
                  </a:lnTo>
                  <a:lnTo>
                    <a:pt x="216" y="37"/>
                  </a:lnTo>
                  <a:lnTo>
                    <a:pt x="224" y="47"/>
                  </a:lnTo>
                  <a:lnTo>
                    <a:pt x="231" y="56"/>
                  </a:lnTo>
                  <a:lnTo>
                    <a:pt x="235" y="62"/>
                  </a:lnTo>
                  <a:lnTo>
                    <a:pt x="237" y="67"/>
                  </a:lnTo>
                  <a:lnTo>
                    <a:pt x="238" y="73"/>
                  </a:lnTo>
                  <a:lnTo>
                    <a:pt x="239" y="80"/>
                  </a:lnTo>
                  <a:lnTo>
                    <a:pt x="238" y="84"/>
                  </a:lnTo>
                  <a:lnTo>
                    <a:pt x="237" y="88"/>
                  </a:lnTo>
                  <a:lnTo>
                    <a:pt x="235" y="92"/>
                  </a:lnTo>
                  <a:lnTo>
                    <a:pt x="232" y="95"/>
                  </a:lnTo>
                  <a:lnTo>
                    <a:pt x="226" y="102"/>
                  </a:lnTo>
                  <a:lnTo>
                    <a:pt x="219" y="108"/>
                  </a:lnTo>
                  <a:lnTo>
                    <a:pt x="211" y="114"/>
                  </a:lnTo>
                  <a:lnTo>
                    <a:pt x="205" y="120"/>
                  </a:lnTo>
                  <a:lnTo>
                    <a:pt x="203" y="123"/>
                  </a:lnTo>
                  <a:lnTo>
                    <a:pt x="200" y="127"/>
                  </a:lnTo>
                  <a:lnTo>
                    <a:pt x="199" y="131"/>
                  </a:lnTo>
                  <a:lnTo>
                    <a:pt x="199" y="135"/>
                  </a:lnTo>
                  <a:lnTo>
                    <a:pt x="199" y="143"/>
                  </a:lnTo>
                  <a:lnTo>
                    <a:pt x="199" y="149"/>
                  </a:lnTo>
                  <a:lnTo>
                    <a:pt x="200" y="155"/>
                  </a:lnTo>
                  <a:lnTo>
                    <a:pt x="203" y="157"/>
                  </a:lnTo>
                  <a:lnTo>
                    <a:pt x="205" y="159"/>
                  </a:lnTo>
                  <a:lnTo>
                    <a:pt x="210" y="160"/>
                  </a:lnTo>
                  <a:lnTo>
                    <a:pt x="217" y="160"/>
                  </a:lnTo>
                  <a:lnTo>
                    <a:pt x="226" y="160"/>
                  </a:lnTo>
                  <a:lnTo>
                    <a:pt x="229" y="160"/>
                  </a:lnTo>
                  <a:lnTo>
                    <a:pt x="232" y="158"/>
                  </a:lnTo>
                  <a:lnTo>
                    <a:pt x="233" y="153"/>
                  </a:lnTo>
                  <a:lnTo>
                    <a:pt x="233" y="150"/>
                  </a:lnTo>
                  <a:lnTo>
                    <a:pt x="233" y="142"/>
                  </a:lnTo>
                  <a:lnTo>
                    <a:pt x="232" y="135"/>
                  </a:lnTo>
                  <a:lnTo>
                    <a:pt x="244" y="163"/>
                  </a:lnTo>
                  <a:lnTo>
                    <a:pt x="255" y="188"/>
                  </a:lnTo>
                  <a:lnTo>
                    <a:pt x="259" y="193"/>
                  </a:lnTo>
                  <a:lnTo>
                    <a:pt x="262" y="198"/>
                  </a:lnTo>
                  <a:lnTo>
                    <a:pt x="266" y="203"/>
                  </a:lnTo>
                  <a:lnTo>
                    <a:pt x="271" y="208"/>
                  </a:lnTo>
                  <a:lnTo>
                    <a:pt x="276" y="213"/>
                  </a:lnTo>
                  <a:lnTo>
                    <a:pt x="283" y="216"/>
                  </a:lnTo>
                  <a:lnTo>
                    <a:pt x="291" y="219"/>
                  </a:lnTo>
                  <a:lnTo>
                    <a:pt x="298" y="222"/>
                  </a:lnTo>
                  <a:lnTo>
                    <a:pt x="299" y="220"/>
                  </a:lnTo>
                  <a:lnTo>
                    <a:pt x="300" y="217"/>
                  </a:lnTo>
                  <a:lnTo>
                    <a:pt x="303" y="215"/>
                  </a:lnTo>
                  <a:lnTo>
                    <a:pt x="305" y="212"/>
                  </a:lnTo>
                  <a:lnTo>
                    <a:pt x="312" y="206"/>
                  </a:lnTo>
                  <a:lnTo>
                    <a:pt x="321" y="201"/>
                  </a:lnTo>
                  <a:lnTo>
                    <a:pt x="331" y="197"/>
                  </a:lnTo>
                  <a:lnTo>
                    <a:pt x="341" y="194"/>
                  </a:lnTo>
                  <a:lnTo>
                    <a:pt x="350" y="192"/>
                  </a:lnTo>
                  <a:lnTo>
                    <a:pt x="359" y="191"/>
                  </a:lnTo>
                  <a:lnTo>
                    <a:pt x="355" y="206"/>
                  </a:lnTo>
                  <a:lnTo>
                    <a:pt x="352" y="219"/>
                  </a:lnTo>
                  <a:lnTo>
                    <a:pt x="348" y="231"/>
                  </a:lnTo>
                  <a:lnTo>
                    <a:pt x="342" y="240"/>
                  </a:lnTo>
                  <a:lnTo>
                    <a:pt x="336" y="248"/>
                  </a:lnTo>
                  <a:lnTo>
                    <a:pt x="329" y="255"/>
                  </a:lnTo>
                  <a:lnTo>
                    <a:pt x="321" y="261"/>
                  </a:lnTo>
                  <a:lnTo>
                    <a:pt x="314" y="267"/>
                  </a:lnTo>
                  <a:lnTo>
                    <a:pt x="305" y="271"/>
                  </a:lnTo>
                  <a:lnTo>
                    <a:pt x="295" y="275"/>
                  </a:lnTo>
                  <a:lnTo>
                    <a:pt x="284" y="278"/>
                  </a:lnTo>
                  <a:lnTo>
                    <a:pt x="272" y="281"/>
                  </a:lnTo>
                  <a:lnTo>
                    <a:pt x="247" y="288"/>
                  </a:lnTo>
                  <a:lnTo>
                    <a:pt x="219" y="296"/>
                  </a:lnTo>
                  <a:lnTo>
                    <a:pt x="213" y="297"/>
                  </a:lnTo>
                  <a:lnTo>
                    <a:pt x="208" y="299"/>
                  </a:lnTo>
                  <a:lnTo>
                    <a:pt x="204" y="301"/>
                  </a:lnTo>
                  <a:lnTo>
                    <a:pt x="199" y="303"/>
                  </a:lnTo>
                  <a:lnTo>
                    <a:pt x="193" y="308"/>
                  </a:lnTo>
                  <a:lnTo>
                    <a:pt x="188" y="314"/>
                  </a:lnTo>
                  <a:lnTo>
                    <a:pt x="183" y="328"/>
                  </a:lnTo>
                  <a:lnTo>
                    <a:pt x="179" y="339"/>
                  </a:lnTo>
                  <a:lnTo>
                    <a:pt x="175" y="344"/>
                  </a:lnTo>
                  <a:lnTo>
                    <a:pt x="170" y="350"/>
                  </a:lnTo>
                  <a:lnTo>
                    <a:pt x="163" y="356"/>
                  </a:lnTo>
                  <a:lnTo>
                    <a:pt x="154" y="363"/>
                  </a:lnTo>
                  <a:lnTo>
                    <a:pt x="134" y="379"/>
                  </a:lnTo>
                  <a:lnTo>
                    <a:pt x="109" y="394"/>
                  </a:lnTo>
                  <a:lnTo>
                    <a:pt x="84" y="408"/>
                  </a:lnTo>
                  <a:lnTo>
                    <a:pt x="59" y="420"/>
                  </a:lnTo>
                  <a:lnTo>
                    <a:pt x="48" y="424"/>
                  </a:lnTo>
                  <a:lnTo>
                    <a:pt x="37" y="428"/>
                  </a:lnTo>
                  <a:lnTo>
                    <a:pt x="28" y="430"/>
                  </a:lnTo>
                  <a:lnTo>
                    <a:pt x="19" y="431"/>
                  </a:lnTo>
                  <a:lnTo>
                    <a:pt x="15" y="430"/>
                  </a:lnTo>
                  <a:lnTo>
                    <a:pt x="11" y="429"/>
                  </a:lnTo>
                  <a:lnTo>
                    <a:pt x="7" y="426"/>
                  </a:lnTo>
                  <a:lnTo>
                    <a:pt x="5" y="423"/>
                  </a:lnTo>
                  <a:lnTo>
                    <a:pt x="3" y="420"/>
                  </a:lnTo>
                  <a:lnTo>
                    <a:pt x="1" y="415"/>
                  </a:lnTo>
                  <a:lnTo>
                    <a:pt x="0" y="411"/>
                  </a:lnTo>
                  <a:lnTo>
                    <a:pt x="0" y="406"/>
                  </a:lnTo>
                  <a:lnTo>
                    <a:pt x="1" y="402"/>
                  </a:lnTo>
                  <a:lnTo>
                    <a:pt x="2" y="398"/>
                  </a:lnTo>
                  <a:lnTo>
                    <a:pt x="5" y="395"/>
                  </a:lnTo>
                  <a:lnTo>
                    <a:pt x="9" y="391"/>
                  </a:lnTo>
                  <a:lnTo>
                    <a:pt x="19" y="386"/>
                  </a:lnTo>
                  <a:lnTo>
                    <a:pt x="31" y="382"/>
                  </a:lnTo>
                  <a:lnTo>
                    <a:pt x="56" y="374"/>
                  </a:lnTo>
                  <a:lnTo>
                    <a:pt x="73" y="369"/>
                  </a:lnTo>
                  <a:lnTo>
                    <a:pt x="73" y="360"/>
                  </a:lnTo>
                  <a:lnTo>
                    <a:pt x="73" y="351"/>
                  </a:lnTo>
                  <a:lnTo>
                    <a:pt x="72" y="345"/>
                  </a:lnTo>
                  <a:lnTo>
                    <a:pt x="72" y="339"/>
                  </a:lnTo>
                  <a:lnTo>
                    <a:pt x="71" y="335"/>
                  </a:lnTo>
                  <a:lnTo>
                    <a:pt x="69" y="331"/>
                  </a:lnTo>
                  <a:lnTo>
                    <a:pt x="67" y="328"/>
                  </a:lnTo>
                  <a:lnTo>
                    <a:pt x="64" y="326"/>
                  </a:lnTo>
                  <a:lnTo>
                    <a:pt x="62" y="324"/>
                  </a:lnTo>
                  <a:lnTo>
                    <a:pt x="59" y="322"/>
                  </a:lnTo>
                  <a:lnTo>
                    <a:pt x="51" y="320"/>
                  </a:lnTo>
                  <a:lnTo>
                    <a:pt x="41" y="319"/>
                  </a:lnTo>
                  <a:lnTo>
                    <a:pt x="31" y="320"/>
                  </a:lnTo>
                  <a:lnTo>
                    <a:pt x="19" y="320"/>
                  </a:lnTo>
                  <a:lnTo>
                    <a:pt x="39" y="29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2125" name="Freeform 77"/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8886826" y="3395663"/>
            <a:ext cx="9525" cy="57150"/>
          </a:xfrm>
          <a:custGeom>
            <a:avLst/>
            <a:gdLst>
              <a:gd name="T0" fmla="*/ 0 w 21"/>
              <a:gd name="T1" fmla="*/ 43 h 62"/>
              <a:gd name="T2" fmla="*/ 1 w 21"/>
              <a:gd name="T3" fmla="*/ 29 h 62"/>
              <a:gd name="T4" fmla="*/ 3 w 21"/>
              <a:gd name="T5" fmla="*/ 17 h 62"/>
              <a:gd name="T6" fmla="*/ 4 w 21"/>
              <a:gd name="T7" fmla="*/ 11 h 62"/>
              <a:gd name="T8" fmla="*/ 6 w 21"/>
              <a:gd name="T9" fmla="*/ 7 h 62"/>
              <a:gd name="T10" fmla="*/ 9 w 21"/>
              <a:gd name="T11" fmla="*/ 3 h 62"/>
              <a:gd name="T12" fmla="*/ 15 w 21"/>
              <a:gd name="T13" fmla="*/ 0 h 62"/>
              <a:gd name="T14" fmla="*/ 15 w 21"/>
              <a:gd name="T15" fmla="*/ 15 h 62"/>
              <a:gd name="T16" fmla="*/ 18 w 21"/>
              <a:gd name="T17" fmla="*/ 31 h 62"/>
              <a:gd name="T18" fmla="*/ 20 w 21"/>
              <a:gd name="T19" fmla="*/ 44 h 62"/>
              <a:gd name="T20" fmla="*/ 21 w 21"/>
              <a:gd name="T21" fmla="*/ 49 h 62"/>
              <a:gd name="T22" fmla="*/ 10 w 21"/>
              <a:gd name="T23" fmla="*/ 55 h 62"/>
              <a:gd name="T24" fmla="*/ 0 w 21"/>
              <a:gd name="T25" fmla="*/ 62 h 62"/>
              <a:gd name="T26" fmla="*/ 0 w 21"/>
              <a:gd name="T27" fmla="*/ 43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21" h="62">
                <a:moveTo>
                  <a:pt x="0" y="43"/>
                </a:moveTo>
                <a:lnTo>
                  <a:pt x="1" y="29"/>
                </a:lnTo>
                <a:lnTo>
                  <a:pt x="3" y="17"/>
                </a:lnTo>
                <a:lnTo>
                  <a:pt x="4" y="11"/>
                </a:lnTo>
                <a:lnTo>
                  <a:pt x="6" y="7"/>
                </a:lnTo>
                <a:lnTo>
                  <a:pt x="9" y="3"/>
                </a:lnTo>
                <a:lnTo>
                  <a:pt x="15" y="0"/>
                </a:lnTo>
                <a:lnTo>
                  <a:pt x="15" y="15"/>
                </a:lnTo>
                <a:lnTo>
                  <a:pt x="18" y="31"/>
                </a:lnTo>
                <a:lnTo>
                  <a:pt x="20" y="44"/>
                </a:lnTo>
                <a:lnTo>
                  <a:pt x="21" y="49"/>
                </a:lnTo>
                <a:lnTo>
                  <a:pt x="10" y="55"/>
                </a:lnTo>
                <a:lnTo>
                  <a:pt x="0" y="62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126" name="Freeform 78"/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9613900" y="4297363"/>
            <a:ext cx="14288" cy="57150"/>
          </a:xfrm>
          <a:custGeom>
            <a:avLst/>
            <a:gdLst>
              <a:gd name="T0" fmla="*/ 0 w 33"/>
              <a:gd name="T1" fmla="*/ 0 h 24"/>
              <a:gd name="T2" fmla="*/ 5 w 33"/>
              <a:gd name="T3" fmla="*/ 5 h 24"/>
              <a:gd name="T4" fmla="*/ 10 w 33"/>
              <a:gd name="T5" fmla="*/ 10 h 24"/>
              <a:gd name="T6" fmla="*/ 11 w 33"/>
              <a:gd name="T7" fmla="*/ 13 h 24"/>
              <a:gd name="T8" fmla="*/ 12 w 33"/>
              <a:gd name="T9" fmla="*/ 16 h 24"/>
              <a:gd name="T10" fmla="*/ 13 w 33"/>
              <a:gd name="T11" fmla="*/ 20 h 24"/>
              <a:gd name="T12" fmla="*/ 13 w 33"/>
              <a:gd name="T13" fmla="*/ 24 h 24"/>
              <a:gd name="T14" fmla="*/ 33 w 33"/>
              <a:gd name="T15" fmla="*/ 0 h 24"/>
              <a:gd name="T16" fmla="*/ 24 w 33"/>
              <a:gd name="T17" fmla="*/ 0 h 24"/>
              <a:gd name="T18" fmla="*/ 16 w 33"/>
              <a:gd name="T19" fmla="*/ 0 h 24"/>
              <a:gd name="T20" fmla="*/ 9 w 33"/>
              <a:gd name="T21" fmla="*/ 0 h 24"/>
              <a:gd name="T22" fmla="*/ 0 w 33"/>
              <a:gd name="T23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3" h="24">
                <a:moveTo>
                  <a:pt x="0" y="0"/>
                </a:moveTo>
                <a:lnTo>
                  <a:pt x="5" y="5"/>
                </a:lnTo>
                <a:lnTo>
                  <a:pt x="10" y="10"/>
                </a:lnTo>
                <a:lnTo>
                  <a:pt x="11" y="13"/>
                </a:lnTo>
                <a:lnTo>
                  <a:pt x="12" y="16"/>
                </a:lnTo>
                <a:lnTo>
                  <a:pt x="13" y="20"/>
                </a:lnTo>
                <a:lnTo>
                  <a:pt x="13" y="24"/>
                </a:lnTo>
                <a:lnTo>
                  <a:pt x="33" y="0"/>
                </a:lnTo>
                <a:lnTo>
                  <a:pt x="24" y="0"/>
                </a:lnTo>
                <a:lnTo>
                  <a:pt x="16" y="0"/>
                </a:lnTo>
                <a:lnTo>
                  <a:pt x="9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127" name="Freeform 79"/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9636126" y="4306889"/>
            <a:ext cx="17463" cy="58737"/>
          </a:xfrm>
          <a:custGeom>
            <a:avLst/>
            <a:gdLst>
              <a:gd name="T0" fmla="*/ 26 w 33"/>
              <a:gd name="T1" fmla="*/ 25 h 25"/>
              <a:gd name="T2" fmla="*/ 29 w 33"/>
              <a:gd name="T3" fmla="*/ 22 h 25"/>
              <a:gd name="T4" fmla="*/ 33 w 33"/>
              <a:gd name="T5" fmla="*/ 18 h 25"/>
              <a:gd name="T6" fmla="*/ 33 w 33"/>
              <a:gd name="T7" fmla="*/ 0 h 25"/>
              <a:gd name="T8" fmla="*/ 25 w 33"/>
              <a:gd name="T9" fmla="*/ 0 h 25"/>
              <a:gd name="T10" fmla="*/ 16 w 33"/>
              <a:gd name="T11" fmla="*/ 0 h 25"/>
              <a:gd name="T12" fmla="*/ 6 w 33"/>
              <a:gd name="T13" fmla="*/ 0 h 25"/>
              <a:gd name="T14" fmla="*/ 0 w 33"/>
              <a:gd name="T15" fmla="*/ 0 h 25"/>
              <a:gd name="T16" fmla="*/ 26 w 33"/>
              <a:gd name="T17" fmla="*/ 25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3" h="25">
                <a:moveTo>
                  <a:pt x="26" y="25"/>
                </a:moveTo>
                <a:lnTo>
                  <a:pt x="29" y="22"/>
                </a:lnTo>
                <a:lnTo>
                  <a:pt x="33" y="18"/>
                </a:lnTo>
                <a:lnTo>
                  <a:pt x="33" y="0"/>
                </a:lnTo>
                <a:lnTo>
                  <a:pt x="25" y="0"/>
                </a:lnTo>
                <a:lnTo>
                  <a:pt x="16" y="0"/>
                </a:lnTo>
                <a:lnTo>
                  <a:pt x="6" y="0"/>
                </a:lnTo>
                <a:lnTo>
                  <a:pt x="0" y="0"/>
                </a:lnTo>
                <a:lnTo>
                  <a:pt x="26" y="2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128" name="Freeform 80"/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8950325" y="3384551"/>
            <a:ext cx="1588" cy="55563"/>
          </a:xfrm>
          <a:custGeom>
            <a:avLst/>
            <a:gdLst>
              <a:gd name="T0" fmla="*/ 0 w 7"/>
              <a:gd name="T1" fmla="*/ 7 w 7"/>
              <a:gd name="T2" fmla="*/ 0 w 7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7">
                <a:moveTo>
                  <a:pt x="0" y="0"/>
                </a:move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129" name="Freeform 81"/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9009063" y="3328988"/>
            <a:ext cx="6350" cy="57150"/>
          </a:xfrm>
          <a:custGeom>
            <a:avLst/>
            <a:gdLst>
              <a:gd name="T0" fmla="*/ 16 w 16"/>
              <a:gd name="T1" fmla="*/ 0 h 25"/>
              <a:gd name="T2" fmla="*/ 16 w 16"/>
              <a:gd name="T3" fmla="*/ 6 h 25"/>
              <a:gd name="T4" fmla="*/ 14 w 16"/>
              <a:gd name="T5" fmla="*/ 13 h 25"/>
              <a:gd name="T6" fmla="*/ 13 w 16"/>
              <a:gd name="T7" fmla="*/ 16 h 25"/>
              <a:gd name="T8" fmla="*/ 11 w 16"/>
              <a:gd name="T9" fmla="*/ 20 h 25"/>
              <a:gd name="T10" fmla="*/ 7 w 16"/>
              <a:gd name="T11" fmla="*/ 23 h 25"/>
              <a:gd name="T12" fmla="*/ 3 w 16"/>
              <a:gd name="T13" fmla="*/ 25 h 25"/>
              <a:gd name="T14" fmla="*/ 1 w 16"/>
              <a:gd name="T15" fmla="*/ 24 h 25"/>
              <a:gd name="T16" fmla="*/ 0 w 16"/>
              <a:gd name="T17" fmla="*/ 21 h 25"/>
              <a:gd name="T18" fmla="*/ 1 w 16"/>
              <a:gd name="T19" fmla="*/ 18 h 25"/>
              <a:gd name="T20" fmla="*/ 2 w 16"/>
              <a:gd name="T21" fmla="*/ 13 h 25"/>
              <a:gd name="T22" fmla="*/ 4 w 16"/>
              <a:gd name="T23" fmla="*/ 9 h 25"/>
              <a:gd name="T24" fmla="*/ 7 w 16"/>
              <a:gd name="T25" fmla="*/ 4 h 25"/>
              <a:gd name="T26" fmla="*/ 11 w 16"/>
              <a:gd name="T27" fmla="*/ 1 h 25"/>
              <a:gd name="T28" fmla="*/ 16 w 16"/>
              <a:gd name="T29" fmla="*/ 0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6" h="25">
                <a:moveTo>
                  <a:pt x="16" y="0"/>
                </a:moveTo>
                <a:lnTo>
                  <a:pt x="16" y="6"/>
                </a:lnTo>
                <a:lnTo>
                  <a:pt x="14" y="13"/>
                </a:lnTo>
                <a:lnTo>
                  <a:pt x="13" y="16"/>
                </a:lnTo>
                <a:lnTo>
                  <a:pt x="11" y="20"/>
                </a:lnTo>
                <a:lnTo>
                  <a:pt x="7" y="23"/>
                </a:lnTo>
                <a:lnTo>
                  <a:pt x="3" y="25"/>
                </a:lnTo>
                <a:lnTo>
                  <a:pt x="1" y="24"/>
                </a:lnTo>
                <a:lnTo>
                  <a:pt x="0" y="21"/>
                </a:lnTo>
                <a:lnTo>
                  <a:pt x="1" y="18"/>
                </a:lnTo>
                <a:lnTo>
                  <a:pt x="2" y="13"/>
                </a:lnTo>
                <a:lnTo>
                  <a:pt x="4" y="9"/>
                </a:lnTo>
                <a:lnTo>
                  <a:pt x="7" y="4"/>
                </a:lnTo>
                <a:lnTo>
                  <a:pt x="11" y="1"/>
                </a:lnTo>
                <a:lnTo>
                  <a:pt x="1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130" name="Freeform 82"/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9121776" y="3217863"/>
            <a:ext cx="4763" cy="57150"/>
          </a:xfrm>
          <a:custGeom>
            <a:avLst/>
            <a:gdLst>
              <a:gd name="T0" fmla="*/ 0 w 14"/>
              <a:gd name="T1" fmla="*/ 0 h 18"/>
              <a:gd name="T2" fmla="*/ 3 w 14"/>
              <a:gd name="T3" fmla="*/ 1 h 18"/>
              <a:gd name="T4" fmla="*/ 5 w 14"/>
              <a:gd name="T5" fmla="*/ 2 h 18"/>
              <a:gd name="T6" fmla="*/ 7 w 14"/>
              <a:gd name="T7" fmla="*/ 4 h 18"/>
              <a:gd name="T8" fmla="*/ 9 w 14"/>
              <a:gd name="T9" fmla="*/ 7 h 18"/>
              <a:gd name="T10" fmla="*/ 13 w 14"/>
              <a:gd name="T11" fmla="*/ 13 h 18"/>
              <a:gd name="T12" fmla="*/ 14 w 14"/>
              <a:gd name="T13" fmla="*/ 18 h 18"/>
              <a:gd name="T14" fmla="*/ 0 w 14"/>
              <a:gd name="T15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4" h="18">
                <a:moveTo>
                  <a:pt x="0" y="0"/>
                </a:moveTo>
                <a:lnTo>
                  <a:pt x="3" y="1"/>
                </a:lnTo>
                <a:lnTo>
                  <a:pt x="5" y="2"/>
                </a:lnTo>
                <a:lnTo>
                  <a:pt x="7" y="4"/>
                </a:lnTo>
                <a:lnTo>
                  <a:pt x="9" y="7"/>
                </a:lnTo>
                <a:lnTo>
                  <a:pt x="13" y="13"/>
                </a:lnTo>
                <a:lnTo>
                  <a:pt x="14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131" name="Freeform 83"/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9274175" y="3916364"/>
            <a:ext cx="26988" cy="58737"/>
          </a:xfrm>
          <a:custGeom>
            <a:avLst/>
            <a:gdLst>
              <a:gd name="T0" fmla="*/ 0 w 67"/>
              <a:gd name="T1" fmla="*/ 0 h 74"/>
              <a:gd name="T2" fmla="*/ 1 w 67"/>
              <a:gd name="T3" fmla="*/ 17 h 74"/>
              <a:gd name="T4" fmla="*/ 3 w 67"/>
              <a:gd name="T5" fmla="*/ 30 h 74"/>
              <a:gd name="T6" fmla="*/ 7 w 67"/>
              <a:gd name="T7" fmla="*/ 41 h 74"/>
              <a:gd name="T8" fmla="*/ 12 w 67"/>
              <a:gd name="T9" fmla="*/ 50 h 74"/>
              <a:gd name="T10" fmla="*/ 17 w 67"/>
              <a:gd name="T11" fmla="*/ 58 h 74"/>
              <a:gd name="T12" fmla="*/ 23 w 67"/>
              <a:gd name="T13" fmla="*/ 64 h 74"/>
              <a:gd name="T14" fmla="*/ 28 w 67"/>
              <a:gd name="T15" fmla="*/ 69 h 74"/>
              <a:gd name="T16" fmla="*/ 33 w 67"/>
              <a:gd name="T17" fmla="*/ 74 h 74"/>
              <a:gd name="T18" fmla="*/ 44 w 67"/>
              <a:gd name="T19" fmla="*/ 65 h 74"/>
              <a:gd name="T20" fmla="*/ 55 w 67"/>
              <a:gd name="T21" fmla="*/ 55 h 74"/>
              <a:gd name="T22" fmla="*/ 59 w 67"/>
              <a:gd name="T23" fmla="*/ 49 h 74"/>
              <a:gd name="T24" fmla="*/ 63 w 67"/>
              <a:gd name="T25" fmla="*/ 43 h 74"/>
              <a:gd name="T26" fmla="*/ 66 w 67"/>
              <a:gd name="T27" fmla="*/ 37 h 74"/>
              <a:gd name="T28" fmla="*/ 67 w 67"/>
              <a:gd name="T29" fmla="*/ 30 h 74"/>
              <a:gd name="T30" fmla="*/ 67 w 67"/>
              <a:gd name="T31" fmla="*/ 25 h 74"/>
              <a:gd name="T32" fmla="*/ 67 w 67"/>
              <a:gd name="T33" fmla="*/ 18 h 74"/>
              <a:gd name="T34" fmla="*/ 67 w 67"/>
              <a:gd name="T35" fmla="*/ 9 h 74"/>
              <a:gd name="T36" fmla="*/ 67 w 67"/>
              <a:gd name="T37" fmla="*/ 0 h 74"/>
              <a:gd name="T38" fmla="*/ 48 w 67"/>
              <a:gd name="T39" fmla="*/ 0 h 74"/>
              <a:gd name="T40" fmla="*/ 33 w 67"/>
              <a:gd name="T41" fmla="*/ 0 h 74"/>
              <a:gd name="T42" fmla="*/ 17 w 67"/>
              <a:gd name="T43" fmla="*/ 0 h 74"/>
              <a:gd name="T44" fmla="*/ 0 w 67"/>
              <a:gd name="T45" fmla="*/ 0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67" h="74">
                <a:moveTo>
                  <a:pt x="0" y="0"/>
                </a:moveTo>
                <a:lnTo>
                  <a:pt x="1" y="17"/>
                </a:lnTo>
                <a:lnTo>
                  <a:pt x="3" y="30"/>
                </a:lnTo>
                <a:lnTo>
                  <a:pt x="7" y="41"/>
                </a:lnTo>
                <a:lnTo>
                  <a:pt x="12" y="50"/>
                </a:lnTo>
                <a:lnTo>
                  <a:pt x="17" y="58"/>
                </a:lnTo>
                <a:lnTo>
                  <a:pt x="23" y="64"/>
                </a:lnTo>
                <a:lnTo>
                  <a:pt x="28" y="69"/>
                </a:lnTo>
                <a:lnTo>
                  <a:pt x="33" y="74"/>
                </a:lnTo>
                <a:lnTo>
                  <a:pt x="44" y="65"/>
                </a:lnTo>
                <a:lnTo>
                  <a:pt x="55" y="55"/>
                </a:lnTo>
                <a:lnTo>
                  <a:pt x="59" y="49"/>
                </a:lnTo>
                <a:lnTo>
                  <a:pt x="63" y="43"/>
                </a:lnTo>
                <a:lnTo>
                  <a:pt x="66" y="37"/>
                </a:lnTo>
                <a:lnTo>
                  <a:pt x="67" y="30"/>
                </a:lnTo>
                <a:lnTo>
                  <a:pt x="67" y="25"/>
                </a:lnTo>
                <a:lnTo>
                  <a:pt x="67" y="18"/>
                </a:lnTo>
                <a:lnTo>
                  <a:pt x="67" y="9"/>
                </a:lnTo>
                <a:lnTo>
                  <a:pt x="67" y="0"/>
                </a:lnTo>
                <a:lnTo>
                  <a:pt x="48" y="0"/>
                </a:lnTo>
                <a:lnTo>
                  <a:pt x="33" y="0"/>
                </a:lnTo>
                <a:lnTo>
                  <a:pt x="1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132" name="Freeform 84"/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9337675" y="3930650"/>
            <a:ext cx="12700" cy="57150"/>
          </a:xfrm>
          <a:custGeom>
            <a:avLst/>
            <a:gdLst>
              <a:gd name="T0" fmla="*/ 0 w 34"/>
              <a:gd name="T1" fmla="*/ 0 h 38"/>
              <a:gd name="T2" fmla="*/ 2 w 34"/>
              <a:gd name="T3" fmla="*/ 3 h 38"/>
              <a:gd name="T4" fmla="*/ 4 w 34"/>
              <a:gd name="T5" fmla="*/ 7 h 38"/>
              <a:gd name="T6" fmla="*/ 5 w 34"/>
              <a:gd name="T7" fmla="*/ 11 h 38"/>
              <a:gd name="T8" fmla="*/ 6 w 34"/>
              <a:gd name="T9" fmla="*/ 16 h 38"/>
              <a:gd name="T10" fmla="*/ 10 w 34"/>
              <a:gd name="T11" fmla="*/ 28 h 38"/>
              <a:gd name="T12" fmla="*/ 13 w 34"/>
              <a:gd name="T13" fmla="*/ 38 h 38"/>
              <a:gd name="T14" fmla="*/ 16 w 34"/>
              <a:gd name="T15" fmla="*/ 37 h 38"/>
              <a:gd name="T16" fmla="*/ 20 w 34"/>
              <a:gd name="T17" fmla="*/ 36 h 38"/>
              <a:gd name="T18" fmla="*/ 23 w 34"/>
              <a:gd name="T19" fmla="*/ 34 h 38"/>
              <a:gd name="T20" fmla="*/ 26 w 34"/>
              <a:gd name="T21" fmla="*/ 31 h 38"/>
              <a:gd name="T22" fmla="*/ 28 w 34"/>
              <a:gd name="T23" fmla="*/ 28 h 38"/>
              <a:gd name="T24" fmla="*/ 32 w 34"/>
              <a:gd name="T25" fmla="*/ 24 h 38"/>
              <a:gd name="T26" fmla="*/ 33 w 34"/>
              <a:gd name="T27" fmla="*/ 21 h 38"/>
              <a:gd name="T28" fmla="*/ 34 w 34"/>
              <a:gd name="T29" fmla="*/ 19 h 38"/>
              <a:gd name="T30" fmla="*/ 31 w 34"/>
              <a:gd name="T31" fmla="*/ 18 h 38"/>
              <a:gd name="T32" fmla="*/ 28 w 34"/>
              <a:gd name="T33" fmla="*/ 17 h 38"/>
              <a:gd name="T34" fmla="*/ 26 w 34"/>
              <a:gd name="T35" fmla="*/ 14 h 38"/>
              <a:gd name="T36" fmla="*/ 24 w 34"/>
              <a:gd name="T37" fmla="*/ 12 h 38"/>
              <a:gd name="T38" fmla="*/ 19 w 34"/>
              <a:gd name="T39" fmla="*/ 6 h 38"/>
              <a:gd name="T40" fmla="*/ 13 w 34"/>
              <a:gd name="T41" fmla="*/ 0 h 38"/>
              <a:gd name="T42" fmla="*/ 6 w 34"/>
              <a:gd name="T43" fmla="*/ 0 h 38"/>
              <a:gd name="T44" fmla="*/ 0 w 34"/>
              <a:gd name="T45" fmla="*/ 0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34" h="38">
                <a:moveTo>
                  <a:pt x="0" y="0"/>
                </a:moveTo>
                <a:lnTo>
                  <a:pt x="2" y="3"/>
                </a:lnTo>
                <a:lnTo>
                  <a:pt x="4" y="7"/>
                </a:lnTo>
                <a:lnTo>
                  <a:pt x="5" y="11"/>
                </a:lnTo>
                <a:lnTo>
                  <a:pt x="6" y="16"/>
                </a:lnTo>
                <a:lnTo>
                  <a:pt x="10" y="28"/>
                </a:lnTo>
                <a:lnTo>
                  <a:pt x="13" y="38"/>
                </a:lnTo>
                <a:lnTo>
                  <a:pt x="16" y="37"/>
                </a:lnTo>
                <a:lnTo>
                  <a:pt x="20" y="36"/>
                </a:lnTo>
                <a:lnTo>
                  <a:pt x="23" y="34"/>
                </a:lnTo>
                <a:lnTo>
                  <a:pt x="26" y="31"/>
                </a:lnTo>
                <a:lnTo>
                  <a:pt x="28" y="28"/>
                </a:lnTo>
                <a:lnTo>
                  <a:pt x="32" y="24"/>
                </a:lnTo>
                <a:lnTo>
                  <a:pt x="33" y="21"/>
                </a:lnTo>
                <a:lnTo>
                  <a:pt x="34" y="19"/>
                </a:lnTo>
                <a:lnTo>
                  <a:pt x="31" y="18"/>
                </a:lnTo>
                <a:lnTo>
                  <a:pt x="28" y="17"/>
                </a:lnTo>
                <a:lnTo>
                  <a:pt x="26" y="14"/>
                </a:lnTo>
                <a:lnTo>
                  <a:pt x="24" y="12"/>
                </a:lnTo>
                <a:lnTo>
                  <a:pt x="19" y="6"/>
                </a:lnTo>
                <a:lnTo>
                  <a:pt x="13" y="0"/>
                </a:lnTo>
                <a:lnTo>
                  <a:pt x="6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133" name="Freeform 85"/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9194800" y="3706813"/>
            <a:ext cx="25400" cy="55562"/>
          </a:xfrm>
          <a:custGeom>
            <a:avLst/>
            <a:gdLst>
              <a:gd name="T0" fmla="*/ 53 w 53"/>
              <a:gd name="T1" fmla="*/ 23 h 23"/>
              <a:gd name="T2" fmla="*/ 53 w 53"/>
              <a:gd name="T3" fmla="*/ 4 h 23"/>
              <a:gd name="T4" fmla="*/ 49 w 53"/>
              <a:gd name="T5" fmla="*/ 2 h 23"/>
              <a:gd name="T6" fmla="*/ 45 w 53"/>
              <a:gd name="T7" fmla="*/ 1 h 23"/>
              <a:gd name="T8" fmla="*/ 42 w 53"/>
              <a:gd name="T9" fmla="*/ 0 h 23"/>
              <a:gd name="T10" fmla="*/ 38 w 53"/>
              <a:gd name="T11" fmla="*/ 0 h 23"/>
              <a:gd name="T12" fmla="*/ 31 w 53"/>
              <a:gd name="T13" fmla="*/ 1 h 23"/>
              <a:gd name="T14" fmla="*/ 24 w 53"/>
              <a:gd name="T15" fmla="*/ 4 h 23"/>
              <a:gd name="T16" fmla="*/ 11 w 53"/>
              <a:gd name="T17" fmla="*/ 13 h 23"/>
              <a:gd name="T18" fmla="*/ 0 w 53"/>
              <a:gd name="T19" fmla="*/ 23 h 23"/>
              <a:gd name="T20" fmla="*/ 53 w 53"/>
              <a:gd name="T21" fmla="*/ 23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3" h="23">
                <a:moveTo>
                  <a:pt x="53" y="23"/>
                </a:moveTo>
                <a:lnTo>
                  <a:pt x="53" y="4"/>
                </a:lnTo>
                <a:lnTo>
                  <a:pt x="49" y="2"/>
                </a:lnTo>
                <a:lnTo>
                  <a:pt x="45" y="1"/>
                </a:lnTo>
                <a:lnTo>
                  <a:pt x="42" y="0"/>
                </a:lnTo>
                <a:lnTo>
                  <a:pt x="38" y="0"/>
                </a:lnTo>
                <a:lnTo>
                  <a:pt x="31" y="1"/>
                </a:lnTo>
                <a:lnTo>
                  <a:pt x="24" y="4"/>
                </a:lnTo>
                <a:lnTo>
                  <a:pt x="11" y="13"/>
                </a:lnTo>
                <a:lnTo>
                  <a:pt x="0" y="23"/>
                </a:lnTo>
                <a:lnTo>
                  <a:pt x="53" y="2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134" name="Freeform 86"/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9137651" y="3681413"/>
            <a:ext cx="11113" cy="57150"/>
          </a:xfrm>
          <a:custGeom>
            <a:avLst/>
            <a:gdLst>
              <a:gd name="T0" fmla="*/ 0 w 26"/>
              <a:gd name="T1" fmla="*/ 0 h 12"/>
              <a:gd name="T2" fmla="*/ 4 w 26"/>
              <a:gd name="T3" fmla="*/ 4 h 12"/>
              <a:gd name="T4" fmla="*/ 11 w 26"/>
              <a:gd name="T5" fmla="*/ 8 h 12"/>
              <a:gd name="T6" fmla="*/ 14 w 26"/>
              <a:gd name="T7" fmla="*/ 9 h 12"/>
              <a:gd name="T8" fmla="*/ 18 w 26"/>
              <a:gd name="T9" fmla="*/ 11 h 12"/>
              <a:gd name="T10" fmla="*/ 22 w 26"/>
              <a:gd name="T11" fmla="*/ 11 h 12"/>
              <a:gd name="T12" fmla="*/ 26 w 26"/>
              <a:gd name="T13" fmla="*/ 12 h 12"/>
              <a:gd name="T14" fmla="*/ 21 w 26"/>
              <a:gd name="T15" fmla="*/ 7 h 12"/>
              <a:gd name="T16" fmla="*/ 13 w 26"/>
              <a:gd name="T17" fmla="*/ 3 h 12"/>
              <a:gd name="T18" fmla="*/ 5 w 26"/>
              <a:gd name="T19" fmla="*/ 1 h 12"/>
              <a:gd name="T20" fmla="*/ 0 w 26"/>
              <a:gd name="T21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6" h="12">
                <a:moveTo>
                  <a:pt x="0" y="0"/>
                </a:moveTo>
                <a:lnTo>
                  <a:pt x="4" y="4"/>
                </a:lnTo>
                <a:lnTo>
                  <a:pt x="11" y="8"/>
                </a:lnTo>
                <a:lnTo>
                  <a:pt x="14" y="9"/>
                </a:lnTo>
                <a:lnTo>
                  <a:pt x="18" y="11"/>
                </a:lnTo>
                <a:lnTo>
                  <a:pt x="22" y="11"/>
                </a:lnTo>
                <a:lnTo>
                  <a:pt x="26" y="12"/>
                </a:lnTo>
                <a:lnTo>
                  <a:pt x="21" y="7"/>
                </a:lnTo>
                <a:lnTo>
                  <a:pt x="13" y="3"/>
                </a:lnTo>
                <a:lnTo>
                  <a:pt x="5" y="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135" name="Freeform 87"/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9337675" y="4013200"/>
            <a:ext cx="31750" cy="57150"/>
          </a:xfrm>
          <a:custGeom>
            <a:avLst/>
            <a:gdLst>
              <a:gd name="T0" fmla="*/ 0 w 73"/>
              <a:gd name="T1" fmla="*/ 20 w 73"/>
              <a:gd name="T2" fmla="*/ 37 w 73"/>
              <a:gd name="T3" fmla="*/ 55 w 73"/>
              <a:gd name="T4" fmla="*/ 73 w 73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</a:cxnLst>
            <a:rect l="0" t="0" r="r" b="b"/>
            <a:pathLst>
              <a:path w="73">
                <a:moveTo>
                  <a:pt x="0" y="0"/>
                </a:moveTo>
                <a:lnTo>
                  <a:pt x="20" y="0"/>
                </a:lnTo>
                <a:lnTo>
                  <a:pt x="37" y="0"/>
                </a:lnTo>
                <a:lnTo>
                  <a:pt x="55" y="0"/>
                </a:lnTo>
                <a:lnTo>
                  <a:pt x="7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136" name="Freeform 88"/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9293226" y="4002088"/>
            <a:ext cx="22225" cy="57150"/>
          </a:xfrm>
          <a:custGeom>
            <a:avLst/>
            <a:gdLst>
              <a:gd name="T0" fmla="*/ 0 w 53"/>
              <a:gd name="T1" fmla="*/ 0 h 3"/>
              <a:gd name="T2" fmla="*/ 14 w 53"/>
              <a:gd name="T3" fmla="*/ 0 h 3"/>
              <a:gd name="T4" fmla="*/ 27 w 53"/>
              <a:gd name="T5" fmla="*/ 3 h 3"/>
              <a:gd name="T6" fmla="*/ 32 w 53"/>
              <a:gd name="T7" fmla="*/ 3 h 3"/>
              <a:gd name="T8" fmla="*/ 39 w 53"/>
              <a:gd name="T9" fmla="*/ 3 h 3"/>
              <a:gd name="T10" fmla="*/ 45 w 53"/>
              <a:gd name="T11" fmla="*/ 1 h 3"/>
              <a:gd name="T12" fmla="*/ 53 w 53"/>
              <a:gd name="T13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3" h="3">
                <a:moveTo>
                  <a:pt x="0" y="0"/>
                </a:moveTo>
                <a:lnTo>
                  <a:pt x="14" y="0"/>
                </a:lnTo>
                <a:lnTo>
                  <a:pt x="27" y="3"/>
                </a:lnTo>
                <a:lnTo>
                  <a:pt x="32" y="3"/>
                </a:lnTo>
                <a:lnTo>
                  <a:pt x="39" y="3"/>
                </a:lnTo>
                <a:lnTo>
                  <a:pt x="45" y="1"/>
                </a:lnTo>
                <a:lnTo>
                  <a:pt x="5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137" name="Line 89"/>
          <p:cNvSpPr>
            <a:spLocks noChangeShapeType="1"/>
          </p:cNvSpPr>
          <p:nvPr>
            <p:custDataLst>
              <p:tags r:id="rId69"/>
            </p:custDataLst>
          </p:nvPr>
        </p:nvSpPr>
        <p:spPr bwMode="auto">
          <a:xfrm>
            <a:off x="9326564" y="3987800"/>
            <a:ext cx="20637" cy="635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138" name="Freeform 90"/>
          <p:cNvSpPr>
            <a:spLocks/>
          </p:cNvSpPr>
          <p:nvPr>
            <p:custDataLst>
              <p:tags r:id="rId70"/>
            </p:custDataLst>
          </p:nvPr>
        </p:nvSpPr>
        <p:spPr bwMode="auto">
          <a:xfrm>
            <a:off x="9347200" y="3994150"/>
            <a:ext cx="1588" cy="57150"/>
          </a:xfrm>
          <a:custGeom>
            <a:avLst/>
            <a:gdLst>
              <a:gd name="T0" fmla="*/ 0 h 13"/>
              <a:gd name="T1" fmla="*/ 6 h 13"/>
              <a:gd name="T2" fmla="*/ 13 h 13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13">
                <a:moveTo>
                  <a:pt x="0" y="0"/>
                </a:moveTo>
                <a:lnTo>
                  <a:pt x="0" y="6"/>
                </a:lnTo>
                <a:lnTo>
                  <a:pt x="0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139" name="Freeform 91"/>
          <p:cNvSpPr>
            <a:spLocks/>
          </p:cNvSpPr>
          <p:nvPr>
            <p:custDataLst>
              <p:tags r:id="rId71"/>
            </p:custDataLst>
          </p:nvPr>
        </p:nvSpPr>
        <p:spPr bwMode="auto">
          <a:xfrm>
            <a:off x="9301164" y="3987800"/>
            <a:ext cx="14287" cy="58738"/>
          </a:xfrm>
          <a:custGeom>
            <a:avLst/>
            <a:gdLst>
              <a:gd name="T0" fmla="*/ 0 w 26"/>
              <a:gd name="T1" fmla="*/ 15 w 26"/>
              <a:gd name="T2" fmla="*/ 26 w 2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26">
                <a:moveTo>
                  <a:pt x="0" y="0"/>
                </a:moveTo>
                <a:lnTo>
                  <a:pt x="15" y="0"/>
                </a:lnTo>
                <a:lnTo>
                  <a:pt x="2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140" name="Freeform 92"/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9294813" y="3968751"/>
            <a:ext cx="6350" cy="60325"/>
          </a:xfrm>
          <a:custGeom>
            <a:avLst/>
            <a:gdLst>
              <a:gd name="T0" fmla="*/ 20 w 20"/>
              <a:gd name="T1" fmla="*/ 0 h 25"/>
              <a:gd name="T2" fmla="*/ 0 w 20"/>
              <a:gd name="T3" fmla="*/ 13 h 25"/>
              <a:gd name="T4" fmla="*/ 4 w 20"/>
              <a:gd name="T5" fmla="*/ 18 h 25"/>
              <a:gd name="T6" fmla="*/ 10 w 20"/>
              <a:gd name="T7" fmla="*/ 21 h 25"/>
              <a:gd name="T8" fmla="*/ 14 w 20"/>
              <a:gd name="T9" fmla="*/ 24 h 25"/>
              <a:gd name="T10" fmla="*/ 20 w 20"/>
              <a:gd name="T11" fmla="*/ 25 h 25"/>
              <a:gd name="T12" fmla="*/ 20 w 20"/>
              <a:gd name="T13" fmla="*/ 0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0" h="25">
                <a:moveTo>
                  <a:pt x="20" y="0"/>
                </a:moveTo>
                <a:lnTo>
                  <a:pt x="0" y="13"/>
                </a:lnTo>
                <a:lnTo>
                  <a:pt x="4" y="18"/>
                </a:lnTo>
                <a:lnTo>
                  <a:pt x="10" y="21"/>
                </a:lnTo>
                <a:lnTo>
                  <a:pt x="14" y="24"/>
                </a:lnTo>
                <a:lnTo>
                  <a:pt x="20" y="25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141" name="Freeform 93"/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9375775" y="3695700"/>
            <a:ext cx="1588" cy="57150"/>
          </a:xfrm>
          <a:custGeom>
            <a:avLst/>
            <a:gdLst>
              <a:gd name="T0" fmla="*/ 0 w 6"/>
              <a:gd name="T1" fmla="*/ 24 h 24"/>
              <a:gd name="T2" fmla="*/ 0 w 6"/>
              <a:gd name="T3" fmla="*/ 0 h 24"/>
              <a:gd name="T4" fmla="*/ 6 w 6"/>
              <a:gd name="T5" fmla="*/ 12 h 24"/>
              <a:gd name="T6" fmla="*/ 0 w 6"/>
              <a:gd name="T7" fmla="*/ 24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" h="24">
                <a:moveTo>
                  <a:pt x="0" y="24"/>
                </a:moveTo>
                <a:lnTo>
                  <a:pt x="0" y="0"/>
                </a:lnTo>
                <a:lnTo>
                  <a:pt x="6" y="12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grpSp>
        <p:nvGrpSpPr>
          <p:cNvPr id="2142" name="Group 94"/>
          <p:cNvGrpSpPr>
            <a:grpSpLocks/>
          </p:cNvGrpSpPr>
          <p:nvPr>
            <p:custDataLst>
              <p:tags r:id="rId74"/>
            </p:custDataLst>
          </p:nvPr>
        </p:nvGrpSpPr>
        <p:grpSpPr bwMode="auto">
          <a:xfrm>
            <a:off x="9250363" y="3367088"/>
            <a:ext cx="163512" cy="114300"/>
            <a:chOff x="5379" y="2466"/>
            <a:chExt cx="122" cy="71"/>
          </a:xfrm>
        </p:grpSpPr>
        <p:sp>
          <p:nvSpPr>
            <p:cNvPr id="2143" name="Freeform 95"/>
            <p:cNvSpPr>
              <a:spLocks/>
            </p:cNvSpPr>
            <p:nvPr/>
          </p:nvSpPr>
          <p:spPr bwMode="auto">
            <a:xfrm>
              <a:off x="5428" y="2492"/>
              <a:ext cx="6" cy="9"/>
            </a:xfrm>
            <a:custGeom>
              <a:avLst/>
              <a:gdLst>
                <a:gd name="T0" fmla="*/ 19 w 19"/>
                <a:gd name="T1" fmla="*/ 25 h 25"/>
                <a:gd name="T2" fmla="*/ 18 w 19"/>
                <a:gd name="T3" fmla="*/ 20 h 25"/>
                <a:gd name="T4" fmla="*/ 17 w 19"/>
                <a:gd name="T5" fmla="*/ 12 h 25"/>
                <a:gd name="T6" fmla="*/ 16 w 19"/>
                <a:gd name="T7" fmla="*/ 9 h 25"/>
                <a:gd name="T8" fmla="*/ 17 w 19"/>
                <a:gd name="T9" fmla="*/ 6 h 25"/>
                <a:gd name="T10" fmla="*/ 17 w 19"/>
                <a:gd name="T11" fmla="*/ 3 h 25"/>
                <a:gd name="T12" fmla="*/ 19 w 19"/>
                <a:gd name="T13" fmla="*/ 0 h 25"/>
                <a:gd name="T14" fmla="*/ 0 w 19"/>
                <a:gd name="T15" fmla="*/ 0 h 25"/>
                <a:gd name="T16" fmla="*/ 1 w 19"/>
                <a:gd name="T17" fmla="*/ 7 h 25"/>
                <a:gd name="T18" fmla="*/ 5 w 19"/>
                <a:gd name="T19" fmla="*/ 15 h 25"/>
                <a:gd name="T20" fmla="*/ 7 w 19"/>
                <a:gd name="T21" fmla="*/ 19 h 25"/>
                <a:gd name="T22" fmla="*/ 11 w 19"/>
                <a:gd name="T23" fmla="*/ 23 h 25"/>
                <a:gd name="T24" fmla="*/ 15 w 19"/>
                <a:gd name="T25" fmla="*/ 25 h 25"/>
                <a:gd name="T26" fmla="*/ 19 w 19"/>
                <a:gd name="T2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" h="25">
                  <a:moveTo>
                    <a:pt x="19" y="25"/>
                  </a:moveTo>
                  <a:lnTo>
                    <a:pt x="18" y="20"/>
                  </a:lnTo>
                  <a:lnTo>
                    <a:pt x="17" y="12"/>
                  </a:lnTo>
                  <a:lnTo>
                    <a:pt x="16" y="9"/>
                  </a:lnTo>
                  <a:lnTo>
                    <a:pt x="17" y="6"/>
                  </a:lnTo>
                  <a:lnTo>
                    <a:pt x="17" y="3"/>
                  </a:lnTo>
                  <a:lnTo>
                    <a:pt x="19" y="0"/>
                  </a:lnTo>
                  <a:lnTo>
                    <a:pt x="0" y="0"/>
                  </a:lnTo>
                  <a:lnTo>
                    <a:pt x="1" y="7"/>
                  </a:lnTo>
                  <a:lnTo>
                    <a:pt x="5" y="15"/>
                  </a:lnTo>
                  <a:lnTo>
                    <a:pt x="7" y="19"/>
                  </a:lnTo>
                  <a:lnTo>
                    <a:pt x="11" y="23"/>
                  </a:lnTo>
                  <a:lnTo>
                    <a:pt x="15" y="25"/>
                  </a:lnTo>
                  <a:lnTo>
                    <a:pt x="1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44" name="Freeform 96"/>
            <p:cNvSpPr>
              <a:spLocks/>
            </p:cNvSpPr>
            <p:nvPr/>
          </p:nvSpPr>
          <p:spPr bwMode="auto">
            <a:xfrm>
              <a:off x="5379" y="2505"/>
              <a:ext cx="7" cy="6"/>
            </a:xfrm>
            <a:custGeom>
              <a:avLst/>
              <a:gdLst>
                <a:gd name="T0" fmla="*/ 26 w 26"/>
                <a:gd name="T1" fmla="*/ 18 h 18"/>
                <a:gd name="T2" fmla="*/ 7 w 26"/>
                <a:gd name="T3" fmla="*/ 18 h 18"/>
                <a:gd name="T4" fmla="*/ 3 w 26"/>
                <a:gd name="T5" fmla="*/ 9 h 18"/>
                <a:gd name="T6" fmla="*/ 0 w 26"/>
                <a:gd name="T7" fmla="*/ 0 h 18"/>
                <a:gd name="T8" fmla="*/ 6 w 26"/>
                <a:gd name="T9" fmla="*/ 2 h 18"/>
                <a:gd name="T10" fmla="*/ 13 w 26"/>
                <a:gd name="T11" fmla="*/ 6 h 18"/>
                <a:gd name="T12" fmla="*/ 20 w 26"/>
                <a:gd name="T13" fmla="*/ 12 h 18"/>
                <a:gd name="T14" fmla="*/ 26 w 26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18">
                  <a:moveTo>
                    <a:pt x="26" y="18"/>
                  </a:moveTo>
                  <a:lnTo>
                    <a:pt x="7" y="18"/>
                  </a:lnTo>
                  <a:lnTo>
                    <a:pt x="3" y="9"/>
                  </a:lnTo>
                  <a:lnTo>
                    <a:pt x="0" y="0"/>
                  </a:lnTo>
                  <a:lnTo>
                    <a:pt x="6" y="2"/>
                  </a:lnTo>
                  <a:lnTo>
                    <a:pt x="13" y="6"/>
                  </a:lnTo>
                  <a:lnTo>
                    <a:pt x="20" y="12"/>
                  </a:lnTo>
                  <a:lnTo>
                    <a:pt x="26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45" name="Freeform 97"/>
            <p:cNvSpPr>
              <a:spLocks/>
            </p:cNvSpPr>
            <p:nvPr/>
          </p:nvSpPr>
          <p:spPr bwMode="auto">
            <a:xfrm>
              <a:off x="5392" y="2466"/>
              <a:ext cx="5" cy="6"/>
            </a:xfrm>
            <a:custGeom>
              <a:avLst/>
              <a:gdLst>
                <a:gd name="T0" fmla="*/ 0 w 13"/>
                <a:gd name="T1" fmla="*/ 18 h 18"/>
                <a:gd name="T2" fmla="*/ 13 w 13"/>
                <a:gd name="T3" fmla="*/ 0 h 18"/>
                <a:gd name="T4" fmla="*/ 0 w 13"/>
                <a:gd name="T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8">
                  <a:moveTo>
                    <a:pt x="0" y="18"/>
                  </a:moveTo>
                  <a:lnTo>
                    <a:pt x="13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46" name="Freeform 98"/>
            <p:cNvSpPr>
              <a:spLocks/>
            </p:cNvSpPr>
            <p:nvPr/>
          </p:nvSpPr>
          <p:spPr bwMode="auto">
            <a:xfrm>
              <a:off x="5426" y="2468"/>
              <a:ext cx="8" cy="8"/>
            </a:xfrm>
            <a:custGeom>
              <a:avLst/>
              <a:gdLst>
                <a:gd name="T0" fmla="*/ 0 w 26"/>
                <a:gd name="T1" fmla="*/ 24 h 24"/>
                <a:gd name="T2" fmla="*/ 3 w 26"/>
                <a:gd name="T3" fmla="*/ 23 h 24"/>
                <a:gd name="T4" fmla="*/ 7 w 26"/>
                <a:gd name="T5" fmla="*/ 22 h 24"/>
                <a:gd name="T6" fmla="*/ 11 w 26"/>
                <a:gd name="T7" fmla="*/ 19 h 24"/>
                <a:gd name="T8" fmla="*/ 16 w 26"/>
                <a:gd name="T9" fmla="*/ 16 h 24"/>
                <a:gd name="T10" fmla="*/ 20 w 26"/>
                <a:gd name="T11" fmla="*/ 13 h 24"/>
                <a:gd name="T12" fmla="*/ 23 w 26"/>
                <a:gd name="T13" fmla="*/ 9 h 24"/>
                <a:gd name="T14" fmla="*/ 25 w 26"/>
                <a:gd name="T15" fmla="*/ 4 h 24"/>
                <a:gd name="T16" fmla="*/ 26 w 26"/>
                <a:gd name="T17" fmla="*/ 0 h 24"/>
                <a:gd name="T18" fmla="*/ 0 w 26"/>
                <a:gd name="T1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24">
                  <a:moveTo>
                    <a:pt x="0" y="24"/>
                  </a:moveTo>
                  <a:lnTo>
                    <a:pt x="3" y="23"/>
                  </a:lnTo>
                  <a:lnTo>
                    <a:pt x="7" y="22"/>
                  </a:lnTo>
                  <a:lnTo>
                    <a:pt x="11" y="19"/>
                  </a:lnTo>
                  <a:lnTo>
                    <a:pt x="16" y="16"/>
                  </a:lnTo>
                  <a:lnTo>
                    <a:pt x="20" y="13"/>
                  </a:lnTo>
                  <a:lnTo>
                    <a:pt x="23" y="9"/>
                  </a:lnTo>
                  <a:lnTo>
                    <a:pt x="25" y="4"/>
                  </a:lnTo>
                  <a:lnTo>
                    <a:pt x="26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47" name="Freeform 99"/>
            <p:cNvSpPr>
              <a:spLocks/>
            </p:cNvSpPr>
            <p:nvPr/>
          </p:nvSpPr>
          <p:spPr bwMode="auto">
            <a:xfrm>
              <a:off x="5490" y="2490"/>
              <a:ext cx="11" cy="2"/>
            </a:xfrm>
            <a:custGeom>
              <a:avLst/>
              <a:gdLst>
                <a:gd name="T0" fmla="*/ 0 w 34"/>
                <a:gd name="T1" fmla="*/ 6 h 6"/>
                <a:gd name="T2" fmla="*/ 10 w 34"/>
                <a:gd name="T3" fmla="*/ 6 h 6"/>
                <a:gd name="T4" fmla="*/ 17 w 34"/>
                <a:gd name="T5" fmla="*/ 5 h 6"/>
                <a:gd name="T6" fmla="*/ 25 w 34"/>
                <a:gd name="T7" fmla="*/ 4 h 6"/>
                <a:gd name="T8" fmla="*/ 34 w 34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6">
                  <a:moveTo>
                    <a:pt x="0" y="6"/>
                  </a:moveTo>
                  <a:lnTo>
                    <a:pt x="10" y="6"/>
                  </a:lnTo>
                  <a:lnTo>
                    <a:pt x="17" y="5"/>
                  </a:lnTo>
                  <a:lnTo>
                    <a:pt x="25" y="4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48" name="Line 100"/>
            <p:cNvSpPr>
              <a:spLocks noChangeShapeType="1"/>
            </p:cNvSpPr>
            <p:nvPr/>
          </p:nvSpPr>
          <p:spPr bwMode="auto">
            <a:xfrm flipH="1">
              <a:off x="5495" y="2490"/>
              <a:ext cx="6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49" name="Freeform 101"/>
            <p:cNvSpPr>
              <a:spLocks/>
            </p:cNvSpPr>
            <p:nvPr/>
          </p:nvSpPr>
          <p:spPr bwMode="auto">
            <a:xfrm>
              <a:off x="5464" y="2530"/>
              <a:ext cx="1" cy="7"/>
            </a:xfrm>
            <a:custGeom>
              <a:avLst/>
              <a:gdLst>
                <a:gd name="T0" fmla="*/ 19 h 19"/>
                <a:gd name="T1" fmla="*/ 9 h 19"/>
                <a:gd name="T2" fmla="*/ 0 h 19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9">
                  <a:moveTo>
                    <a:pt x="0" y="19"/>
                  </a:move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50" name="Line 102"/>
            <p:cNvSpPr>
              <a:spLocks noChangeShapeType="1"/>
            </p:cNvSpPr>
            <p:nvPr/>
          </p:nvSpPr>
          <p:spPr bwMode="auto">
            <a:xfrm>
              <a:off x="5464" y="2530"/>
              <a:ext cx="6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51" name="Freeform 103"/>
            <p:cNvSpPr>
              <a:spLocks/>
            </p:cNvSpPr>
            <p:nvPr/>
          </p:nvSpPr>
          <p:spPr bwMode="auto">
            <a:xfrm>
              <a:off x="5466" y="2530"/>
              <a:ext cx="4" cy="2"/>
            </a:xfrm>
            <a:custGeom>
              <a:avLst/>
              <a:gdLst>
                <a:gd name="T0" fmla="*/ 14 w 14"/>
                <a:gd name="T1" fmla="*/ 0 h 6"/>
                <a:gd name="T2" fmla="*/ 7 w 14"/>
                <a:gd name="T3" fmla="*/ 3 h 6"/>
                <a:gd name="T4" fmla="*/ 0 w 14"/>
                <a:gd name="T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7" y="3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2152" name="Freeform 104"/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7834313" y="3228975"/>
            <a:ext cx="6350" cy="57150"/>
          </a:xfrm>
          <a:custGeom>
            <a:avLst/>
            <a:gdLst>
              <a:gd name="T0" fmla="*/ 13 w 26"/>
              <a:gd name="T1" fmla="*/ 111 h 111"/>
              <a:gd name="T2" fmla="*/ 9 w 26"/>
              <a:gd name="T3" fmla="*/ 103 h 111"/>
              <a:gd name="T4" fmla="*/ 4 w 26"/>
              <a:gd name="T5" fmla="*/ 95 h 111"/>
              <a:gd name="T6" fmla="*/ 2 w 26"/>
              <a:gd name="T7" fmla="*/ 91 h 111"/>
              <a:gd name="T8" fmla="*/ 1 w 26"/>
              <a:gd name="T9" fmla="*/ 87 h 111"/>
              <a:gd name="T10" fmla="*/ 0 w 26"/>
              <a:gd name="T11" fmla="*/ 80 h 111"/>
              <a:gd name="T12" fmla="*/ 0 w 26"/>
              <a:gd name="T13" fmla="*/ 74 h 111"/>
              <a:gd name="T14" fmla="*/ 0 w 26"/>
              <a:gd name="T15" fmla="*/ 61 h 111"/>
              <a:gd name="T16" fmla="*/ 1 w 26"/>
              <a:gd name="T17" fmla="*/ 51 h 111"/>
              <a:gd name="T18" fmla="*/ 3 w 26"/>
              <a:gd name="T19" fmla="*/ 41 h 111"/>
              <a:gd name="T20" fmla="*/ 5 w 26"/>
              <a:gd name="T21" fmla="*/ 33 h 111"/>
              <a:gd name="T22" fmla="*/ 9 w 26"/>
              <a:gd name="T23" fmla="*/ 24 h 111"/>
              <a:gd name="T24" fmla="*/ 14 w 26"/>
              <a:gd name="T25" fmla="*/ 17 h 111"/>
              <a:gd name="T26" fmla="*/ 20 w 26"/>
              <a:gd name="T27" fmla="*/ 9 h 111"/>
              <a:gd name="T28" fmla="*/ 26 w 26"/>
              <a:gd name="T29" fmla="*/ 0 h 111"/>
              <a:gd name="T30" fmla="*/ 26 w 26"/>
              <a:gd name="T31" fmla="*/ 6 h 111"/>
              <a:gd name="T32" fmla="*/ 26 w 26"/>
              <a:gd name="T33" fmla="*/ 13 h 111"/>
              <a:gd name="T34" fmla="*/ 26 w 26"/>
              <a:gd name="T35" fmla="*/ 22 h 111"/>
              <a:gd name="T36" fmla="*/ 26 w 26"/>
              <a:gd name="T37" fmla="*/ 32 h 111"/>
              <a:gd name="T38" fmla="*/ 25 w 26"/>
              <a:gd name="T39" fmla="*/ 44 h 111"/>
              <a:gd name="T40" fmla="*/ 22 w 26"/>
              <a:gd name="T41" fmla="*/ 56 h 111"/>
              <a:gd name="T42" fmla="*/ 18 w 26"/>
              <a:gd name="T43" fmla="*/ 67 h 111"/>
              <a:gd name="T44" fmla="*/ 13 w 26"/>
              <a:gd name="T45" fmla="*/ 80 h 111"/>
              <a:gd name="T46" fmla="*/ 13 w 26"/>
              <a:gd name="T47" fmla="*/ 111 h 1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26" h="111">
                <a:moveTo>
                  <a:pt x="13" y="111"/>
                </a:moveTo>
                <a:lnTo>
                  <a:pt x="9" y="103"/>
                </a:lnTo>
                <a:lnTo>
                  <a:pt x="4" y="95"/>
                </a:lnTo>
                <a:lnTo>
                  <a:pt x="2" y="91"/>
                </a:lnTo>
                <a:lnTo>
                  <a:pt x="1" y="87"/>
                </a:lnTo>
                <a:lnTo>
                  <a:pt x="0" y="80"/>
                </a:lnTo>
                <a:lnTo>
                  <a:pt x="0" y="74"/>
                </a:lnTo>
                <a:lnTo>
                  <a:pt x="0" y="61"/>
                </a:lnTo>
                <a:lnTo>
                  <a:pt x="1" y="51"/>
                </a:lnTo>
                <a:lnTo>
                  <a:pt x="3" y="41"/>
                </a:lnTo>
                <a:lnTo>
                  <a:pt x="5" y="33"/>
                </a:lnTo>
                <a:lnTo>
                  <a:pt x="9" y="24"/>
                </a:lnTo>
                <a:lnTo>
                  <a:pt x="14" y="17"/>
                </a:lnTo>
                <a:lnTo>
                  <a:pt x="20" y="9"/>
                </a:lnTo>
                <a:lnTo>
                  <a:pt x="26" y="0"/>
                </a:lnTo>
                <a:lnTo>
                  <a:pt x="26" y="6"/>
                </a:lnTo>
                <a:lnTo>
                  <a:pt x="26" y="13"/>
                </a:lnTo>
                <a:lnTo>
                  <a:pt x="26" y="22"/>
                </a:lnTo>
                <a:lnTo>
                  <a:pt x="26" y="32"/>
                </a:lnTo>
                <a:lnTo>
                  <a:pt x="25" y="44"/>
                </a:lnTo>
                <a:lnTo>
                  <a:pt x="22" y="56"/>
                </a:lnTo>
                <a:lnTo>
                  <a:pt x="18" y="67"/>
                </a:lnTo>
                <a:lnTo>
                  <a:pt x="13" y="80"/>
                </a:lnTo>
                <a:lnTo>
                  <a:pt x="13" y="11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153" name="Freeform 105"/>
          <p:cNvSpPr>
            <a:spLocks/>
          </p:cNvSpPr>
          <p:nvPr>
            <p:custDataLst>
              <p:tags r:id="rId76"/>
            </p:custDataLst>
          </p:nvPr>
        </p:nvSpPr>
        <p:spPr bwMode="auto">
          <a:xfrm>
            <a:off x="4733926" y="5368925"/>
            <a:ext cx="53975" cy="58738"/>
          </a:xfrm>
          <a:custGeom>
            <a:avLst/>
            <a:gdLst>
              <a:gd name="T0" fmla="*/ 0 w 126"/>
              <a:gd name="T1" fmla="*/ 19 h 62"/>
              <a:gd name="T2" fmla="*/ 11 w 126"/>
              <a:gd name="T3" fmla="*/ 20 h 62"/>
              <a:gd name="T4" fmla="*/ 21 w 126"/>
              <a:gd name="T5" fmla="*/ 21 h 62"/>
              <a:gd name="T6" fmla="*/ 29 w 126"/>
              <a:gd name="T7" fmla="*/ 23 h 62"/>
              <a:gd name="T8" fmla="*/ 36 w 126"/>
              <a:gd name="T9" fmla="*/ 26 h 62"/>
              <a:gd name="T10" fmla="*/ 50 w 126"/>
              <a:gd name="T11" fmla="*/ 33 h 62"/>
              <a:gd name="T12" fmla="*/ 61 w 126"/>
              <a:gd name="T13" fmla="*/ 40 h 62"/>
              <a:gd name="T14" fmla="*/ 70 w 126"/>
              <a:gd name="T15" fmla="*/ 48 h 62"/>
              <a:gd name="T16" fmla="*/ 79 w 126"/>
              <a:gd name="T17" fmla="*/ 55 h 62"/>
              <a:gd name="T18" fmla="*/ 84 w 126"/>
              <a:gd name="T19" fmla="*/ 58 h 62"/>
              <a:gd name="T20" fmla="*/ 89 w 126"/>
              <a:gd name="T21" fmla="*/ 60 h 62"/>
              <a:gd name="T22" fmla="*/ 95 w 126"/>
              <a:gd name="T23" fmla="*/ 61 h 62"/>
              <a:gd name="T24" fmla="*/ 100 w 126"/>
              <a:gd name="T25" fmla="*/ 62 h 62"/>
              <a:gd name="T26" fmla="*/ 105 w 126"/>
              <a:gd name="T27" fmla="*/ 61 h 62"/>
              <a:gd name="T28" fmla="*/ 109 w 126"/>
              <a:gd name="T29" fmla="*/ 60 h 62"/>
              <a:gd name="T30" fmla="*/ 113 w 126"/>
              <a:gd name="T31" fmla="*/ 58 h 62"/>
              <a:gd name="T32" fmla="*/ 117 w 126"/>
              <a:gd name="T33" fmla="*/ 56 h 62"/>
              <a:gd name="T34" fmla="*/ 122 w 126"/>
              <a:gd name="T35" fmla="*/ 51 h 62"/>
              <a:gd name="T36" fmla="*/ 126 w 126"/>
              <a:gd name="T37" fmla="*/ 49 h 62"/>
              <a:gd name="T38" fmla="*/ 110 w 126"/>
              <a:gd name="T39" fmla="*/ 33 h 62"/>
              <a:gd name="T40" fmla="*/ 96 w 126"/>
              <a:gd name="T41" fmla="*/ 21 h 62"/>
              <a:gd name="T42" fmla="*/ 89 w 126"/>
              <a:gd name="T43" fmla="*/ 15 h 62"/>
              <a:gd name="T44" fmla="*/ 81 w 126"/>
              <a:gd name="T45" fmla="*/ 9 h 62"/>
              <a:gd name="T46" fmla="*/ 72 w 126"/>
              <a:gd name="T47" fmla="*/ 5 h 62"/>
              <a:gd name="T48" fmla="*/ 61 w 126"/>
              <a:gd name="T49" fmla="*/ 0 h 62"/>
              <a:gd name="T50" fmla="*/ 0 w 126"/>
              <a:gd name="T51" fmla="*/ 0 h 62"/>
              <a:gd name="T52" fmla="*/ 0 w 126"/>
              <a:gd name="T53" fmla="*/ 9 h 62"/>
              <a:gd name="T54" fmla="*/ 0 w 126"/>
              <a:gd name="T55" fmla="*/ 19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126" h="62">
                <a:moveTo>
                  <a:pt x="0" y="19"/>
                </a:moveTo>
                <a:lnTo>
                  <a:pt x="11" y="20"/>
                </a:lnTo>
                <a:lnTo>
                  <a:pt x="21" y="21"/>
                </a:lnTo>
                <a:lnTo>
                  <a:pt x="29" y="23"/>
                </a:lnTo>
                <a:lnTo>
                  <a:pt x="36" y="26"/>
                </a:lnTo>
                <a:lnTo>
                  <a:pt x="50" y="33"/>
                </a:lnTo>
                <a:lnTo>
                  <a:pt x="61" y="40"/>
                </a:lnTo>
                <a:lnTo>
                  <a:pt x="70" y="48"/>
                </a:lnTo>
                <a:lnTo>
                  <a:pt x="79" y="55"/>
                </a:lnTo>
                <a:lnTo>
                  <a:pt x="84" y="58"/>
                </a:lnTo>
                <a:lnTo>
                  <a:pt x="89" y="60"/>
                </a:lnTo>
                <a:lnTo>
                  <a:pt x="95" y="61"/>
                </a:lnTo>
                <a:lnTo>
                  <a:pt x="100" y="62"/>
                </a:lnTo>
                <a:lnTo>
                  <a:pt x="105" y="61"/>
                </a:lnTo>
                <a:lnTo>
                  <a:pt x="109" y="60"/>
                </a:lnTo>
                <a:lnTo>
                  <a:pt x="113" y="58"/>
                </a:lnTo>
                <a:lnTo>
                  <a:pt x="117" y="56"/>
                </a:lnTo>
                <a:lnTo>
                  <a:pt x="122" y="51"/>
                </a:lnTo>
                <a:lnTo>
                  <a:pt x="126" y="49"/>
                </a:lnTo>
                <a:lnTo>
                  <a:pt x="110" y="33"/>
                </a:lnTo>
                <a:lnTo>
                  <a:pt x="96" y="21"/>
                </a:lnTo>
                <a:lnTo>
                  <a:pt x="89" y="15"/>
                </a:lnTo>
                <a:lnTo>
                  <a:pt x="81" y="9"/>
                </a:lnTo>
                <a:lnTo>
                  <a:pt x="72" y="5"/>
                </a:lnTo>
                <a:lnTo>
                  <a:pt x="61" y="0"/>
                </a:lnTo>
                <a:lnTo>
                  <a:pt x="0" y="0"/>
                </a:lnTo>
                <a:lnTo>
                  <a:pt x="0" y="9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154" name="Freeform 106"/>
          <p:cNvSpPr>
            <a:spLocks/>
          </p:cNvSpPr>
          <p:nvPr>
            <p:custDataLst>
              <p:tags r:id="rId77"/>
            </p:custDataLst>
          </p:nvPr>
        </p:nvSpPr>
        <p:spPr bwMode="auto">
          <a:xfrm>
            <a:off x="7035801" y="5207001"/>
            <a:ext cx="30163" cy="55563"/>
          </a:xfrm>
          <a:custGeom>
            <a:avLst/>
            <a:gdLst>
              <a:gd name="T0" fmla="*/ 0 w 66"/>
              <a:gd name="T1" fmla="*/ 0 h 44"/>
              <a:gd name="T2" fmla="*/ 13 w 66"/>
              <a:gd name="T3" fmla="*/ 1 h 44"/>
              <a:gd name="T4" fmla="*/ 23 w 66"/>
              <a:gd name="T5" fmla="*/ 2 h 44"/>
              <a:gd name="T6" fmla="*/ 32 w 66"/>
              <a:gd name="T7" fmla="*/ 4 h 44"/>
              <a:gd name="T8" fmla="*/ 38 w 66"/>
              <a:gd name="T9" fmla="*/ 7 h 44"/>
              <a:gd name="T10" fmla="*/ 44 w 66"/>
              <a:gd name="T11" fmla="*/ 9 h 44"/>
              <a:gd name="T12" fmla="*/ 50 w 66"/>
              <a:gd name="T13" fmla="*/ 11 h 44"/>
              <a:gd name="T14" fmla="*/ 57 w 66"/>
              <a:gd name="T15" fmla="*/ 12 h 44"/>
              <a:gd name="T16" fmla="*/ 66 w 66"/>
              <a:gd name="T17" fmla="*/ 13 h 44"/>
              <a:gd name="T18" fmla="*/ 65 w 66"/>
              <a:gd name="T19" fmla="*/ 17 h 44"/>
              <a:gd name="T20" fmla="*/ 62 w 66"/>
              <a:gd name="T21" fmla="*/ 21 h 44"/>
              <a:gd name="T22" fmla="*/ 60 w 66"/>
              <a:gd name="T23" fmla="*/ 25 h 44"/>
              <a:gd name="T24" fmla="*/ 57 w 66"/>
              <a:gd name="T25" fmla="*/ 28 h 44"/>
              <a:gd name="T26" fmla="*/ 49 w 66"/>
              <a:gd name="T27" fmla="*/ 34 h 44"/>
              <a:gd name="T28" fmla="*/ 40 w 66"/>
              <a:gd name="T29" fmla="*/ 39 h 44"/>
              <a:gd name="T30" fmla="*/ 31 w 66"/>
              <a:gd name="T31" fmla="*/ 42 h 44"/>
              <a:gd name="T32" fmla="*/ 21 w 66"/>
              <a:gd name="T33" fmla="*/ 44 h 44"/>
              <a:gd name="T34" fmla="*/ 10 w 66"/>
              <a:gd name="T35" fmla="*/ 44 h 44"/>
              <a:gd name="T36" fmla="*/ 0 w 66"/>
              <a:gd name="T37" fmla="*/ 43 h 44"/>
              <a:gd name="T38" fmla="*/ 0 w 66"/>
              <a:gd name="T39" fmla="*/ 31 h 44"/>
              <a:gd name="T40" fmla="*/ 0 w 66"/>
              <a:gd name="T41" fmla="*/ 22 h 44"/>
              <a:gd name="T42" fmla="*/ 0 w 66"/>
              <a:gd name="T43" fmla="*/ 12 h 44"/>
              <a:gd name="T44" fmla="*/ 0 w 66"/>
              <a:gd name="T45" fmla="*/ 0 h 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66" h="44">
                <a:moveTo>
                  <a:pt x="0" y="0"/>
                </a:moveTo>
                <a:lnTo>
                  <a:pt x="13" y="1"/>
                </a:lnTo>
                <a:lnTo>
                  <a:pt x="23" y="2"/>
                </a:lnTo>
                <a:lnTo>
                  <a:pt x="32" y="4"/>
                </a:lnTo>
                <a:lnTo>
                  <a:pt x="38" y="7"/>
                </a:lnTo>
                <a:lnTo>
                  <a:pt x="44" y="9"/>
                </a:lnTo>
                <a:lnTo>
                  <a:pt x="50" y="11"/>
                </a:lnTo>
                <a:lnTo>
                  <a:pt x="57" y="12"/>
                </a:lnTo>
                <a:lnTo>
                  <a:pt x="66" y="13"/>
                </a:lnTo>
                <a:lnTo>
                  <a:pt x="65" y="17"/>
                </a:lnTo>
                <a:lnTo>
                  <a:pt x="62" y="21"/>
                </a:lnTo>
                <a:lnTo>
                  <a:pt x="60" y="25"/>
                </a:lnTo>
                <a:lnTo>
                  <a:pt x="57" y="28"/>
                </a:lnTo>
                <a:lnTo>
                  <a:pt x="49" y="34"/>
                </a:lnTo>
                <a:lnTo>
                  <a:pt x="40" y="39"/>
                </a:lnTo>
                <a:lnTo>
                  <a:pt x="31" y="42"/>
                </a:lnTo>
                <a:lnTo>
                  <a:pt x="21" y="44"/>
                </a:lnTo>
                <a:lnTo>
                  <a:pt x="10" y="44"/>
                </a:lnTo>
                <a:lnTo>
                  <a:pt x="0" y="43"/>
                </a:lnTo>
                <a:lnTo>
                  <a:pt x="0" y="31"/>
                </a:lnTo>
                <a:lnTo>
                  <a:pt x="0" y="22"/>
                </a:lnTo>
                <a:lnTo>
                  <a:pt x="0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155" name="Freeform 107"/>
          <p:cNvSpPr>
            <a:spLocks/>
          </p:cNvSpPr>
          <p:nvPr>
            <p:custDataLst>
              <p:tags r:id="rId78"/>
            </p:custDataLst>
          </p:nvPr>
        </p:nvSpPr>
        <p:spPr bwMode="auto">
          <a:xfrm>
            <a:off x="9190039" y="1978025"/>
            <a:ext cx="20637" cy="57150"/>
          </a:xfrm>
          <a:custGeom>
            <a:avLst/>
            <a:gdLst>
              <a:gd name="T0" fmla="*/ 46 w 46"/>
              <a:gd name="T1" fmla="*/ 0 h 16"/>
              <a:gd name="T2" fmla="*/ 40 w 46"/>
              <a:gd name="T3" fmla="*/ 7 h 16"/>
              <a:gd name="T4" fmla="*/ 35 w 46"/>
              <a:gd name="T5" fmla="*/ 13 h 16"/>
              <a:gd name="T6" fmla="*/ 31 w 46"/>
              <a:gd name="T7" fmla="*/ 14 h 16"/>
              <a:gd name="T8" fmla="*/ 29 w 46"/>
              <a:gd name="T9" fmla="*/ 15 h 16"/>
              <a:gd name="T10" fmla="*/ 26 w 46"/>
              <a:gd name="T11" fmla="*/ 16 h 16"/>
              <a:gd name="T12" fmla="*/ 23 w 46"/>
              <a:gd name="T13" fmla="*/ 16 h 16"/>
              <a:gd name="T14" fmla="*/ 16 w 46"/>
              <a:gd name="T15" fmla="*/ 14 h 16"/>
              <a:gd name="T16" fmla="*/ 11 w 46"/>
              <a:gd name="T17" fmla="*/ 11 h 16"/>
              <a:gd name="T18" fmla="*/ 5 w 46"/>
              <a:gd name="T19" fmla="*/ 6 h 16"/>
              <a:gd name="T20" fmla="*/ 0 w 46"/>
              <a:gd name="T21" fmla="*/ 0 h 16"/>
              <a:gd name="T22" fmla="*/ 46 w 46"/>
              <a:gd name="T23" fmla="*/ 0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6" h="16">
                <a:moveTo>
                  <a:pt x="46" y="0"/>
                </a:moveTo>
                <a:lnTo>
                  <a:pt x="40" y="7"/>
                </a:lnTo>
                <a:lnTo>
                  <a:pt x="35" y="13"/>
                </a:lnTo>
                <a:lnTo>
                  <a:pt x="31" y="14"/>
                </a:lnTo>
                <a:lnTo>
                  <a:pt x="29" y="15"/>
                </a:lnTo>
                <a:lnTo>
                  <a:pt x="26" y="16"/>
                </a:lnTo>
                <a:lnTo>
                  <a:pt x="23" y="16"/>
                </a:lnTo>
                <a:lnTo>
                  <a:pt x="16" y="14"/>
                </a:lnTo>
                <a:lnTo>
                  <a:pt x="11" y="11"/>
                </a:lnTo>
                <a:lnTo>
                  <a:pt x="5" y="6"/>
                </a:lnTo>
                <a:lnTo>
                  <a:pt x="0" y="0"/>
                </a:lnTo>
                <a:lnTo>
                  <a:pt x="4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156" name="Freeform 108"/>
          <p:cNvSpPr>
            <a:spLocks/>
          </p:cNvSpPr>
          <p:nvPr>
            <p:custDataLst>
              <p:tags r:id="rId79"/>
            </p:custDataLst>
          </p:nvPr>
        </p:nvSpPr>
        <p:spPr bwMode="auto">
          <a:xfrm>
            <a:off x="9366251" y="2011363"/>
            <a:ext cx="15875" cy="57150"/>
          </a:xfrm>
          <a:custGeom>
            <a:avLst/>
            <a:gdLst>
              <a:gd name="T0" fmla="*/ 39 w 39"/>
              <a:gd name="T1" fmla="*/ 25 h 26"/>
              <a:gd name="T2" fmla="*/ 36 w 39"/>
              <a:gd name="T3" fmla="*/ 26 h 26"/>
              <a:gd name="T4" fmla="*/ 32 w 39"/>
              <a:gd name="T5" fmla="*/ 26 h 26"/>
              <a:gd name="T6" fmla="*/ 28 w 39"/>
              <a:gd name="T7" fmla="*/ 26 h 26"/>
              <a:gd name="T8" fmla="*/ 25 w 39"/>
              <a:gd name="T9" fmla="*/ 25 h 26"/>
              <a:gd name="T10" fmla="*/ 18 w 39"/>
              <a:gd name="T11" fmla="*/ 22 h 26"/>
              <a:gd name="T12" fmla="*/ 12 w 39"/>
              <a:gd name="T13" fmla="*/ 18 h 26"/>
              <a:gd name="T14" fmla="*/ 7 w 39"/>
              <a:gd name="T15" fmla="*/ 13 h 26"/>
              <a:gd name="T16" fmla="*/ 3 w 39"/>
              <a:gd name="T17" fmla="*/ 7 h 26"/>
              <a:gd name="T18" fmla="*/ 1 w 39"/>
              <a:gd name="T19" fmla="*/ 3 h 26"/>
              <a:gd name="T20" fmla="*/ 0 w 39"/>
              <a:gd name="T21" fmla="*/ 0 h 26"/>
              <a:gd name="T22" fmla="*/ 11 w 39"/>
              <a:gd name="T23" fmla="*/ 6 h 26"/>
              <a:gd name="T24" fmla="*/ 22 w 39"/>
              <a:gd name="T25" fmla="*/ 13 h 26"/>
              <a:gd name="T26" fmla="*/ 33 w 39"/>
              <a:gd name="T27" fmla="*/ 20 h 26"/>
              <a:gd name="T28" fmla="*/ 39 w 39"/>
              <a:gd name="T29" fmla="*/ 25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9" h="26">
                <a:moveTo>
                  <a:pt x="39" y="25"/>
                </a:moveTo>
                <a:lnTo>
                  <a:pt x="36" y="26"/>
                </a:lnTo>
                <a:lnTo>
                  <a:pt x="32" y="26"/>
                </a:lnTo>
                <a:lnTo>
                  <a:pt x="28" y="26"/>
                </a:lnTo>
                <a:lnTo>
                  <a:pt x="25" y="25"/>
                </a:lnTo>
                <a:lnTo>
                  <a:pt x="18" y="22"/>
                </a:lnTo>
                <a:lnTo>
                  <a:pt x="12" y="18"/>
                </a:lnTo>
                <a:lnTo>
                  <a:pt x="7" y="13"/>
                </a:lnTo>
                <a:lnTo>
                  <a:pt x="3" y="7"/>
                </a:lnTo>
                <a:lnTo>
                  <a:pt x="1" y="3"/>
                </a:lnTo>
                <a:lnTo>
                  <a:pt x="0" y="0"/>
                </a:lnTo>
                <a:lnTo>
                  <a:pt x="11" y="6"/>
                </a:lnTo>
                <a:lnTo>
                  <a:pt x="22" y="13"/>
                </a:lnTo>
                <a:lnTo>
                  <a:pt x="33" y="20"/>
                </a:lnTo>
                <a:lnTo>
                  <a:pt x="39" y="2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157" name="Freeform 109"/>
          <p:cNvSpPr>
            <a:spLocks/>
          </p:cNvSpPr>
          <p:nvPr>
            <p:custDataLst>
              <p:tags r:id="rId80"/>
            </p:custDataLst>
          </p:nvPr>
        </p:nvSpPr>
        <p:spPr bwMode="auto">
          <a:xfrm>
            <a:off x="8815388" y="2241550"/>
            <a:ext cx="4762" cy="58738"/>
          </a:xfrm>
          <a:custGeom>
            <a:avLst/>
            <a:gdLst>
              <a:gd name="T0" fmla="*/ 11 w 11"/>
              <a:gd name="T1" fmla="*/ 0 h 25"/>
              <a:gd name="T2" fmla="*/ 11 w 11"/>
              <a:gd name="T3" fmla="*/ 5 h 25"/>
              <a:gd name="T4" fmla="*/ 10 w 11"/>
              <a:gd name="T5" fmla="*/ 12 h 25"/>
              <a:gd name="T6" fmla="*/ 9 w 11"/>
              <a:gd name="T7" fmla="*/ 20 h 25"/>
              <a:gd name="T8" fmla="*/ 4 w 11"/>
              <a:gd name="T9" fmla="*/ 25 h 25"/>
              <a:gd name="T10" fmla="*/ 2 w 11"/>
              <a:gd name="T11" fmla="*/ 23 h 25"/>
              <a:gd name="T12" fmla="*/ 1 w 11"/>
              <a:gd name="T13" fmla="*/ 20 h 25"/>
              <a:gd name="T14" fmla="*/ 0 w 11"/>
              <a:gd name="T15" fmla="*/ 15 h 25"/>
              <a:gd name="T16" fmla="*/ 0 w 11"/>
              <a:gd name="T17" fmla="*/ 12 h 25"/>
              <a:gd name="T18" fmla="*/ 1 w 11"/>
              <a:gd name="T19" fmla="*/ 9 h 25"/>
              <a:gd name="T20" fmla="*/ 3 w 11"/>
              <a:gd name="T21" fmla="*/ 5 h 25"/>
              <a:gd name="T22" fmla="*/ 6 w 11"/>
              <a:gd name="T23" fmla="*/ 2 h 25"/>
              <a:gd name="T24" fmla="*/ 11 w 11"/>
              <a:gd name="T25" fmla="*/ 0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1" h="25">
                <a:moveTo>
                  <a:pt x="11" y="0"/>
                </a:moveTo>
                <a:lnTo>
                  <a:pt x="11" y="5"/>
                </a:lnTo>
                <a:lnTo>
                  <a:pt x="10" y="12"/>
                </a:lnTo>
                <a:lnTo>
                  <a:pt x="9" y="20"/>
                </a:lnTo>
                <a:lnTo>
                  <a:pt x="4" y="25"/>
                </a:lnTo>
                <a:lnTo>
                  <a:pt x="2" y="23"/>
                </a:lnTo>
                <a:lnTo>
                  <a:pt x="1" y="20"/>
                </a:lnTo>
                <a:lnTo>
                  <a:pt x="0" y="15"/>
                </a:lnTo>
                <a:lnTo>
                  <a:pt x="0" y="12"/>
                </a:lnTo>
                <a:lnTo>
                  <a:pt x="1" y="9"/>
                </a:lnTo>
                <a:lnTo>
                  <a:pt x="3" y="5"/>
                </a:lnTo>
                <a:lnTo>
                  <a:pt x="6" y="2"/>
                </a:lnTo>
                <a:lnTo>
                  <a:pt x="11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158" name="Freeform 110"/>
          <p:cNvSpPr>
            <a:spLocks/>
          </p:cNvSpPr>
          <p:nvPr>
            <p:custDataLst>
              <p:tags r:id="rId81"/>
            </p:custDataLst>
          </p:nvPr>
        </p:nvSpPr>
        <p:spPr bwMode="auto">
          <a:xfrm>
            <a:off x="8629650" y="2803525"/>
            <a:ext cx="14288" cy="58738"/>
          </a:xfrm>
          <a:custGeom>
            <a:avLst/>
            <a:gdLst>
              <a:gd name="T0" fmla="*/ 20 w 20"/>
              <a:gd name="T1" fmla="*/ 0 h 31"/>
              <a:gd name="T2" fmla="*/ 16 w 20"/>
              <a:gd name="T3" fmla="*/ 12 h 31"/>
              <a:gd name="T4" fmla="*/ 10 w 20"/>
              <a:gd name="T5" fmla="*/ 20 h 31"/>
              <a:gd name="T6" fmla="*/ 5 w 20"/>
              <a:gd name="T7" fmla="*/ 26 h 31"/>
              <a:gd name="T8" fmla="*/ 0 w 20"/>
              <a:gd name="T9" fmla="*/ 31 h 31"/>
              <a:gd name="T10" fmla="*/ 0 w 20"/>
              <a:gd name="T11" fmla="*/ 25 h 31"/>
              <a:gd name="T12" fmla="*/ 1 w 20"/>
              <a:gd name="T13" fmla="*/ 19 h 31"/>
              <a:gd name="T14" fmla="*/ 2 w 20"/>
              <a:gd name="T15" fmla="*/ 13 h 31"/>
              <a:gd name="T16" fmla="*/ 5 w 20"/>
              <a:gd name="T17" fmla="*/ 9 h 31"/>
              <a:gd name="T18" fmla="*/ 8 w 20"/>
              <a:gd name="T19" fmla="*/ 6 h 31"/>
              <a:gd name="T20" fmla="*/ 11 w 20"/>
              <a:gd name="T21" fmla="*/ 3 h 31"/>
              <a:gd name="T22" fmla="*/ 16 w 20"/>
              <a:gd name="T23" fmla="*/ 0 h 31"/>
              <a:gd name="T24" fmla="*/ 20 w 20"/>
              <a:gd name="T25" fmla="*/ 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0" h="31">
                <a:moveTo>
                  <a:pt x="20" y="0"/>
                </a:moveTo>
                <a:lnTo>
                  <a:pt x="16" y="12"/>
                </a:lnTo>
                <a:lnTo>
                  <a:pt x="10" y="20"/>
                </a:lnTo>
                <a:lnTo>
                  <a:pt x="5" y="26"/>
                </a:lnTo>
                <a:lnTo>
                  <a:pt x="0" y="31"/>
                </a:lnTo>
                <a:lnTo>
                  <a:pt x="0" y="25"/>
                </a:lnTo>
                <a:lnTo>
                  <a:pt x="1" y="19"/>
                </a:lnTo>
                <a:lnTo>
                  <a:pt x="2" y="13"/>
                </a:lnTo>
                <a:lnTo>
                  <a:pt x="5" y="9"/>
                </a:lnTo>
                <a:lnTo>
                  <a:pt x="8" y="6"/>
                </a:lnTo>
                <a:lnTo>
                  <a:pt x="11" y="3"/>
                </a:lnTo>
                <a:lnTo>
                  <a:pt x="16" y="0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159" name="Freeform 111"/>
          <p:cNvSpPr>
            <a:spLocks/>
          </p:cNvSpPr>
          <p:nvPr>
            <p:custDataLst>
              <p:tags r:id="rId82"/>
            </p:custDataLst>
          </p:nvPr>
        </p:nvSpPr>
        <p:spPr bwMode="auto">
          <a:xfrm>
            <a:off x="8647114" y="2738438"/>
            <a:ext cx="15875" cy="57150"/>
          </a:xfrm>
          <a:custGeom>
            <a:avLst/>
            <a:gdLst>
              <a:gd name="T0" fmla="*/ 13 w 26"/>
              <a:gd name="T1" fmla="*/ 37 h 37"/>
              <a:gd name="T2" fmla="*/ 0 w 26"/>
              <a:gd name="T3" fmla="*/ 12 h 37"/>
              <a:gd name="T4" fmla="*/ 6 w 26"/>
              <a:gd name="T5" fmla="*/ 7 h 37"/>
              <a:gd name="T6" fmla="*/ 13 w 26"/>
              <a:gd name="T7" fmla="*/ 4 h 37"/>
              <a:gd name="T8" fmla="*/ 21 w 26"/>
              <a:gd name="T9" fmla="*/ 1 h 37"/>
              <a:gd name="T10" fmla="*/ 26 w 26"/>
              <a:gd name="T11" fmla="*/ 0 h 37"/>
              <a:gd name="T12" fmla="*/ 26 w 26"/>
              <a:gd name="T13" fmla="*/ 6 h 37"/>
              <a:gd name="T14" fmla="*/ 25 w 26"/>
              <a:gd name="T15" fmla="*/ 11 h 37"/>
              <a:gd name="T16" fmla="*/ 24 w 26"/>
              <a:gd name="T17" fmla="*/ 17 h 37"/>
              <a:gd name="T18" fmla="*/ 23 w 26"/>
              <a:gd name="T19" fmla="*/ 21 h 37"/>
              <a:gd name="T20" fmla="*/ 18 w 26"/>
              <a:gd name="T21" fmla="*/ 29 h 37"/>
              <a:gd name="T22" fmla="*/ 13 w 26"/>
              <a:gd name="T23" fmla="*/ 37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6" h="37">
                <a:moveTo>
                  <a:pt x="13" y="37"/>
                </a:moveTo>
                <a:lnTo>
                  <a:pt x="0" y="12"/>
                </a:lnTo>
                <a:lnTo>
                  <a:pt x="6" y="7"/>
                </a:lnTo>
                <a:lnTo>
                  <a:pt x="13" y="4"/>
                </a:lnTo>
                <a:lnTo>
                  <a:pt x="21" y="1"/>
                </a:lnTo>
                <a:lnTo>
                  <a:pt x="26" y="0"/>
                </a:lnTo>
                <a:lnTo>
                  <a:pt x="26" y="6"/>
                </a:lnTo>
                <a:lnTo>
                  <a:pt x="25" y="11"/>
                </a:lnTo>
                <a:lnTo>
                  <a:pt x="24" y="17"/>
                </a:lnTo>
                <a:lnTo>
                  <a:pt x="23" y="21"/>
                </a:lnTo>
                <a:lnTo>
                  <a:pt x="18" y="29"/>
                </a:lnTo>
                <a:lnTo>
                  <a:pt x="13" y="3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160" name="Freeform 112"/>
          <p:cNvSpPr>
            <a:spLocks/>
          </p:cNvSpPr>
          <p:nvPr>
            <p:custDataLst>
              <p:tags r:id="rId83"/>
            </p:custDataLst>
          </p:nvPr>
        </p:nvSpPr>
        <p:spPr bwMode="auto">
          <a:xfrm>
            <a:off x="8535989" y="2587626"/>
            <a:ext cx="1587" cy="60325"/>
          </a:xfrm>
          <a:custGeom>
            <a:avLst/>
            <a:gdLst>
              <a:gd name="T0" fmla="*/ 0 w 7"/>
              <a:gd name="T1" fmla="*/ 18 h 18"/>
              <a:gd name="T2" fmla="*/ 0 w 7"/>
              <a:gd name="T3" fmla="*/ 0 h 18"/>
              <a:gd name="T4" fmla="*/ 7 w 7"/>
              <a:gd name="T5" fmla="*/ 12 h 18"/>
              <a:gd name="T6" fmla="*/ 0 w 7"/>
              <a:gd name="T7" fmla="*/ 18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" h="18">
                <a:moveTo>
                  <a:pt x="0" y="18"/>
                </a:moveTo>
                <a:lnTo>
                  <a:pt x="0" y="0"/>
                </a:lnTo>
                <a:lnTo>
                  <a:pt x="7" y="12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161" name="Freeform 113"/>
          <p:cNvSpPr>
            <a:spLocks/>
          </p:cNvSpPr>
          <p:nvPr>
            <p:custDataLst>
              <p:tags r:id="rId84"/>
            </p:custDataLst>
          </p:nvPr>
        </p:nvSpPr>
        <p:spPr bwMode="auto">
          <a:xfrm>
            <a:off x="5387976" y="1714500"/>
            <a:ext cx="9525" cy="57150"/>
          </a:xfrm>
          <a:custGeom>
            <a:avLst/>
            <a:gdLst>
              <a:gd name="T0" fmla="*/ 0 w 33"/>
              <a:gd name="T1" fmla="*/ 12 h 31"/>
              <a:gd name="T2" fmla="*/ 19 w 33"/>
              <a:gd name="T3" fmla="*/ 0 h 31"/>
              <a:gd name="T4" fmla="*/ 24 w 33"/>
              <a:gd name="T5" fmla="*/ 5 h 31"/>
              <a:gd name="T6" fmla="*/ 28 w 33"/>
              <a:gd name="T7" fmla="*/ 12 h 31"/>
              <a:gd name="T8" fmla="*/ 32 w 33"/>
              <a:gd name="T9" fmla="*/ 22 h 31"/>
              <a:gd name="T10" fmla="*/ 33 w 33"/>
              <a:gd name="T11" fmla="*/ 31 h 31"/>
              <a:gd name="T12" fmla="*/ 27 w 33"/>
              <a:gd name="T13" fmla="*/ 30 h 31"/>
              <a:gd name="T14" fmla="*/ 22 w 33"/>
              <a:gd name="T15" fmla="*/ 28 h 31"/>
              <a:gd name="T16" fmla="*/ 16 w 33"/>
              <a:gd name="T17" fmla="*/ 25 h 31"/>
              <a:gd name="T18" fmla="*/ 11 w 33"/>
              <a:gd name="T19" fmla="*/ 22 h 31"/>
              <a:gd name="T20" fmla="*/ 3 w 33"/>
              <a:gd name="T21" fmla="*/ 15 h 31"/>
              <a:gd name="T22" fmla="*/ 0 w 33"/>
              <a:gd name="T23" fmla="*/ 12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3" h="31">
                <a:moveTo>
                  <a:pt x="0" y="12"/>
                </a:moveTo>
                <a:lnTo>
                  <a:pt x="19" y="0"/>
                </a:lnTo>
                <a:lnTo>
                  <a:pt x="24" y="5"/>
                </a:lnTo>
                <a:lnTo>
                  <a:pt x="28" y="12"/>
                </a:lnTo>
                <a:lnTo>
                  <a:pt x="32" y="22"/>
                </a:lnTo>
                <a:lnTo>
                  <a:pt x="33" y="31"/>
                </a:lnTo>
                <a:lnTo>
                  <a:pt x="27" y="30"/>
                </a:lnTo>
                <a:lnTo>
                  <a:pt x="22" y="28"/>
                </a:lnTo>
                <a:lnTo>
                  <a:pt x="16" y="25"/>
                </a:lnTo>
                <a:lnTo>
                  <a:pt x="11" y="22"/>
                </a:lnTo>
                <a:lnTo>
                  <a:pt x="3" y="15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162" name="Freeform 114"/>
          <p:cNvSpPr>
            <a:spLocks/>
          </p:cNvSpPr>
          <p:nvPr>
            <p:custDataLst>
              <p:tags r:id="rId85"/>
            </p:custDataLst>
          </p:nvPr>
        </p:nvSpPr>
        <p:spPr bwMode="auto">
          <a:xfrm>
            <a:off x="5373689" y="1482725"/>
            <a:ext cx="3175" cy="57150"/>
          </a:xfrm>
          <a:custGeom>
            <a:avLst/>
            <a:gdLst>
              <a:gd name="T0" fmla="*/ 14 w 14"/>
              <a:gd name="T1" fmla="*/ 0 h 6"/>
              <a:gd name="T2" fmla="*/ 0 w 14"/>
              <a:gd name="T3" fmla="*/ 6 h 6"/>
              <a:gd name="T4" fmla="*/ 14 w 14"/>
              <a:gd name="T5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4" h="6">
                <a:moveTo>
                  <a:pt x="14" y="0"/>
                </a:moveTo>
                <a:lnTo>
                  <a:pt x="0" y="6"/>
                </a:lnTo>
                <a:lnTo>
                  <a:pt x="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163" name="Freeform 115"/>
          <p:cNvSpPr>
            <a:spLocks/>
          </p:cNvSpPr>
          <p:nvPr>
            <p:custDataLst>
              <p:tags r:id="rId86"/>
            </p:custDataLst>
          </p:nvPr>
        </p:nvSpPr>
        <p:spPr bwMode="auto">
          <a:xfrm>
            <a:off x="6854825" y="3260726"/>
            <a:ext cx="25400" cy="55563"/>
          </a:xfrm>
          <a:custGeom>
            <a:avLst/>
            <a:gdLst>
              <a:gd name="T0" fmla="*/ 59 w 59"/>
              <a:gd name="T1" fmla="*/ 6 h 31"/>
              <a:gd name="T2" fmla="*/ 57 w 59"/>
              <a:gd name="T3" fmla="*/ 11 h 31"/>
              <a:gd name="T4" fmla="*/ 53 w 59"/>
              <a:gd name="T5" fmla="*/ 15 h 31"/>
              <a:gd name="T6" fmla="*/ 49 w 59"/>
              <a:gd name="T7" fmla="*/ 19 h 31"/>
              <a:gd name="T8" fmla="*/ 45 w 59"/>
              <a:gd name="T9" fmla="*/ 24 h 31"/>
              <a:gd name="T10" fmla="*/ 40 w 59"/>
              <a:gd name="T11" fmla="*/ 27 h 31"/>
              <a:gd name="T12" fmla="*/ 36 w 59"/>
              <a:gd name="T13" fmla="*/ 29 h 31"/>
              <a:gd name="T14" fmla="*/ 30 w 59"/>
              <a:gd name="T15" fmla="*/ 31 h 31"/>
              <a:gd name="T16" fmla="*/ 26 w 59"/>
              <a:gd name="T17" fmla="*/ 31 h 31"/>
              <a:gd name="T18" fmla="*/ 21 w 59"/>
              <a:gd name="T19" fmla="*/ 31 h 31"/>
              <a:gd name="T20" fmla="*/ 17 w 59"/>
              <a:gd name="T21" fmla="*/ 30 h 31"/>
              <a:gd name="T22" fmla="*/ 14 w 59"/>
              <a:gd name="T23" fmla="*/ 29 h 31"/>
              <a:gd name="T24" fmla="*/ 11 w 59"/>
              <a:gd name="T25" fmla="*/ 27 h 31"/>
              <a:gd name="T26" fmla="*/ 4 w 59"/>
              <a:gd name="T27" fmla="*/ 20 h 31"/>
              <a:gd name="T28" fmla="*/ 0 w 59"/>
              <a:gd name="T29" fmla="*/ 12 h 31"/>
              <a:gd name="T30" fmla="*/ 1 w 59"/>
              <a:gd name="T31" fmla="*/ 9 h 31"/>
              <a:gd name="T32" fmla="*/ 3 w 59"/>
              <a:gd name="T33" fmla="*/ 6 h 31"/>
              <a:gd name="T34" fmla="*/ 5 w 59"/>
              <a:gd name="T35" fmla="*/ 4 h 31"/>
              <a:gd name="T36" fmla="*/ 8 w 59"/>
              <a:gd name="T37" fmla="*/ 3 h 31"/>
              <a:gd name="T38" fmla="*/ 16 w 59"/>
              <a:gd name="T39" fmla="*/ 1 h 31"/>
              <a:gd name="T40" fmla="*/ 24 w 59"/>
              <a:gd name="T41" fmla="*/ 0 h 31"/>
              <a:gd name="T42" fmla="*/ 34 w 59"/>
              <a:gd name="T43" fmla="*/ 0 h 31"/>
              <a:gd name="T44" fmla="*/ 42 w 59"/>
              <a:gd name="T45" fmla="*/ 2 h 31"/>
              <a:gd name="T46" fmla="*/ 51 w 59"/>
              <a:gd name="T47" fmla="*/ 4 h 31"/>
              <a:gd name="T48" fmla="*/ 59 w 59"/>
              <a:gd name="T49" fmla="*/ 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164" name="Freeform 116"/>
          <p:cNvSpPr>
            <a:spLocks/>
          </p:cNvSpPr>
          <p:nvPr>
            <p:custDataLst>
              <p:tags r:id="rId87"/>
            </p:custDataLst>
          </p:nvPr>
        </p:nvSpPr>
        <p:spPr bwMode="auto">
          <a:xfrm>
            <a:off x="6557963" y="3122614"/>
            <a:ext cx="19050" cy="58737"/>
          </a:xfrm>
          <a:custGeom>
            <a:avLst/>
            <a:gdLst>
              <a:gd name="T0" fmla="*/ 14 w 47"/>
              <a:gd name="T1" fmla="*/ 0 h 68"/>
              <a:gd name="T2" fmla="*/ 8 w 47"/>
              <a:gd name="T3" fmla="*/ 10 h 68"/>
              <a:gd name="T4" fmla="*/ 4 w 47"/>
              <a:gd name="T5" fmla="*/ 19 h 68"/>
              <a:gd name="T6" fmla="*/ 2 w 47"/>
              <a:gd name="T7" fmla="*/ 28 h 68"/>
              <a:gd name="T8" fmla="*/ 0 w 47"/>
              <a:gd name="T9" fmla="*/ 37 h 68"/>
              <a:gd name="T10" fmla="*/ 0 w 47"/>
              <a:gd name="T11" fmla="*/ 42 h 68"/>
              <a:gd name="T12" fmla="*/ 2 w 47"/>
              <a:gd name="T13" fmla="*/ 47 h 68"/>
              <a:gd name="T14" fmla="*/ 3 w 47"/>
              <a:gd name="T15" fmla="*/ 51 h 68"/>
              <a:gd name="T16" fmla="*/ 5 w 47"/>
              <a:gd name="T17" fmla="*/ 55 h 68"/>
              <a:gd name="T18" fmla="*/ 7 w 47"/>
              <a:gd name="T19" fmla="*/ 58 h 68"/>
              <a:gd name="T20" fmla="*/ 9 w 47"/>
              <a:gd name="T21" fmla="*/ 60 h 68"/>
              <a:gd name="T22" fmla="*/ 13 w 47"/>
              <a:gd name="T23" fmla="*/ 62 h 68"/>
              <a:gd name="T24" fmla="*/ 16 w 47"/>
              <a:gd name="T25" fmla="*/ 64 h 68"/>
              <a:gd name="T26" fmla="*/ 22 w 47"/>
              <a:gd name="T27" fmla="*/ 67 h 68"/>
              <a:gd name="T28" fmla="*/ 31 w 47"/>
              <a:gd name="T29" fmla="*/ 68 h 68"/>
              <a:gd name="T30" fmla="*/ 39 w 47"/>
              <a:gd name="T31" fmla="*/ 68 h 68"/>
              <a:gd name="T32" fmla="*/ 47 w 47"/>
              <a:gd name="T33" fmla="*/ 68 h 68"/>
              <a:gd name="T34" fmla="*/ 41 w 47"/>
              <a:gd name="T35" fmla="*/ 58 h 68"/>
              <a:gd name="T36" fmla="*/ 38 w 47"/>
              <a:gd name="T37" fmla="*/ 48 h 68"/>
              <a:gd name="T38" fmla="*/ 36 w 47"/>
              <a:gd name="T39" fmla="*/ 43 h 68"/>
              <a:gd name="T40" fmla="*/ 35 w 47"/>
              <a:gd name="T41" fmla="*/ 38 h 68"/>
              <a:gd name="T42" fmla="*/ 33 w 47"/>
              <a:gd name="T43" fmla="*/ 31 h 68"/>
              <a:gd name="T44" fmla="*/ 33 w 47"/>
              <a:gd name="T45" fmla="*/ 25 h 68"/>
              <a:gd name="T46" fmla="*/ 24 w 47"/>
              <a:gd name="T47" fmla="*/ 13 h 68"/>
              <a:gd name="T48" fmla="*/ 14 w 47"/>
              <a:gd name="T49" fmla="*/ 0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7" h="68">
                <a:moveTo>
                  <a:pt x="14" y="0"/>
                </a:moveTo>
                <a:lnTo>
                  <a:pt x="8" y="10"/>
                </a:lnTo>
                <a:lnTo>
                  <a:pt x="4" y="19"/>
                </a:lnTo>
                <a:lnTo>
                  <a:pt x="2" y="28"/>
                </a:lnTo>
                <a:lnTo>
                  <a:pt x="0" y="37"/>
                </a:lnTo>
                <a:lnTo>
                  <a:pt x="0" y="42"/>
                </a:lnTo>
                <a:lnTo>
                  <a:pt x="2" y="47"/>
                </a:lnTo>
                <a:lnTo>
                  <a:pt x="3" y="51"/>
                </a:lnTo>
                <a:lnTo>
                  <a:pt x="5" y="55"/>
                </a:lnTo>
                <a:lnTo>
                  <a:pt x="7" y="58"/>
                </a:lnTo>
                <a:lnTo>
                  <a:pt x="9" y="60"/>
                </a:lnTo>
                <a:lnTo>
                  <a:pt x="13" y="62"/>
                </a:lnTo>
                <a:lnTo>
                  <a:pt x="16" y="64"/>
                </a:lnTo>
                <a:lnTo>
                  <a:pt x="22" y="67"/>
                </a:lnTo>
                <a:lnTo>
                  <a:pt x="31" y="68"/>
                </a:lnTo>
                <a:lnTo>
                  <a:pt x="39" y="68"/>
                </a:lnTo>
                <a:lnTo>
                  <a:pt x="47" y="68"/>
                </a:lnTo>
                <a:lnTo>
                  <a:pt x="41" y="58"/>
                </a:lnTo>
                <a:lnTo>
                  <a:pt x="38" y="48"/>
                </a:lnTo>
                <a:lnTo>
                  <a:pt x="36" y="43"/>
                </a:lnTo>
                <a:lnTo>
                  <a:pt x="35" y="38"/>
                </a:lnTo>
                <a:lnTo>
                  <a:pt x="33" y="31"/>
                </a:lnTo>
                <a:lnTo>
                  <a:pt x="33" y="25"/>
                </a:lnTo>
                <a:lnTo>
                  <a:pt x="24" y="13"/>
                </a:lnTo>
                <a:lnTo>
                  <a:pt x="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grpSp>
        <p:nvGrpSpPr>
          <p:cNvPr id="2165" name="Group 117"/>
          <p:cNvGrpSpPr>
            <a:grpSpLocks/>
          </p:cNvGrpSpPr>
          <p:nvPr>
            <p:custDataLst>
              <p:tags r:id="rId88"/>
            </p:custDataLst>
          </p:nvPr>
        </p:nvGrpSpPr>
        <p:grpSpPr bwMode="auto">
          <a:xfrm>
            <a:off x="7329489" y="3309938"/>
            <a:ext cx="46037" cy="374650"/>
            <a:chOff x="3950" y="2430"/>
            <a:chExt cx="36" cy="234"/>
          </a:xfrm>
        </p:grpSpPr>
        <p:sp>
          <p:nvSpPr>
            <p:cNvPr id="2166" name="Freeform 118"/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>
                <a:gd name="T0" fmla="*/ 0 w 19"/>
                <a:gd name="T1" fmla="*/ 0 h 20"/>
                <a:gd name="T2" fmla="*/ 0 w 19"/>
                <a:gd name="T3" fmla="*/ 20 h 20"/>
                <a:gd name="T4" fmla="*/ 19 w 19"/>
                <a:gd name="T5" fmla="*/ 14 h 20"/>
                <a:gd name="T6" fmla="*/ 14 w 19"/>
                <a:gd name="T7" fmla="*/ 8 h 20"/>
                <a:gd name="T8" fmla="*/ 10 w 19"/>
                <a:gd name="T9" fmla="*/ 4 h 20"/>
                <a:gd name="T10" fmla="*/ 4 w 19"/>
                <a:gd name="T11" fmla="*/ 1 h 20"/>
                <a:gd name="T12" fmla="*/ 0 w 19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67" name="Freeform 119"/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>
                <a:gd name="T0" fmla="*/ 13 w 19"/>
                <a:gd name="T1" fmla="*/ 12 h 12"/>
                <a:gd name="T2" fmla="*/ 19 w 19"/>
                <a:gd name="T3" fmla="*/ 0 h 12"/>
                <a:gd name="T4" fmla="*/ 0 w 19"/>
                <a:gd name="T5" fmla="*/ 0 h 12"/>
                <a:gd name="T6" fmla="*/ 13 w 19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68" name="Freeform 120"/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>
                <a:gd name="T0" fmla="*/ 0 w 19"/>
                <a:gd name="T1" fmla="*/ 10 w 19"/>
                <a:gd name="T2" fmla="*/ 19 w 19"/>
                <a:gd name="T3" fmla="*/ 10 w 19"/>
                <a:gd name="T4" fmla="*/ 0 w 19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19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69" name="Rectangle 121"/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70" name="Line 122"/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71" name="Freeform 123"/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>
                <a:gd name="T0" fmla="*/ 6 w 6"/>
                <a:gd name="T1" fmla="*/ 0 h 3"/>
                <a:gd name="T2" fmla="*/ 5 w 6"/>
                <a:gd name="T3" fmla="*/ 1 h 3"/>
                <a:gd name="T4" fmla="*/ 3 w 6"/>
                <a:gd name="T5" fmla="*/ 2 h 3"/>
                <a:gd name="T6" fmla="*/ 1 w 6"/>
                <a:gd name="T7" fmla="*/ 3 h 3"/>
                <a:gd name="T8" fmla="*/ 0 w 6"/>
                <a:gd name="T9" fmla="*/ 2 h 3"/>
                <a:gd name="T10" fmla="*/ 0 w 6"/>
                <a:gd name="T11" fmla="*/ 2 h 3"/>
                <a:gd name="T12" fmla="*/ 0 w 6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72" name="Freeform 124"/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>
                <a:gd name="T0" fmla="*/ 14 w 14"/>
                <a:gd name="T1" fmla="*/ 0 h 24"/>
                <a:gd name="T2" fmla="*/ 13 w 14"/>
                <a:gd name="T3" fmla="*/ 5 h 24"/>
                <a:gd name="T4" fmla="*/ 9 w 14"/>
                <a:gd name="T5" fmla="*/ 12 h 24"/>
                <a:gd name="T6" fmla="*/ 5 w 14"/>
                <a:gd name="T7" fmla="*/ 19 h 24"/>
                <a:gd name="T8" fmla="*/ 0 w 14"/>
                <a:gd name="T9" fmla="*/ 24 h 24"/>
                <a:gd name="T10" fmla="*/ 0 w 14"/>
                <a:gd name="T11" fmla="*/ 16 h 24"/>
                <a:gd name="T12" fmla="*/ 0 w 14"/>
                <a:gd name="T1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73" name="Line 125"/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74" name="Freeform 126"/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>
                <a:gd name="T0" fmla="*/ 13 w 13"/>
                <a:gd name="T1" fmla="*/ 12 h 12"/>
                <a:gd name="T2" fmla="*/ 0 w 13"/>
                <a:gd name="T3" fmla="*/ 0 h 12"/>
                <a:gd name="T4" fmla="*/ 13 w 13"/>
                <a:gd name="T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75" name="Freeform 127"/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>
                <a:gd name="T0" fmla="*/ 0 w 7"/>
                <a:gd name="T1" fmla="*/ 0 h 19"/>
                <a:gd name="T2" fmla="*/ 0 w 7"/>
                <a:gd name="T3" fmla="*/ 19 h 19"/>
                <a:gd name="T4" fmla="*/ 0 w 7"/>
                <a:gd name="T5" fmla="*/ 0 h 19"/>
                <a:gd name="T6" fmla="*/ 7 w 7"/>
                <a:gd name="T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76" name="Line 128"/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77" name="Freeform 129"/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>
                <a:gd name="T0" fmla="*/ 0 w 8"/>
                <a:gd name="T1" fmla="*/ 18 h 18"/>
                <a:gd name="T2" fmla="*/ 8 w 8"/>
                <a:gd name="T3" fmla="*/ 6 h 18"/>
                <a:gd name="T4" fmla="*/ 0 w 8"/>
                <a:gd name="T5" fmla="*/ 0 h 18"/>
                <a:gd name="T6" fmla="*/ 0 w 8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78" name="Freeform 130"/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>
                <a:gd name="T0" fmla="*/ 0 w 6"/>
                <a:gd name="T1" fmla="*/ 0 h 19"/>
                <a:gd name="T2" fmla="*/ 0 w 6"/>
                <a:gd name="T3" fmla="*/ 19 h 19"/>
                <a:gd name="T4" fmla="*/ 6 w 6"/>
                <a:gd name="T5" fmla="*/ 1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79" name="Freeform 131"/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>
                <a:gd name="T0" fmla="*/ 0 w 28"/>
                <a:gd name="T1" fmla="*/ 0 h 19"/>
                <a:gd name="T2" fmla="*/ 0 w 28"/>
                <a:gd name="T3" fmla="*/ 19 h 19"/>
                <a:gd name="T4" fmla="*/ 28 w 28"/>
                <a:gd name="T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80" name="Freeform 132"/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>
                <a:gd name="T0" fmla="*/ 15 w 15"/>
                <a:gd name="T1" fmla="*/ 19 h 19"/>
                <a:gd name="T2" fmla="*/ 8 w 15"/>
                <a:gd name="T3" fmla="*/ 9 h 19"/>
                <a:gd name="T4" fmla="*/ 0 w 15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81" name="Freeform 133"/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>
                <a:gd name="T0" fmla="*/ 0 w 19"/>
                <a:gd name="T1" fmla="*/ 0 h 20"/>
                <a:gd name="T2" fmla="*/ 0 w 19"/>
                <a:gd name="T3" fmla="*/ 20 h 20"/>
                <a:gd name="T4" fmla="*/ 19 w 19"/>
                <a:gd name="T5" fmla="*/ 14 h 20"/>
                <a:gd name="T6" fmla="*/ 14 w 19"/>
                <a:gd name="T7" fmla="*/ 8 h 20"/>
                <a:gd name="T8" fmla="*/ 10 w 19"/>
                <a:gd name="T9" fmla="*/ 4 h 20"/>
                <a:gd name="T10" fmla="*/ 4 w 19"/>
                <a:gd name="T11" fmla="*/ 1 h 20"/>
                <a:gd name="T12" fmla="*/ 0 w 19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82" name="Freeform 134"/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>
                <a:gd name="T0" fmla="*/ 13 w 19"/>
                <a:gd name="T1" fmla="*/ 12 h 12"/>
                <a:gd name="T2" fmla="*/ 19 w 19"/>
                <a:gd name="T3" fmla="*/ 0 h 12"/>
                <a:gd name="T4" fmla="*/ 0 w 19"/>
                <a:gd name="T5" fmla="*/ 0 h 12"/>
                <a:gd name="T6" fmla="*/ 13 w 19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83" name="Freeform 135"/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>
                <a:gd name="T0" fmla="*/ 0 w 19"/>
                <a:gd name="T1" fmla="*/ 10 w 19"/>
                <a:gd name="T2" fmla="*/ 19 w 19"/>
                <a:gd name="T3" fmla="*/ 10 w 19"/>
                <a:gd name="T4" fmla="*/ 0 w 19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19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84" name="Rectangle 136"/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85" name="Line 137"/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86" name="Freeform 138"/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>
                <a:gd name="T0" fmla="*/ 6 w 6"/>
                <a:gd name="T1" fmla="*/ 0 h 3"/>
                <a:gd name="T2" fmla="*/ 5 w 6"/>
                <a:gd name="T3" fmla="*/ 1 h 3"/>
                <a:gd name="T4" fmla="*/ 3 w 6"/>
                <a:gd name="T5" fmla="*/ 2 h 3"/>
                <a:gd name="T6" fmla="*/ 1 w 6"/>
                <a:gd name="T7" fmla="*/ 3 h 3"/>
                <a:gd name="T8" fmla="*/ 0 w 6"/>
                <a:gd name="T9" fmla="*/ 2 h 3"/>
                <a:gd name="T10" fmla="*/ 0 w 6"/>
                <a:gd name="T11" fmla="*/ 2 h 3"/>
                <a:gd name="T12" fmla="*/ 0 w 6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87" name="Freeform 139"/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>
                <a:gd name="T0" fmla="*/ 14 w 14"/>
                <a:gd name="T1" fmla="*/ 0 h 24"/>
                <a:gd name="T2" fmla="*/ 13 w 14"/>
                <a:gd name="T3" fmla="*/ 5 h 24"/>
                <a:gd name="T4" fmla="*/ 9 w 14"/>
                <a:gd name="T5" fmla="*/ 12 h 24"/>
                <a:gd name="T6" fmla="*/ 5 w 14"/>
                <a:gd name="T7" fmla="*/ 19 h 24"/>
                <a:gd name="T8" fmla="*/ 0 w 14"/>
                <a:gd name="T9" fmla="*/ 24 h 24"/>
                <a:gd name="T10" fmla="*/ 0 w 14"/>
                <a:gd name="T11" fmla="*/ 16 h 24"/>
                <a:gd name="T12" fmla="*/ 0 w 14"/>
                <a:gd name="T1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88" name="Line 140"/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89" name="Freeform 141"/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>
                <a:gd name="T0" fmla="*/ 13 w 13"/>
                <a:gd name="T1" fmla="*/ 12 h 12"/>
                <a:gd name="T2" fmla="*/ 0 w 13"/>
                <a:gd name="T3" fmla="*/ 0 h 12"/>
                <a:gd name="T4" fmla="*/ 13 w 13"/>
                <a:gd name="T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90" name="Freeform 142"/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>
                <a:gd name="T0" fmla="*/ 0 w 7"/>
                <a:gd name="T1" fmla="*/ 0 h 19"/>
                <a:gd name="T2" fmla="*/ 0 w 7"/>
                <a:gd name="T3" fmla="*/ 19 h 19"/>
                <a:gd name="T4" fmla="*/ 0 w 7"/>
                <a:gd name="T5" fmla="*/ 0 h 19"/>
                <a:gd name="T6" fmla="*/ 7 w 7"/>
                <a:gd name="T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91" name="Line 143"/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92" name="Freeform 144"/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>
                <a:gd name="T0" fmla="*/ 0 w 8"/>
                <a:gd name="T1" fmla="*/ 18 h 18"/>
                <a:gd name="T2" fmla="*/ 8 w 8"/>
                <a:gd name="T3" fmla="*/ 6 h 18"/>
                <a:gd name="T4" fmla="*/ 0 w 8"/>
                <a:gd name="T5" fmla="*/ 0 h 18"/>
                <a:gd name="T6" fmla="*/ 0 w 8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93" name="Freeform 145"/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>
                <a:gd name="T0" fmla="*/ 0 w 6"/>
                <a:gd name="T1" fmla="*/ 0 h 19"/>
                <a:gd name="T2" fmla="*/ 0 w 6"/>
                <a:gd name="T3" fmla="*/ 19 h 19"/>
                <a:gd name="T4" fmla="*/ 6 w 6"/>
                <a:gd name="T5" fmla="*/ 1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94" name="Freeform 146"/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>
                <a:gd name="T0" fmla="*/ 0 w 28"/>
                <a:gd name="T1" fmla="*/ 0 h 19"/>
                <a:gd name="T2" fmla="*/ 0 w 28"/>
                <a:gd name="T3" fmla="*/ 19 h 19"/>
                <a:gd name="T4" fmla="*/ 28 w 28"/>
                <a:gd name="T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95" name="Freeform 147"/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>
                <a:gd name="T0" fmla="*/ 15 w 15"/>
                <a:gd name="T1" fmla="*/ 19 h 19"/>
                <a:gd name="T2" fmla="*/ 8 w 15"/>
                <a:gd name="T3" fmla="*/ 9 h 19"/>
                <a:gd name="T4" fmla="*/ 0 w 15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96" name="Freeform 148"/>
            <p:cNvSpPr>
              <a:spLocks/>
            </p:cNvSpPr>
            <p:nvPr/>
          </p:nvSpPr>
          <p:spPr bwMode="auto">
            <a:xfrm>
              <a:off x="3950" y="2430"/>
              <a:ext cx="7" cy="6"/>
            </a:xfrm>
            <a:custGeom>
              <a:avLst/>
              <a:gdLst>
                <a:gd name="T0" fmla="*/ 13 w 20"/>
                <a:gd name="T1" fmla="*/ 18 h 18"/>
                <a:gd name="T2" fmla="*/ 20 w 20"/>
                <a:gd name="T3" fmla="*/ 0 h 18"/>
                <a:gd name="T4" fmla="*/ 0 w 20"/>
                <a:gd name="T5" fmla="*/ 0 h 18"/>
                <a:gd name="T6" fmla="*/ 13 w 20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18">
                  <a:moveTo>
                    <a:pt x="13" y="18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13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</p:grpSp>
      <p:grpSp>
        <p:nvGrpSpPr>
          <p:cNvPr id="2197" name="Group 149"/>
          <p:cNvGrpSpPr>
            <a:grpSpLocks/>
          </p:cNvGrpSpPr>
          <p:nvPr>
            <p:custDataLst>
              <p:tags r:id="rId89"/>
            </p:custDataLst>
          </p:nvPr>
        </p:nvGrpSpPr>
        <p:grpSpPr bwMode="auto">
          <a:xfrm>
            <a:off x="9394825" y="3810001"/>
            <a:ext cx="185738" cy="214313"/>
            <a:chOff x="5486" y="2743"/>
            <a:chExt cx="137" cy="132"/>
          </a:xfrm>
        </p:grpSpPr>
        <p:sp>
          <p:nvSpPr>
            <p:cNvPr id="2198" name="Freeform 150"/>
            <p:cNvSpPr>
              <a:spLocks/>
            </p:cNvSpPr>
            <p:nvPr/>
          </p:nvSpPr>
          <p:spPr bwMode="auto">
            <a:xfrm>
              <a:off x="5595" y="2806"/>
              <a:ext cx="13" cy="28"/>
            </a:xfrm>
            <a:custGeom>
              <a:avLst/>
              <a:gdLst>
                <a:gd name="T0" fmla="*/ 0 w 40"/>
                <a:gd name="T1" fmla="*/ 31 h 87"/>
                <a:gd name="T2" fmla="*/ 0 w 40"/>
                <a:gd name="T3" fmla="*/ 42 h 87"/>
                <a:gd name="T4" fmla="*/ 2 w 40"/>
                <a:gd name="T5" fmla="*/ 51 h 87"/>
                <a:gd name="T6" fmla="*/ 5 w 40"/>
                <a:gd name="T7" fmla="*/ 59 h 87"/>
                <a:gd name="T8" fmla="*/ 10 w 40"/>
                <a:gd name="T9" fmla="*/ 66 h 87"/>
                <a:gd name="T10" fmla="*/ 15 w 40"/>
                <a:gd name="T11" fmla="*/ 72 h 87"/>
                <a:gd name="T12" fmla="*/ 22 w 40"/>
                <a:gd name="T13" fmla="*/ 77 h 87"/>
                <a:gd name="T14" fmla="*/ 31 w 40"/>
                <a:gd name="T15" fmla="*/ 82 h 87"/>
                <a:gd name="T16" fmla="*/ 40 w 40"/>
                <a:gd name="T17" fmla="*/ 87 h 87"/>
                <a:gd name="T18" fmla="*/ 35 w 40"/>
                <a:gd name="T19" fmla="*/ 82 h 87"/>
                <a:gd name="T20" fmla="*/ 32 w 40"/>
                <a:gd name="T21" fmla="*/ 77 h 87"/>
                <a:gd name="T22" fmla="*/ 29 w 40"/>
                <a:gd name="T23" fmla="*/ 71 h 87"/>
                <a:gd name="T24" fmla="*/ 26 w 40"/>
                <a:gd name="T25" fmla="*/ 65 h 87"/>
                <a:gd name="T26" fmla="*/ 22 w 40"/>
                <a:gd name="T27" fmla="*/ 52 h 87"/>
                <a:gd name="T28" fmla="*/ 20 w 40"/>
                <a:gd name="T29" fmla="*/ 39 h 87"/>
                <a:gd name="T30" fmla="*/ 18 w 40"/>
                <a:gd name="T31" fmla="*/ 27 h 87"/>
                <a:gd name="T32" fmla="*/ 13 w 40"/>
                <a:gd name="T33" fmla="*/ 16 h 87"/>
                <a:gd name="T34" fmla="*/ 11 w 40"/>
                <a:gd name="T35" fmla="*/ 11 h 87"/>
                <a:gd name="T36" fmla="*/ 8 w 40"/>
                <a:gd name="T37" fmla="*/ 6 h 87"/>
                <a:gd name="T38" fmla="*/ 4 w 40"/>
                <a:gd name="T39" fmla="*/ 3 h 87"/>
                <a:gd name="T40" fmla="*/ 0 w 40"/>
                <a:gd name="T41" fmla="*/ 0 h 87"/>
                <a:gd name="T42" fmla="*/ 0 w 40"/>
                <a:gd name="T43" fmla="*/ 9 h 87"/>
                <a:gd name="T44" fmla="*/ 0 w 40"/>
                <a:gd name="T45" fmla="*/ 16 h 87"/>
                <a:gd name="T46" fmla="*/ 0 w 40"/>
                <a:gd name="T47" fmla="*/ 23 h 87"/>
                <a:gd name="T48" fmla="*/ 0 w 40"/>
                <a:gd name="T49" fmla="*/ 3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0" h="87">
                  <a:moveTo>
                    <a:pt x="0" y="31"/>
                  </a:moveTo>
                  <a:lnTo>
                    <a:pt x="0" y="42"/>
                  </a:lnTo>
                  <a:lnTo>
                    <a:pt x="2" y="51"/>
                  </a:lnTo>
                  <a:lnTo>
                    <a:pt x="5" y="59"/>
                  </a:lnTo>
                  <a:lnTo>
                    <a:pt x="10" y="66"/>
                  </a:lnTo>
                  <a:lnTo>
                    <a:pt x="15" y="72"/>
                  </a:lnTo>
                  <a:lnTo>
                    <a:pt x="22" y="77"/>
                  </a:lnTo>
                  <a:lnTo>
                    <a:pt x="31" y="82"/>
                  </a:lnTo>
                  <a:lnTo>
                    <a:pt x="40" y="87"/>
                  </a:lnTo>
                  <a:lnTo>
                    <a:pt x="35" y="82"/>
                  </a:lnTo>
                  <a:lnTo>
                    <a:pt x="32" y="77"/>
                  </a:lnTo>
                  <a:lnTo>
                    <a:pt x="29" y="71"/>
                  </a:lnTo>
                  <a:lnTo>
                    <a:pt x="26" y="65"/>
                  </a:lnTo>
                  <a:lnTo>
                    <a:pt x="22" y="52"/>
                  </a:lnTo>
                  <a:lnTo>
                    <a:pt x="20" y="39"/>
                  </a:lnTo>
                  <a:lnTo>
                    <a:pt x="18" y="27"/>
                  </a:lnTo>
                  <a:lnTo>
                    <a:pt x="13" y="16"/>
                  </a:lnTo>
                  <a:lnTo>
                    <a:pt x="11" y="11"/>
                  </a:lnTo>
                  <a:lnTo>
                    <a:pt x="8" y="6"/>
                  </a:lnTo>
                  <a:lnTo>
                    <a:pt x="4" y="3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6"/>
                  </a:lnTo>
                  <a:lnTo>
                    <a:pt x="0" y="2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99" name="Freeform 151"/>
            <p:cNvSpPr>
              <a:spLocks/>
            </p:cNvSpPr>
            <p:nvPr/>
          </p:nvSpPr>
          <p:spPr bwMode="auto">
            <a:xfrm>
              <a:off x="5603" y="2842"/>
              <a:ext cx="20" cy="12"/>
            </a:xfrm>
            <a:custGeom>
              <a:avLst/>
              <a:gdLst>
                <a:gd name="T0" fmla="*/ 0 w 61"/>
                <a:gd name="T1" fmla="*/ 31 h 37"/>
                <a:gd name="T2" fmla="*/ 19 w 61"/>
                <a:gd name="T3" fmla="*/ 32 h 37"/>
                <a:gd name="T4" fmla="*/ 35 w 61"/>
                <a:gd name="T5" fmla="*/ 34 h 37"/>
                <a:gd name="T6" fmla="*/ 49 w 61"/>
                <a:gd name="T7" fmla="*/ 36 h 37"/>
                <a:gd name="T8" fmla="*/ 61 w 61"/>
                <a:gd name="T9" fmla="*/ 37 h 37"/>
                <a:gd name="T10" fmla="*/ 55 w 61"/>
                <a:gd name="T11" fmla="*/ 29 h 37"/>
                <a:gd name="T12" fmla="*/ 49 w 61"/>
                <a:gd name="T13" fmla="*/ 22 h 37"/>
                <a:gd name="T14" fmla="*/ 42 w 61"/>
                <a:gd name="T15" fmla="*/ 17 h 37"/>
                <a:gd name="T16" fmla="*/ 35 w 61"/>
                <a:gd name="T17" fmla="*/ 12 h 37"/>
                <a:gd name="T18" fmla="*/ 28 w 61"/>
                <a:gd name="T19" fmla="*/ 9 h 37"/>
                <a:gd name="T20" fmla="*/ 19 w 61"/>
                <a:gd name="T21" fmla="*/ 5 h 37"/>
                <a:gd name="T22" fmla="*/ 10 w 61"/>
                <a:gd name="T23" fmla="*/ 2 h 37"/>
                <a:gd name="T24" fmla="*/ 0 w 61"/>
                <a:gd name="T25" fmla="*/ 0 h 37"/>
                <a:gd name="T26" fmla="*/ 0 w 61"/>
                <a:gd name="T27" fmla="*/ 3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37">
                  <a:moveTo>
                    <a:pt x="0" y="31"/>
                  </a:moveTo>
                  <a:lnTo>
                    <a:pt x="19" y="32"/>
                  </a:lnTo>
                  <a:lnTo>
                    <a:pt x="35" y="34"/>
                  </a:lnTo>
                  <a:lnTo>
                    <a:pt x="49" y="36"/>
                  </a:lnTo>
                  <a:lnTo>
                    <a:pt x="61" y="37"/>
                  </a:lnTo>
                  <a:lnTo>
                    <a:pt x="55" y="29"/>
                  </a:lnTo>
                  <a:lnTo>
                    <a:pt x="49" y="22"/>
                  </a:lnTo>
                  <a:lnTo>
                    <a:pt x="42" y="17"/>
                  </a:lnTo>
                  <a:lnTo>
                    <a:pt x="35" y="12"/>
                  </a:lnTo>
                  <a:lnTo>
                    <a:pt x="28" y="9"/>
                  </a:lnTo>
                  <a:lnTo>
                    <a:pt x="19" y="5"/>
                  </a:lnTo>
                  <a:lnTo>
                    <a:pt x="10" y="2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00" name="Freeform 152"/>
            <p:cNvSpPr>
              <a:spLocks/>
            </p:cNvSpPr>
            <p:nvPr/>
          </p:nvSpPr>
          <p:spPr bwMode="auto">
            <a:xfrm>
              <a:off x="5568" y="2865"/>
              <a:ext cx="13" cy="10"/>
            </a:xfrm>
            <a:custGeom>
              <a:avLst/>
              <a:gdLst>
                <a:gd name="T0" fmla="*/ 40 w 40"/>
                <a:gd name="T1" fmla="*/ 30 h 30"/>
                <a:gd name="T2" fmla="*/ 33 w 40"/>
                <a:gd name="T3" fmla="*/ 28 h 30"/>
                <a:gd name="T4" fmla="*/ 26 w 40"/>
                <a:gd name="T5" fmla="*/ 25 h 30"/>
                <a:gd name="T6" fmla="*/ 21 w 40"/>
                <a:gd name="T7" fmla="*/ 22 h 30"/>
                <a:gd name="T8" fmla="*/ 15 w 40"/>
                <a:gd name="T9" fmla="*/ 19 h 30"/>
                <a:gd name="T10" fmla="*/ 11 w 40"/>
                <a:gd name="T11" fmla="*/ 16 h 30"/>
                <a:gd name="T12" fmla="*/ 6 w 40"/>
                <a:gd name="T13" fmla="*/ 11 h 30"/>
                <a:gd name="T14" fmla="*/ 3 w 40"/>
                <a:gd name="T15" fmla="*/ 6 h 30"/>
                <a:gd name="T16" fmla="*/ 0 w 40"/>
                <a:gd name="T17" fmla="*/ 0 h 30"/>
                <a:gd name="T18" fmla="*/ 8 w 40"/>
                <a:gd name="T19" fmla="*/ 2 h 30"/>
                <a:gd name="T20" fmla="*/ 15 w 40"/>
                <a:gd name="T21" fmla="*/ 6 h 30"/>
                <a:gd name="T22" fmla="*/ 22 w 40"/>
                <a:gd name="T23" fmla="*/ 10 h 30"/>
                <a:gd name="T24" fmla="*/ 27 w 40"/>
                <a:gd name="T25" fmla="*/ 15 h 30"/>
                <a:gd name="T26" fmla="*/ 33 w 40"/>
                <a:gd name="T27" fmla="*/ 19 h 30"/>
                <a:gd name="T28" fmla="*/ 36 w 40"/>
                <a:gd name="T29" fmla="*/ 23 h 30"/>
                <a:gd name="T30" fmla="*/ 39 w 40"/>
                <a:gd name="T31" fmla="*/ 27 h 30"/>
                <a:gd name="T32" fmla="*/ 40 w 40"/>
                <a:gd name="T3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" h="30">
                  <a:moveTo>
                    <a:pt x="40" y="30"/>
                  </a:moveTo>
                  <a:lnTo>
                    <a:pt x="33" y="28"/>
                  </a:lnTo>
                  <a:lnTo>
                    <a:pt x="26" y="25"/>
                  </a:lnTo>
                  <a:lnTo>
                    <a:pt x="21" y="22"/>
                  </a:lnTo>
                  <a:lnTo>
                    <a:pt x="15" y="19"/>
                  </a:lnTo>
                  <a:lnTo>
                    <a:pt x="11" y="16"/>
                  </a:lnTo>
                  <a:lnTo>
                    <a:pt x="6" y="11"/>
                  </a:lnTo>
                  <a:lnTo>
                    <a:pt x="3" y="6"/>
                  </a:lnTo>
                  <a:lnTo>
                    <a:pt x="0" y="0"/>
                  </a:lnTo>
                  <a:lnTo>
                    <a:pt x="8" y="2"/>
                  </a:lnTo>
                  <a:lnTo>
                    <a:pt x="15" y="6"/>
                  </a:lnTo>
                  <a:lnTo>
                    <a:pt x="22" y="10"/>
                  </a:lnTo>
                  <a:lnTo>
                    <a:pt x="27" y="15"/>
                  </a:lnTo>
                  <a:lnTo>
                    <a:pt x="33" y="19"/>
                  </a:lnTo>
                  <a:lnTo>
                    <a:pt x="36" y="23"/>
                  </a:lnTo>
                  <a:lnTo>
                    <a:pt x="39" y="27"/>
                  </a:lnTo>
                  <a:lnTo>
                    <a:pt x="40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01" name="Freeform 153"/>
            <p:cNvSpPr>
              <a:spLocks/>
            </p:cNvSpPr>
            <p:nvPr/>
          </p:nvSpPr>
          <p:spPr bwMode="auto">
            <a:xfrm>
              <a:off x="5515" y="2789"/>
              <a:ext cx="24" cy="26"/>
            </a:xfrm>
            <a:custGeom>
              <a:avLst/>
              <a:gdLst>
                <a:gd name="T0" fmla="*/ 74 w 74"/>
                <a:gd name="T1" fmla="*/ 80 h 80"/>
                <a:gd name="T2" fmla="*/ 72 w 74"/>
                <a:gd name="T3" fmla="*/ 73 h 80"/>
                <a:gd name="T4" fmla="*/ 71 w 74"/>
                <a:gd name="T5" fmla="*/ 66 h 80"/>
                <a:gd name="T6" fmla="*/ 69 w 74"/>
                <a:gd name="T7" fmla="*/ 60 h 80"/>
                <a:gd name="T8" fmla="*/ 66 w 74"/>
                <a:gd name="T9" fmla="*/ 53 h 80"/>
                <a:gd name="T10" fmla="*/ 58 w 74"/>
                <a:gd name="T11" fmla="*/ 42 h 80"/>
                <a:gd name="T12" fmla="*/ 48 w 74"/>
                <a:gd name="T13" fmla="*/ 33 h 80"/>
                <a:gd name="T14" fmla="*/ 38 w 74"/>
                <a:gd name="T15" fmla="*/ 25 h 80"/>
                <a:gd name="T16" fmla="*/ 29 w 74"/>
                <a:gd name="T17" fmla="*/ 17 h 80"/>
                <a:gd name="T18" fmla="*/ 20 w 74"/>
                <a:gd name="T19" fmla="*/ 9 h 80"/>
                <a:gd name="T20" fmla="*/ 13 w 74"/>
                <a:gd name="T21" fmla="*/ 0 h 80"/>
                <a:gd name="T22" fmla="*/ 9 w 74"/>
                <a:gd name="T23" fmla="*/ 5 h 80"/>
                <a:gd name="T24" fmla="*/ 4 w 74"/>
                <a:gd name="T25" fmla="*/ 10 h 80"/>
                <a:gd name="T26" fmla="*/ 1 w 74"/>
                <a:gd name="T27" fmla="*/ 14 h 80"/>
                <a:gd name="T28" fmla="*/ 0 w 74"/>
                <a:gd name="T29" fmla="*/ 19 h 80"/>
                <a:gd name="T30" fmla="*/ 0 w 74"/>
                <a:gd name="T31" fmla="*/ 25 h 80"/>
                <a:gd name="T32" fmla="*/ 2 w 74"/>
                <a:gd name="T33" fmla="*/ 30 h 80"/>
                <a:gd name="T34" fmla="*/ 4 w 74"/>
                <a:gd name="T35" fmla="*/ 36 h 80"/>
                <a:gd name="T36" fmla="*/ 7 w 74"/>
                <a:gd name="T37" fmla="*/ 41 h 80"/>
                <a:gd name="T38" fmla="*/ 10 w 74"/>
                <a:gd name="T39" fmla="*/ 46 h 80"/>
                <a:gd name="T40" fmla="*/ 14 w 74"/>
                <a:gd name="T41" fmla="*/ 51 h 80"/>
                <a:gd name="T42" fmla="*/ 19 w 74"/>
                <a:gd name="T43" fmla="*/ 56 h 80"/>
                <a:gd name="T44" fmla="*/ 24 w 74"/>
                <a:gd name="T45" fmla="*/ 61 h 80"/>
                <a:gd name="T46" fmla="*/ 30 w 74"/>
                <a:gd name="T47" fmla="*/ 66 h 80"/>
                <a:gd name="T48" fmla="*/ 35 w 74"/>
                <a:gd name="T49" fmla="*/ 69 h 80"/>
                <a:gd name="T50" fmla="*/ 42 w 74"/>
                <a:gd name="T51" fmla="*/ 72 h 80"/>
                <a:gd name="T52" fmla="*/ 47 w 74"/>
                <a:gd name="T53" fmla="*/ 75 h 80"/>
                <a:gd name="T54" fmla="*/ 54 w 74"/>
                <a:gd name="T55" fmla="*/ 77 h 80"/>
                <a:gd name="T56" fmla="*/ 60 w 74"/>
                <a:gd name="T57" fmla="*/ 79 h 80"/>
                <a:gd name="T58" fmla="*/ 67 w 74"/>
                <a:gd name="T59" fmla="*/ 80 h 80"/>
                <a:gd name="T60" fmla="*/ 74 w 74"/>
                <a:gd name="T61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4" h="80">
                  <a:moveTo>
                    <a:pt x="74" y="80"/>
                  </a:moveTo>
                  <a:lnTo>
                    <a:pt x="72" y="73"/>
                  </a:lnTo>
                  <a:lnTo>
                    <a:pt x="71" y="66"/>
                  </a:lnTo>
                  <a:lnTo>
                    <a:pt x="69" y="60"/>
                  </a:lnTo>
                  <a:lnTo>
                    <a:pt x="66" y="53"/>
                  </a:lnTo>
                  <a:lnTo>
                    <a:pt x="58" y="42"/>
                  </a:lnTo>
                  <a:lnTo>
                    <a:pt x="48" y="33"/>
                  </a:lnTo>
                  <a:lnTo>
                    <a:pt x="38" y="25"/>
                  </a:lnTo>
                  <a:lnTo>
                    <a:pt x="29" y="17"/>
                  </a:lnTo>
                  <a:lnTo>
                    <a:pt x="20" y="9"/>
                  </a:lnTo>
                  <a:lnTo>
                    <a:pt x="13" y="0"/>
                  </a:lnTo>
                  <a:lnTo>
                    <a:pt x="9" y="5"/>
                  </a:lnTo>
                  <a:lnTo>
                    <a:pt x="4" y="10"/>
                  </a:lnTo>
                  <a:lnTo>
                    <a:pt x="1" y="14"/>
                  </a:lnTo>
                  <a:lnTo>
                    <a:pt x="0" y="19"/>
                  </a:lnTo>
                  <a:lnTo>
                    <a:pt x="0" y="25"/>
                  </a:lnTo>
                  <a:lnTo>
                    <a:pt x="2" y="30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4" y="51"/>
                  </a:lnTo>
                  <a:lnTo>
                    <a:pt x="19" y="56"/>
                  </a:lnTo>
                  <a:lnTo>
                    <a:pt x="24" y="61"/>
                  </a:lnTo>
                  <a:lnTo>
                    <a:pt x="30" y="66"/>
                  </a:lnTo>
                  <a:lnTo>
                    <a:pt x="35" y="69"/>
                  </a:lnTo>
                  <a:lnTo>
                    <a:pt x="42" y="72"/>
                  </a:lnTo>
                  <a:lnTo>
                    <a:pt x="47" y="75"/>
                  </a:lnTo>
                  <a:lnTo>
                    <a:pt x="54" y="77"/>
                  </a:lnTo>
                  <a:lnTo>
                    <a:pt x="60" y="79"/>
                  </a:lnTo>
                  <a:lnTo>
                    <a:pt x="67" y="80"/>
                  </a:lnTo>
                  <a:lnTo>
                    <a:pt x="74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02" name="Freeform 154"/>
            <p:cNvSpPr>
              <a:spLocks/>
            </p:cNvSpPr>
            <p:nvPr/>
          </p:nvSpPr>
          <p:spPr bwMode="auto">
            <a:xfrm>
              <a:off x="5555" y="2785"/>
              <a:ext cx="26" cy="27"/>
            </a:xfrm>
            <a:custGeom>
              <a:avLst/>
              <a:gdLst>
                <a:gd name="T0" fmla="*/ 52 w 86"/>
                <a:gd name="T1" fmla="*/ 80 h 80"/>
                <a:gd name="T2" fmla="*/ 86 w 86"/>
                <a:gd name="T3" fmla="*/ 80 h 80"/>
                <a:gd name="T4" fmla="*/ 86 w 86"/>
                <a:gd name="T5" fmla="*/ 61 h 80"/>
                <a:gd name="T6" fmla="*/ 79 w 86"/>
                <a:gd name="T7" fmla="*/ 59 h 80"/>
                <a:gd name="T8" fmla="*/ 72 w 86"/>
                <a:gd name="T9" fmla="*/ 56 h 80"/>
                <a:gd name="T10" fmla="*/ 67 w 86"/>
                <a:gd name="T11" fmla="*/ 53 h 80"/>
                <a:gd name="T12" fmla="*/ 61 w 86"/>
                <a:gd name="T13" fmla="*/ 49 h 80"/>
                <a:gd name="T14" fmla="*/ 51 w 86"/>
                <a:gd name="T15" fmla="*/ 41 h 80"/>
                <a:gd name="T16" fmla="*/ 43 w 86"/>
                <a:gd name="T17" fmla="*/ 33 h 80"/>
                <a:gd name="T18" fmla="*/ 34 w 86"/>
                <a:gd name="T19" fmla="*/ 25 h 80"/>
                <a:gd name="T20" fmla="*/ 24 w 86"/>
                <a:gd name="T21" fmla="*/ 16 h 80"/>
                <a:gd name="T22" fmla="*/ 13 w 86"/>
                <a:gd name="T23" fmla="*/ 7 h 80"/>
                <a:gd name="T24" fmla="*/ 0 w 86"/>
                <a:gd name="T25" fmla="*/ 0 h 80"/>
                <a:gd name="T26" fmla="*/ 1 w 86"/>
                <a:gd name="T27" fmla="*/ 8 h 80"/>
                <a:gd name="T28" fmla="*/ 5 w 86"/>
                <a:gd name="T29" fmla="*/ 20 h 80"/>
                <a:gd name="T30" fmla="*/ 11 w 86"/>
                <a:gd name="T31" fmla="*/ 32 h 80"/>
                <a:gd name="T32" fmla="*/ 18 w 86"/>
                <a:gd name="T33" fmla="*/ 44 h 80"/>
                <a:gd name="T34" fmla="*/ 27 w 86"/>
                <a:gd name="T35" fmla="*/ 57 h 80"/>
                <a:gd name="T36" fmla="*/ 36 w 86"/>
                <a:gd name="T37" fmla="*/ 67 h 80"/>
                <a:gd name="T38" fmla="*/ 40 w 86"/>
                <a:gd name="T39" fmla="*/ 72 h 80"/>
                <a:gd name="T40" fmla="*/ 45 w 86"/>
                <a:gd name="T41" fmla="*/ 76 h 80"/>
                <a:gd name="T42" fmla="*/ 49 w 86"/>
                <a:gd name="T43" fmla="*/ 79 h 80"/>
                <a:gd name="T44" fmla="*/ 52 w 86"/>
                <a:gd name="T45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6" h="80">
                  <a:moveTo>
                    <a:pt x="52" y="80"/>
                  </a:moveTo>
                  <a:lnTo>
                    <a:pt x="86" y="80"/>
                  </a:lnTo>
                  <a:lnTo>
                    <a:pt x="86" y="61"/>
                  </a:lnTo>
                  <a:lnTo>
                    <a:pt x="79" y="59"/>
                  </a:lnTo>
                  <a:lnTo>
                    <a:pt x="72" y="56"/>
                  </a:lnTo>
                  <a:lnTo>
                    <a:pt x="67" y="53"/>
                  </a:lnTo>
                  <a:lnTo>
                    <a:pt x="61" y="49"/>
                  </a:lnTo>
                  <a:lnTo>
                    <a:pt x="51" y="41"/>
                  </a:lnTo>
                  <a:lnTo>
                    <a:pt x="43" y="33"/>
                  </a:lnTo>
                  <a:lnTo>
                    <a:pt x="34" y="25"/>
                  </a:lnTo>
                  <a:lnTo>
                    <a:pt x="24" y="16"/>
                  </a:lnTo>
                  <a:lnTo>
                    <a:pt x="13" y="7"/>
                  </a:lnTo>
                  <a:lnTo>
                    <a:pt x="0" y="0"/>
                  </a:lnTo>
                  <a:lnTo>
                    <a:pt x="1" y="8"/>
                  </a:lnTo>
                  <a:lnTo>
                    <a:pt x="5" y="20"/>
                  </a:lnTo>
                  <a:lnTo>
                    <a:pt x="11" y="32"/>
                  </a:lnTo>
                  <a:lnTo>
                    <a:pt x="18" y="44"/>
                  </a:lnTo>
                  <a:lnTo>
                    <a:pt x="27" y="57"/>
                  </a:lnTo>
                  <a:lnTo>
                    <a:pt x="36" y="67"/>
                  </a:lnTo>
                  <a:lnTo>
                    <a:pt x="40" y="72"/>
                  </a:lnTo>
                  <a:lnTo>
                    <a:pt x="45" y="76"/>
                  </a:lnTo>
                  <a:lnTo>
                    <a:pt x="49" y="79"/>
                  </a:lnTo>
                  <a:lnTo>
                    <a:pt x="52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03" name="Freeform 155"/>
            <p:cNvSpPr>
              <a:spLocks/>
            </p:cNvSpPr>
            <p:nvPr/>
          </p:nvSpPr>
          <p:spPr bwMode="auto">
            <a:xfrm>
              <a:off x="5570" y="2825"/>
              <a:ext cx="25" cy="11"/>
            </a:xfrm>
            <a:custGeom>
              <a:avLst/>
              <a:gdLst>
                <a:gd name="T0" fmla="*/ 0 w 74"/>
                <a:gd name="T1" fmla="*/ 7 h 31"/>
                <a:gd name="T2" fmla="*/ 3 w 74"/>
                <a:gd name="T3" fmla="*/ 11 h 31"/>
                <a:gd name="T4" fmla="*/ 5 w 74"/>
                <a:gd name="T5" fmla="*/ 15 h 31"/>
                <a:gd name="T6" fmla="*/ 9 w 74"/>
                <a:gd name="T7" fmla="*/ 18 h 31"/>
                <a:gd name="T8" fmla="*/ 14 w 74"/>
                <a:gd name="T9" fmla="*/ 21 h 31"/>
                <a:gd name="T10" fmla="*/ 18 w 74"/>
                <a:gd name="T11" fmla="*/ 24 h 31"/>
                <a:gd name="T12" fmla="*/ 23 w 74"/>
                <a:gd name="T13" fmla="*/ 26 h 31"/>
                <a:gd name="T14" fmla="*/ 29 w 74"/>
                <a:gd name="T15" fmla="*/ 28 h 31"/>
                <a:gd name="T16" fmla="*/ 34 w 74"/>
                <a:gd name="T17" fmla="*/ 29 h 31"/>
                <a:gd name="T18" fmla="*/ 47 w 74"/>
                <a:gd name="T19" fmla="*/ 31 h 31"/>
                <a:gd name="T20" fmla="*/ 58 w 74"/>
                <a:gd name="T21" fmla="*/ 31 h 31"/>
                <a:gd name="T22" fmla="*/ 63 w 74"/>
                <a:gd name="T23" fmla="*/ 30 h 31"/>
                <a:gd name="T24" fmla="*/ 67 w 74"/>
                <a:gd name="T25" fmla="*/ 29 h 31"/>
                <a:gd name="T26" fmla="*/ 71 w 74"/>
                <a:gd name="T27" fmla="*/ 27 h 31"/>
                <a:gd name="T28" fmla="*/ 74 w 74"/>
                <a:gd name="T29" fmla="*/ 25 h 31"/>
                <a:gd name="T30" fmla="*/ 64 w 74"/>
                <a:gd name="T31" fmla="*/ 18 h 31"/>
                <a:gd name="T32" fmla="*/ 55 w 74"/>
                <a:gd name="T33" fmla="*/ 13 h 31"/>
                <a:gd name="T34" fmla="*/ 51 w 74"/>
                <a:gd name="T35" fmla="*/ 10 h 31"/>
                <a:gd name="T36" fmla="*/ 47 w 74"/>
                <a:gd name="T37" fmla="*/ 8 h 31"/>
                <a:gd name="T38" fmla="*/ 43 w 74"/>
                <a:gd name="T39" fmla="*/ 5 h 31"/>
                <a:gd name="T40" fmla="*/ 41 w 74"/>
                <a:gd name="T41" fmla="*/ 0 h 31"/>
                <a:gd name="T42" fmla="*/ 33 w 74"/>
                <a:gd name="T43" fmla="*/ 1 h 31"/>
                <a:gd name="T44" fmla="*/ 28 w 74"/>
                <a:gd name="T45" fmla="*/ 1 h 31"/>
                <a:gd name="T46" fmla="*/ 22 w 74"/>
                <a:gd name="T47" fmla="*/ 1 h 31"/>
                <a:gd name="T48" fmla="*/ 18 w 74"/>
                <a:gd name="T49" fmla="*/ 0 h 31"/>
                <a:gd name="T50" fmla="*/ 14 w 74"/>
                <a:gd name="T51" fmla="*/ 0 h 31"/>
                <a:gd name="T52" fmla="*/ 10 w 74"/>
                <a:gd name="T53" fmla="*/ 0 h 31"/>
                <a:gd name="T54" fmla="*/ 6 w 74"/>
                <a:gd name="T55" fmla="*/ 3 h 31"/>
                <a:gd name="T56" fmla="*/ 0 w 74"/>
                <a:gd name="T57" fmla="*/ 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4" h="31">
                  <a:moveTo>
                    <a:pt x="0" y="7"/>
                  </a:moveTo>
                  <a:lnTo>
                    <a:pt x="3" y="11"/>
                  </a:lnTo>
                  <a:lnTo>
                    <a:pt x="5" y="15"/>
                  </a:lnTo>
                  <a:lnTo>
                    <a:pt x="9" y="18"/>
                  </a:lnTo>
                  <a:lnTo>
                    <a:pt x="14" y="21"/>
                  </a:lnTo>
                  <a:lnTo>
                    <a:pt x="18" y="24"/>
                  </a:lnTo>
                  <a:lnTo>
                    <a:pt x="23" y="26"/>
                  </a:lnTo>
                  <a:lnTo>
                    <a:pt x="29" y="28"/>
                  </a:lnTo>
                  <a:lnTo>
                    <a:pt x="34" y="29"/>
                  </a:lnTo>
                  <a:lnTo>
                    <a:pt x="47" y="31"/>
                  </a:lnTo>
                  <a:lnTo>
                    <a:pt x="58" y="31"/>
                  </a:lnTo>
                  <a:lnTo>
                    <a:pt x="63" y="30"/>
                  </a:lnTo>
                  <a:lnTo>
                    <a:pt x="67" y="29"/>
                  </a:lnTo>
                  <a:lnTo>
                    <a:pt x="71" y="27"/>
                  </a:lnTo>
                  <a:lnTo>
                    <a:pt x="74" y="25"/>
                  </a:lnTo>
                  <a:lnTo>
                    <a:pt x="64" y="18"/>
                  </a:lnTo>
                  <a:lnTo>
                    <a:pt x="55" y="13"/>
                  </a:lnTo>
                  <a:lnTo>
                    <a:pt x="51" y="10"/>
                  </a:lnTo>
                  <a:lnTo>
                    <a:pt x="47" y="8"/>
                  </a:lnTo>
                  <a:lnTo>
                    <a:pt x="43" y="5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8" y="1"/>
                  </a:lnTo>
                  <a:lnTo>
                    <a:pt x="22" y="1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10" y="0"/>
                  </a:lnTo>
                  <a:lnTo>
                    <a:pt x="6" y="3"/>
                  </a:lnTo>
                  <a:lnTo>
                    <a:pt x="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04" name="Freeform 156"/>
            <p:cNvSpPr>
              <a:spLocks/>
            </p:cNvSpPr>
            <p:nvPr/>
          </p:nvSpPr>
          <p:spPr bwMode="auto">
            <a:xfrm>
              <a:off x="5562" y="2819"/>
              <a:ext cx="6" cy="1"/>
            </a:xfrm>
            <a:custGeom>
              <a:avLst/>
              <a:gdLst>
                <a:gd name="T0" fmla="*/ 20 w 20"/>
                <a:gd name="T1" fmla="*/ 0 w 20"/>
                <a:gd name="T2" fmla="*/ 10 w 20"/>
                <a:gd name="T3" fmla="*/ 20 w 2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0">
                  <a:moveTo>
                    <a:pt x="20" y="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05" name="Freeform 157"/>
            <p:cNvSpPr>
              <a:spLocks/>
            </p:cNvSpPr>
            <p:nvPr/>
          </p:nvSpPr>
          <p:spPr bwMode="auto">
            <a:xfrm>
              <a:off x="5509" y="2769"/>
              <a:ext cx="32" cy="21"/>
            </a:xfrm>
            <a:custGeom>
              <a:avLst/>
              <a:gdLst>
                <a:gd name="T0" fmla="*/ 7 w 100"/>
                <a:gd name="T1" fmla="*/ 25 h 65"/>
                <a:gd name="T2" fmla="*/ 35 w 100"/>
                <a:gd name="T3" fmla="*/ 40 h 65"/>
                <a:gd name="T4" fmla="*/ 61 w 100"/>
                <a:gd name="T5" fmla="*/ 55 h 65"/>
                <a:gd name="T6" fmla="*/ 72 w 100"/>
                <a:gd name="T7" fmla="*/ 60 h 65"/>
                <a:gd name="T8" fmla="*/ 83 w 100"/>
                <a:gd name="T9" fmla="*/ 65 h 65"/>
                <a:gd name="T10" fmla="*/ 87 w 100"/>
                <a:gd name="T11" fmla="*/ 65 h 65"/>
                <a:gd name="T12" fmla="*/ 91 w 100"/>
                <a:gd name="T13" fmla="*/ 65 h 65"/>
                <a:gd name="T14" fmla="*/ 96 w 100"/>
                <a:gd name="T15" fmla="*/ 65 h 65"/>
                <a:gd name="T16" fmla="*/ 100 w 100"/>
                <a:gd name="T17" fmla="*/ 62 h 65"/>
                <a:gd name="T18" fmla="*/ 94 w 100"/>
                <a:gd name="T19" fmla="*/ 60 h 65"/>
                <a:gd name="T20" fmla="*/ 88 w 100"/>
                <a:gd name="T21" fmla="*/ 56 h 65"/>
                <a:gd name="T22" fmla="*/ 83 w 100"/>
                <a:gd name="T23" fmla="*/ 52 h 65"/>
                <a:gd name="T24" fmla="*/ 78 w 100"/>
                <a:gd name="T25" fmla="*/ 46 h 65"/>
                <a:gd name="T26" fmla="*/ 67 w 100"/>
                <a:gd name="T27" fmla="*/ 34 h 65"/>
                <a:gd name="T28" fmla="*/ 57 w 100"/>
                <a:gd name="T29" fmla="*/ 21 h 65"/>
                <a:gd name="T30" fmla="*/ 52 w 100"/>
                <a:gd name="T31" fmla="*/ 15 h 65"/>
                <a:gd name="T32" fmla="*/ 46 w 100"/>
                <a:gd name="T33" fmla="*/ 10 h 65"/>
                <a:gd name="T34" fmla="*/ 40 w 100"/>
                <a:gd name="T35" fmla="*/ 4 h 65"/>
                <a:gd name="T36" fmla="*/ 33 w 100"/>
                <a:gd name="T37" fmla="*/ 1 h 65"/>
                <a:gd name="T38" fmla="*/ 27 w 100"/>
                <a:gd name="T39" fmla="*/ 0 h 65"/>
                <a:gd name="T40" fmla="*/ 18 w 100"/>
                <a:gd name="T41" fmla="*/ 0 h 65"/>
                <a:gd name="T42" fmla="*/ 10 w 100"/>
                <a:gd name="T43" fmla="*/ 2 h 65"/>
                <a:gd name="T44" fmla="*/ 0 w 100"/>
                <a:gd name="T45" fmla="*/ 6 h 65"/>
                <a:gd name="T46" fmla="*/ 7 w 100"/>
                <a:gd name="T47" fmla="*/ 2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0" h="65">
                  <a:moveTo>
                    <a:pt x="7" y="25"/>
                  </a:moveTo>
                  <a:lnTo>
                    <a:pt x="35" y="40"/>
                  </a:lnTo>
                  <a:lnTo>
                    <a:pt x="61" y="55"/>
                  </a:lnTo>
                  <a:lnTo>
                    <a:pt x="72" y="60"/>
                  </a:lnTo>
                  <a:lnTo>
                    <a:pt x="83" y="65"/>
                  </a:lnTo>
                  <a:lnTo>
                    <a:pt x="87" y="65"/>
                  </a:lnTo>
                  <a:lnTo>
                    <a:pt x="91" y="65"/>
                  </a:lnTo>
                  <a:lnTo>
                    <a:pt x="96" y="65"/>
                  </a:lnTo>
                  <a:lnTo>
                    <a:pt x="100" y="62"/>
                  </a:lnTo>
                  <a:lnTo>
                    <a:pt x="94" y="60"/>
                  </a:lnTo>
                  <a:lnTo>
                    <a:pt x="88" y="56"/>
                  </a:lnTo>
                  <a:lnTo>
                    <a:pt x="83" y="52"/>
                  </a:lnTo>
                  <a:lnTo>
                    <a:pt x="78" y="46"/>
                  </a:lnTo>
                  <a:lnTo>
                    <a:pt x="67" y="34"/>
                  </a:lnTo>
                  <a:lnTo>
                    <a:pt x="57" y="21"/>
                  </a:lnTo>
                  <a:lnTo>
                    <a:pt x="52" y="15"/>
                  </a:lnTo>
                  <a:lnTo>
                    <a:pt x="46" y="10"/>
                  </a:lnTo>
                  <a:lnTo>
                    <a:pt x="40" y="4"/>
                  </a:lnTo>
                  <a:lnTo>
                    <a:pt x="33" y="1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0" y="6"/>
                  </a:lnTo>
                  <a:lnTo>
                    <a:pt x="7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06" name="Freeform 158"/>
            <p:cNvSpPr>
              <a:spLocks/>
            </p:cNvSpPr>
            <p:nvPr/>
          </p:nvSpPr>
          <p:spPr bwMode="auto">
            <a:xfrm>
              <a:off x="5486" y="2743"/>
              <a:ext cx="24" cy="34"/>
            </a:xfrm>
            <a:custGeom>
              <a:avLst/>
              <a:gdLst>
                <a:gd name="T0" fmla="*/ 72 w 79"/>
                <a:gd name="T1" fmla="*/ 85 h 104"/>
                <a:gd name="T2" fmla="*/ 56 w 79"/>
                <a:gd name="T3" fmla="*/ 61 h 104"/>
                <a:gd name="T4" fmla="*/ 43 w 79"/>
                <a:gd name="T5" fmla="*/ 41 h 104"/>
                <a:gd name="T6" fmla="*/ 29 w 79"/>
                <a:gd name="T7" fmla="*/ 20 h 104"/>
                <a:gd name="T8" fmla="*/ 12 w 79"/>
                <a:gd name="T9" fmla="*/ 0 h 104"/>
                <a:gd name="T10" fmla="*/ 6 w 79"/>
                <a:gd name="T11" fmla="*/ 16 h 104"/>
                <a:gd name="T12" fmla="*/ 2 w 79"/>
                <a:gd name="T13" fmla="*/ 33 h 104"/>
                <a:gd name="T14" fmla="*/ 0 w 79"/>
                <a:gd name="T15" fmla="*/ 40 h 104"/>
                <a:gd name="T16" fmla="*/ 0 w 79"/>
                <a:gd name="T17" fmla="*/ 48 h 104"/>
                <a:gd name="T18" fmla="*/ 0 w 79"/>
                <a:gd name="T19" fmla="*/ 55 h 104"/>
                <a:gd name="T20" fmla="*/ 0 w 79"/>
                <a:gd name="T21" fmla="*/ 62 h 104"/>
                <a:gd name="T22" fmla="*/ 1 w 79"/>
                <a:gd name="T23" fmla="*/ 68 h 104"/>
                <a:gd name="T24" fmla="*/ 3 w 79"/>
                <a:gd name="T25" fmla="*/ 74 h 104"/>
                <a:gd name="T26" fmla="*/ 6 w 79"/>
                <a:gd name="T27" fmla="*/ 79 h 104"/>
                <a:gd name="T28" fmla="*/ 10 w 79"/>
                <a:gd name="T29" fmla="*/ 83 h 104"/>
                <a:gd name="T30" fmla="*/ 14 w 79"/>
                <a:gd name="T31" fmla="*/ 88 h 104"/>
                <a:gd name="T32" fmla="*/ 20 w 79"/>
                <a:gd name="T33" fmla="*/ 90 h 104"/>
                <a:gd name="T34" fmla="*/ 25 w 79"/>
                <a:gd name="T35" fmla="*/ 92 h 104"/>
                <a:gd name="T36" fmla="*/ 33 w 79"/>
                <a:gd name="T37" fmla="*/ 92 h 104"/>
                <a:gd name="T38" fmla="*/ 43 w 79"/>
                <a:gd name="T39" fmla="*/ 93 h 104"/>
                <a:gd name="T40" fmla="*/ 54 w 79"/>
                <a:gd name="T41" fmla="*/ 96 h 104"/>
                <a:gd name="T42" fmla="*/ 65 w 79"/>
                <a:gd name="T43" fmla="*/ 100 h 104"/>
                <a:gd name="T44" fmla="*/ 79 w 79"/>
                <a:gd name="T45" fmla="*/ 104 h 104"/>
                <a:gd name="T46" fmla="*/ 72 w 79"/>
                <a:gd name="T47" fmla="*/ 85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9" h="104">
                  <a:moveTo>
                    <a:pt x="72" y="85"/>
                  </a:moveTo>
                  <a:lnTo>
                    <a:pt x="56" y="61"/>
                  </a:lnTo>
                  <a:lnTo>
                    <a:pt x="43" y="41"/>
                  </a:lnTo>
                  <a:lnTo>
                    <a:pt x="29" y="20"/>
                  </a:lnTo>
                  <a:lnTo>
                    <a:pt x="12" y="0"/>
                  </a:lnTo>
                  <a:lnTo>
                    <a:pt x="6" y="16"/>
                  </a:lnTo>
                  <a:lnTo>
                    <a:pt x="2" y="33"/>
                  </a:lnTo>
                  <a:lnTo>
                    <a:pt x="0" y="40"/>
                  </a:lnTo>
                  <a:lnTo>
                    <a:pt x="0" y="48"/>
                  </a:lnTo>
                  <a:lnTo>
                    <a:pt x="0" y="55"/>
                  </a:lnTo>
                  <a:lnTo>
                    <a:pt x="0" y="62"/>
                  </a:lnTo>
                  <a:lnTo>
                    <a:pt x="1" y="68"/>
                  </a:lnTo>
                  <a:lnTo>
                    <a:pt x="3" y="74"/>
                  </a:lnTo>
                  <a:lnTo>
                    <a:pt x="6" y="79"/>
                  </a:lnTo>
                  <a:lnTo>
                    <a:pt x="10" y="83"/>
                  </a:lnTo>
                  <a:lnTo>
                    <a:pt x="14" y="88"/>
                  </a:lnTo>
                  <a:lnTo>
                    <a:pt x="20" y="90"/>
                  </a:lnTo>
                  <a:lnTo>
                    <a:pt x="25" y="92"/>
                  </a:lnTo>
                  <a:lnTo>
                    <a:pt x="33" y="92"/>
                  </a:lnTo>
                  <a:lnTo>
                    <a:pt x="43" y="93"/>
                  </a:lnTo>
                  <a:lnTo>
                    <a:pt x="54" y="96"/>
                  </a:lnTo>
                  <a:lnTo>
                    <a:pt x="65" y="100"/>
                  </a:lnTo>
                  <a:lnTo>
                    <a:pt x="79" y="104"/>
                  </a:lnTo>
                  <a:lnTo>
                    <a:pt x="72" y="8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2207" name="Freeform 159"/>
          <p:cNvSpPr>
            <a:spLocks/>
          </p:cNvSpPr>
          <p:nvPr>
            <p:custDataLst>
              <p:tags r:id="rId90"/>
            </p:custDataLst>
          </p:nvPr>
        </p:nvSpPr>
        <p:spPr bwMode="auto">
          <a:xfrm>
            <a:off x="5740401" y="3548063"/>
            <a:ext cx="11113" cy="55562"/>
          </a:xfrm>
          <a:custGeom>
            <a:avLst/>
            <a:gdLst>
              <a:gd name="T0" fmla="*/ 27 w 27"/>
              <a:gd name="T1" fmla="*/ 0 h 19"/>
              <a:gd name="T2" fmla="*/ 27 w 27"/>
              <a:gd name="T3" fmla="*/ 12 h 19"/>
              <a:gd name="T4" fmla="*/ 27 w 27"/>
              <a:gd name="T5" fmla="*/ 19 h 19"/>
              <a:gd name="T6" fmla="*/ 9 w 27"/>
              <a:gd name="T7" fmla="*/ 19 h 19"/>
              <a:gd name="T8" fmla="*/ 0 w 27"/>
              <a:gd name="T9" fmla="*/ 19 h 19"/>
              <a:gd name="T10" fmla="*/ 9 w 27"/>
              <a:gd name="T11" fmla="*/ 12 h 19"/>
              <a:gd name="T12" fmla="*/ 27 w 27"/>
              <a:gd name="T13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08" name="Freeform 160"/>
          <p:cNvSpPr>
            <a:spLocks/>
          </p:cNvSpPr>
          <p:nvPr>
            <p:custDataLst>
              <p:tags r:id="rId91"/>
            </p:custDataLst>
          </p:nvPr>
        </p:nvSpPr>
        <p:spPr bwMode="auto">
          <a:xfrm>
            <a:off x="5664200" y="3687763"/>
            <a:ext cx="14288" cy="57150"/>
          </a:xfrm>
          <a:custGeom>
            <a:avLst/>
            <a:gdLst>
              <a:gd name="T0" fmla="*/ 0 w 39"/>
              <a:gd name="T1" fmla="*/ 0 h 35"/>
              <a:gd name="T2" fmla="*/ 39 w 39"/>
              <a:gd name="T3" fmla="*/ 0 h 35"/>
              <a:gd name="T4" fmla="*/ 36 w 39"/>
              <a:gd name="T5" fmla="*/ 9 h 35"/>
              <a:gd name="T6" fmla="*/ 33 w 39"/>
              <a:gd name="T7" fmla="*/ 19 h 35"/>
              <a:gd name="T8" fmla="*/ 27 w 39"/>
              <a:gd name="T9" fmla="*/ 28 h 35"/>
              <a:gd name="T10" fmla="*/ 22 w 39"/>
              <a:gd name="T11" fmla="*/ 34 h 35"/>
              <a:gd name="T12" fmla="*/ 19 w 39"/>
              <a:gd name="T13" fmla="*/ 35 h 35"/>
              <a:gd name="T14" fmla="*/ 16 w 39"/>
              <a:gd name="T15" fmla="*/ 35 h 35"/>
              <a:gd name="T16" fmla="*/ 13 w 39"/>
              <a:gd name="T17" fmla="*/ 34 h 35"/>
              <a:gd name="T18" fmla="*/ 11 w 39"/>
              <a:gd name="T19" fmla="*/ 31 h 35"/>
              <a:gd name="T20" fmla="*/ 7 w 39"/>
              <a:gd name="T21" fmla="*/ 26 h 35"/>
              <a:gd name="T22" fmla="*/ 5 w 39"/>
              <a:gd name="T23" fmla="*/ 20 h 35"/>
              <a:gd name="T24" fmla="*/ 2 w 39"/>
              <a:gd name="T25" fmla="*/ 11 h 35"/>
              <a:gd name="T26" fmla="*/ 0 w 39"/>
              <a:gd name="T27" fmla="*/ 0 h 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9" h="35">
                <a:moveTo>
                  <a:pt x="0" y="0"/>
                </a:moveTo>
                <a:lnTo>
                  <a:pt x="39" y="0"/>
                </a:lnTo>
                <a:lnTo>
                  <a:pt x="36" y="9"/>
                </a:lnTo>
                <a:lnTo>
                  <a:pt x="33" y="19"/>
                </a:lnTo>
                <a:lnTo>
                  <a:pt x="27" y="28"/>
                </a:lnTo>
                <a:lnTo>
                  <a:pt x="22" y="34"/>
                </a:lnTo>
                <a:lnTo>
                  <a:pt x="19" y="35"/>
                </a:lnTo>
                <a:lnTo>
                  <a:pt x="16" y="35"/>
                </a:lnTo>
                <a:lnTo>
                  <a:pt x="13" y="34"/>
                </a:lnTo>
                <a:lnTo>
                  <a:pt x="11" y="31"/>
                </a:lnTo>
                <a:lnTo>
                  <a:pt x="7" y="26"/>
                </a:lnTo>
                <a:lnTo>
                  <a:pt x="5" y="20"/>
                </a:lnTo>
                <a:lnTo>
                  <a:pt x="2" y="1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09" name="Freeform 161"/>
          <p:cNvSpPr>
            <a:spLocks/>
          </p:cNvSpPr>
          <p:nvPr>
            <p:custDataLst>
              <p:tags r:id="rId92"/>
            </p:custDataLst>
          </p:nvPr>
        </p:nvSpPr>
        <p:spPr bwMode="auto">
          <a:xfrm>
            <a:off x="7462838" y="2014539"/>
            <a:ext cx="728662" cy="331787"/>
          </a:xfrm>
          <a:custGeom>
            <a:avLst/>
            <a:gdLst>
              <a:gd name="T0" fmla="*/ 32 w 1688"/>
              <a:gd name="T1" fmla="*/ 216 h 630"/>
              <a:gd name="T2" fmla="*/ 86 w 1688"/>
              <a:gd name="T3" fmla="*/ 249 h 630"/>
              <a:gd name="T4" fmla="*/ 155 w 1688"/>
              <a:gd name="T5" fmla="*/ 264 h 630"/>
              <a:gd name="T6" fmla="*/ 191 w 1688"/>
              <a:gd name="T7" fmla="*/ 281 h 630"/>
              <a:gd name="T8" fmla="*/ 238 w 1688"/>
              <a:gd name="T9" fmla="*/ 331 h 630"/>
              <a:gd name="T10" fmla="*/ 253 w 1688"/>
              <a:gd name="T11" fmla="*/ 349 h 630"/>
              <a:gd name="T12" fmla="*/ 254 w 1688"/>
              <a:gd name="T13" fmla="*/ 386 h 630"/>
              <a:gd name="T14" fmla="*/ 273 w 1688"/>
              <a:gd name="T15" fmla="*/ 408 h 630"/>
              <a:gd name="T16" fmla="*/ 341 w 1688"/>
              <a:gd name="T17" fmla="*/ 416 h 630"/>
              <a:gd name="T18" fmla="*/ 463 w 1688"/>
              <a:gd name="T19" fmla="*/ 452 h 630"/>
              <a:gd name="T20" fmla="*/ 546 w 1688"/>
              <a:gd name="T21" fmla="*/ 469 h 630"/>
              <a:gd name="T22" fmla="*/ 575 w 1688"/>
              <a:gd name="T23" fmla="*/ 510 h 630"/>
              <a:gd name="T24" fmla="*/ 622 w 1688"/>
              <a:gd name="T25" fmla="*/ 542 h 630"/>
              <a:gd name="T26" fmla="*/ 670 w 1688"/>
              <a:gd name="T27" fmla="*/ 555 h 630"/>
              <a:gd name="T28" fmla="*/ 917 w 1688"/>
              <a:gd name="T29" fmla="*/ 576 h 630"/>
              <a:gd name="T30" fmla="*/ 1037 w 1688"/>
              <a:gd name="T31" fmla="*/ 614 h 630"/>
              <a:gd name="T32" fmla="*/ 1117 w 1688"/>
              <a:gd name="T33" fmla="*/ 630 h 630"/>
              <a:gd name="T34" fmla="*/ 1157 w 1688"/>
              <a:gd name="T35" fmla="*/ 613 h 630"/>
              <a:gd name="T36" fmla="*/ 1344 w 1688"/>
              <a:gd name="T37" fmla="*/ 564 h 630"/>
              <a:gd name="T38" fmla="*/ 1395 w 1688"/>
              <a:gd name="T39" fmla="*/ 510 h 630"/>
              <a:gd name="T40" fmla="*/ 1403 w 1688"/>
              <a:gd name="T41" fmla="*/ 483 h 630"/>
              <a:gd name="T42" fmla="*/ 1386 w 1688"/>
              <a:gd name="T43" fmla="*/ 455 h 630"/>
              <a:gd name="T44" fmla="*/ 1370 w 1688"/>
              <a:gd name="T45" fmla="*/ 415 h 630"/>
              <a:gd name="T46" fmla="*/ 1499 w 1688"/>
              <a:gd name="T47" fmla="*/ 394 h 630"/>
              <a:gd name="T48" fmla="*/ 1594 w 1688"/>
              <a:gd name="T49" fmla="*/ 343 h 630"/>
              <a:gd name="T50" fmla="*/ 1651 w 1688"/>
              <a:gd name="T51" fmla="*/ 325 h 630"/>
              <a:gd name="T52" fmla="*/ 1688 w 1688"/>
              <a:gd name="T53" fmla="*/ 297 h 630"/>
              <a:gd name="T54" fmla="*/ 1656 w 1688"/>
              <a:gd name="T55" fmla="*/ 279 h 630"/>
              <a:gd name="T56" fmla="*/ 1619 w 1688"/>
              <a:gd name="T57" fmla="*/ 252 h 630"/>
              <a:gd name="T58" fmla="*/ 1583 w 1688"/>
              <a:gd name="T59" fmla="*/ 248 h 630"/>
              <a:gd name="T60" fmla="*/ 1553 w 1688"/>
              <a:gd name="T61" fmla="*/ 258 h 630"/>
              <a:gd name="T62" fmla="*/ 1497 w 1688"/>
              <a:gd name="T63" fmla="*/ 256 h 630"/>
              <a:gd name="T64" fmla="*/ 1457 w 1688"/>
              <a:gd name="T65" fmla="*/ 235 h 630"/>
              <a:gd name="T66" fmla="*/ 1434 w 1688"/>
              <a:gd name="T67" fmla="*/ 187 h 630"/>
              <a:gd name="T68" fmla="*/ 1367 w 1688"/>
              <a:gd name="T69" fmla="*/ 124 h 630"/>
              <a:gd name="T70" fmla="*/ 1286 w 1688"/>
              <a:gd name="T71" fmla="*/ 120 h 630"/>
              <a:gd name="T72" fmla="*/ 1260 w 1688"/>
              <a:gd name="T73" fmla="*/ 147 h 630"/>
              <a:gd name="T74" fmla="*/ 1236 w 1688"/>
              <a:gd name="T75" fmla="*/ 165 h 630"/>
              <a:gd name="T76" fmla="*/ 1168 w 1688"/>
              <a:gd name="T77" fmla="*/ 167 h 630"/>
              <a:gd name="T78" fmla="*/ 1044 w 1688"/>
              <a:gd name="T79" fmla="*/ 167 h 630"/>
              <a:gd name="T80" fmla="*/ 986 w 1688"/>
              <a:gd name="T81" fmla="*/ 140 h 630"/>
              <a:gd name="T82" fmla="*/ 922 w 1688"/>
              <a:gd name="T83" fmla="*/ 108 h 630"/>
              <a:gd name="T84" fmla="*/ 852 w 1688"/>
              <a:gd name="T85" fmla="*/ 100 h 630"/>
              <a:gd name="T86" fmla="*/ 801 w 1688"/>
              <a:gd name="T87" fmla="*/ 114 h 630"/>
              <a:gd name="T88" fmla="*/ 740 w 1688"/>
              <a:gd name="T89" fmla="*/ 116 h 630"/>
              <a:gd name="T90" fmla="*/ 692 w 1688"/>
              <a:gd name="T91" fmla="*/ 101 h 630"/>
              <a:gd name="T92" fmla="*/ 662 w 1688"/>
              <a:gd name="T93" fmla="*/ 68 h 630"/>
              <a:gd name="T94" fmla="*/ 446 w 1688"/>
              <a:gd name="T95" fmla="*/ 7 h 630"/>
              <a:gd name="T96" fmla="*/ 446 w 1688"/>
              <a:gd name="T97" fmla="*/ 44 h 630"/>
              <a:gd name="T98" fmla="*/ 471 w 1688"/>
              <a:gd name="T99" fmla="*/ 79 h 630"/>
              <a:gd name="T100" fmla="*/ 490 w 1688"/>
              <a:gd name="T101" fmla="*/ 106 h 630"/>
              <a:gd name="T102" fmla="*/ 307 w 1688"/>
              <a:gd name="T103" fmla="*/ 122 h 630"/>
              <a:gd name="T104" fmla="*/ 294 w 1688"/>
              <a:gd name="T105" fmla="*/ 87 h 630"/>
              <a:gd name="T106" fmla="*/ 225 w 1688"/>
              <a:gd name="T107" fmla="*/ 97 h 630"/>
              <a:gd name="T108" fmla="*/ 185 w 1688"/>
              <a:gd name="T109" fmla="*/ 88 h 630"/>
              <a:gd name="T110" fmla="*/ 138 w 1688"/>
              <a:gd name="T111" fmla="*/ 97 h 630"/>
              <a:gd name="T112" fmla="*/ 68 w 1688"/>
              <a:gd name="T113" fmla="*/ 143 h 630"/>
              <a:gd name="T114" fmla="*/ 31 w 1688"/>
              <a:gd name="T115" fmla="*/ 151 h 630"/>
              <a:gd name="T116" fmla="*/ 4 w 1688"/>
              <a:gd name="T117" fmla="*/ 169 h 6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688" h="630">
                <a:moveTo>
                  <a:pt x="0" y="180"/>
                </a:moveTo>
                <a:lnTo>
                  <a:pt x="7" y="190"/>
                </a:lnTo>
                <a:lnTo>
                  <a:pt x="15" y="199"/>
                </a:lnTo>
                <a:lnTo>
                  <a:pt x="22" y="208"/>
                </a:lnTo>
                <a:lnTo>
                  <a:pt x="32" y="216"/>
                </a:lnTo>
                <a:lnTo>
                  <a:pt x="41" y="224"/>
                </a:lnTo>
                <a:lnTo>
                  <a:pt x="51" y="232"/>
                </a:lnTo>
                <a:lnTo>
                  <a:pt x="62" y="238"/>
                </a:lnTo>
                <a:lnTo>
                  <a:pt x="74" y="244"/>
                </a:lnTo>
                <a:lnTo>
                  <a:pt x="86" y="249"/>
                </a:lnTo>
                <a:lnTo>
                  <a:pt x="99" y="253"/>
                </a:lnTo>
                <a:lnTo>
                  <a:pt x="112" y="257"/>
                </a:lnTo>
                <a:lnTo>
                  <a:pt x="126" y="260"/>
                </a:lnTo>
                <a:lnTo>
                  <a:pt x="140" y="262"/>
                </a:lnTo>
                <a:lnTo>
                  <a:pt x="155" y="264"/>
                </a:lnTo>
                <a:lnTo>
                  <a:pt x="171" y="265"/>
                </a:lnTo>
                <a:lnTo>
                  <a:pt x="187" y="266"/>
                </a:lnTo>
                <a:lnTo>
                  <a:pt x="187" y="270"/>
                </a:lnTo>
                <a:lnTo>
                  <a:pt x="189" y="276"/>
                </a:lnTo>
                <a:lnTo>
                  <a:pt x="191" y="281"/>
                </a:lnTo>
                <a:lnTo>
                  <a:pt x="196" y="288"/>
                </a:lnTo>
                <a:lnTo>
                  <a:pt x="205" y="300"/>
                </a:lnTo>
                <a:lnTo>
                  <a:pt x="215" y="312"/>
                </a:lnTo>
                <a:lnTo>
                  <a:pt x="227" y="323"/>
                </a:lnTo>
                <a:lnTo>
                  <a:pt x="238" y="331"/>
                </a:lnTo>
                <a:lnTo>
                  <a:pt x="242" y="335"/>
                </a:lnTo>
                <a:lnTo>
                  <a:pt x="246" y="337"/>
                </a:lnTo>
                <a:lnTo>
                  <a:pt x="251" y="340"/>
                </a:lnTo>
                <a:lnTo>
                  <a:pt x="253" y="340"/>
                </a:lnTo>
                <a:lnTo>
                  <a:pt x="253" y="349"/>
                </a:lnTo>
                <a:lnTo>
                  <a:pt x="253" y="358"/>
                </a:lnTo>
                <a:lnTo>
                  <a:pt x="253" y="365"/>
                </a:lnTo>
                <a:lnTo>
                  <a:pt x="253" y="370"/>
                </a:lnTo>
                <a:lnTo>
                  <a:pt x="253" y="379"/>
                </a:lnTo>
                <a:lnTo>
                  <a:pt x="254" y="386"/>
                </a:lnTo>
                <a:lnTo>
                  <a:pt x="256" y="394"/>
                </a:lnTo>
                <a:lnTo>
                  <a:pt x="260" y="402"/>
                </a:lnTo>
                <a:lnTo>
                  <a:pt x="262" y="404"/>
                </a:lnTo>
                <a:lnTo>
                  <a:pt x="266" y="406"/>
                </a:lnTo>
                <a:lnTo>
                  <a:pt x="273" y="408"/>
                </a:lnTo>
                <a:lnTo>
                  <a:pt x="280" y="410"/>
                </a:lnTo>
                <a:lnTo>
                  <a:pt x="296" y="413"/>
                </a:lnTo>
                <a:lnTo>
                  <a:pt x="307" y="414"/>
                </a:lnTo>
                <a:lnTo>
                  <a:pt x="323" y="414"/>
                </a:lnTo>
                <a:lnTo>
                  <a:pt x="341" y="416"/>
                </a:lnTo>
                <a:lnTo>
                  <a:pt x="356" y="419"/>
                </a:lnTo>
                <a:lnTo>
                  <a:pt x="373" y="422"/>
                </a:lnTo>
                <a:lnTo>
                  <a:pt x="403" y="431"/>
                </a:lnTo>
                <a:lnTo>
                  <a:pt x="433" y="441"/>
                </a:lnTo>
                <a:lnTo>
                  <a:pt x="463" y="452"/>
                </a:lnTo>
                <a:lnTo>
                  <a:pt x="490" y="461"/>
                </a:lnTo>
                <a:lnTo>
                  <a:pt x="504" y="464"/>
                </a:lnTo>
                <a:lnTo>
                  <a:pt x="518" y="467"/>
                </a:lnTo>
                <a:lnTo>
                  <a:pt x="532" y="469"/>
                </a:lnTo>
                <a:lnTo>
                  <a:pt x="546" y="469"/>
                </a:lnTo>
                <a:lnTo>
                  <a:pt x="548" y="477"/>
                </a:lnTo>
                <a:lnTo>
                  <a:pt x="554" y="485"/>
                </a:lnTo>
                <a:lnTo>
                  <a:pt x="559" y="493"/>
                </a:lnTo>
                <a:lnTo>
                  <a:pt x="566" y="501"/>
                </a:lnTo>
                <a:lnTo>
                  <a:pt x="575" y="510"/>
                </a:lnTo>
                <a:lnTo>
                  <a:pt x="583" y="517"/>
                </a:lnTo>
                <a:lnTo>
                  <a:pt x="592" y="524"/>
                </a:lnTo>
                <a:lnTo>
                  <a:pt x="602" y="531"/>
                </a:lnTo>
                <a:lnTo>
                  <a:pt x="612" y="537"/>
                </a:lnTo>
                <a:lnTo>
                  <a:pt x="622" y="542"/>
                </a:lnTo>
                <a:lnTo>
                  <a:pt x="633" y="547"/>
                </a:lnTo>
                <a:lnTo>
                  <a:pt x="643" y="550"/>
                </a:lnTo>
                <a:lnTo>
                  <a:pt x="653" y="553"/>
                </a:lnTo>
                <a:lnTo>
                  <a:pt x="661" y="555"/>
                </a:lnTo>
                <a:lnTo>
                  <a:pt x="670" y="555"/>
                </a:lnTo>
                <a:lnTo>
                  <a:pt x="679" y="555"/>
                </a:lnTo>
                <a:lnTo>
                  <a:pt x="738" y="568"/>
                </a:lnTo>
                <a:lnTo>
                  <a:pt x="904" y="568"/>
                </a:lnTo>
                <a:lnTo>
                  <a:pt x="910" y="572"/>
                </a:lnTo>
                <a:lnTo>
                  <a:pt x="917" y="576"/>
                </a:lnTo>
                <a:lnTo>
                  <a:pt x="928" y="580"/>
                </a:lnTo>
                <a:lnTo>
                  <a:pt x="940" y="585"/>
                </a:lnTo>
                <a:lnTo>
                  <a:pt x="970" y="595"/>
                </a:lnTo>
                <a:lnTo>
                  <a:pt x="1003" y="605"/>
                </a:lnTo>
                <a:lnTo>
                  <a:pt x="1037" y="614"/>
                </a:lnTo>
                <a:lnTo>
                  <a:pt x="1070" y="623"/>
                </a:lnTo>
                <a:lnTo>
                  <a:pt x="1084" y="626"/>
                </a:lnTo>
                <a:lnTo>
                  <a:pt x="1097" y="628"/>
                </a:lnTo>
                <a:lnTo>
                  <a:pt x="1108" y="629"/>
                </a:lnTo>
                <a:lnTo>
                  <a:pt x="1117" y="630"/>
                </a:lnTo>
                <a:lnTo>
                  <a:pt x="1121" y="629"/>
                </a:lnTo>
                <a:lnTo>
                  <a:pt x="1127" y="627"/>
                </a:lnTo>
                <a:lnTo>
                  <a:pt x="1134" y="625"/>
                </a:lnTo>
                <a:lnTo>
                  <a:pt x="1140" y="622"/>
                </a:lnTo>
                <a:lnTo>
                  <a:pt x="1157" y="613"/>
                </a:lnTo>
                <a:lnTo>
                  <a:pt x="1174" y="603"/>
                </a:lnTo>
                <a:lnTo>
                  <a:pt x="1209" y="583"/>
                </a:lnTo>
                <a:lnTo>
                  <a:pt x="1237" y="568"/>
                </a:lnTo>
                <a:lnTo>
                  <a:pt x="1337" y="568"/>
                </a:lnTo>
                <a:lnTo>
                  <a:pt x="1344" y="564"/>
                </a:lnTo>
                <a:lnTo>
                  <a:pt x="1355" y="556"/>
                </a:lnTo>
                <a:lnTo>
                  <a:pt x="1366" y="546"/>
                </a:lnTo>
                <a:lnTo>
                  <a:pt x="1377" y="534"/>
                </a:lnTo>
                <a:lnTo>
                  <a:pt x="1387" y="522"/>
                </a:lnTo>
                <a:lnTo>
                  <a:pt x="1395" y="510"/>
                </a:lnTo>
                <a:lnTo>
                  <a:pt x="1398" y="503"/>
                </a:lnTo>
                <a:lnTo>
                  <a:pt x="1400" y="497"/>
                </a:lnTo>
                <a:lnTo>
                  <a:pt x="1403" y="492"/>
                </a:lnTo>
                <a:lnTo>
                  <a:pt x="1403" y="487"/>
                </a:lnTo>
                <a:lnTo>
                  <a:pt x="1403" y="483"/>
                </a:lnTo>
                <a:lnTo>
                  <a:pt x="1401" y="479"/>
                </a:lnTo>
                <a:lnTo>
                  <a:pt x="1399" y="475"/>
                </a:lnTo>
                <a:lnTo>
                  <a:pt x="1397" y="471"/>
                </a:lnTo>
                <a:lnTo>
                  <a:pt x="1392" y="463"/>
                </a:lnTo>
                <a:lnTo>
                  <a:pt x="1386" y="455"/>
                </a:lnTo>
                <a:lnTo>
                  <a:pt x="1379" y="445"/>
                </a:lnTo>
                <a:lnTo>
                  <a:pt x="1374" y="434"/>
                </a:lnTo>
                <a:lnTo>
                  <a:pt x="1373" y="429"/>
                </a:lnTo>
                <a:lnTo>
                  <a:pt x="1371" y="422"/>
                </a:lnTo>
                <a:lnTo>
                  <a:pt x="1370" y="415"/>
                </a:lnTo>
                <a:lnTo>
                  <a:pt x="1370" y="408"/>
                </a:lnTo>
                <a:lnTo>
                  <a:pt x="1483" y="408"/>
                </a:lnTo>
                <a:lnTo>
                  <a:pt x="1486" y="404"/>
                </a:lnTo>
                <a:lnTo>
                  <a:pt x="1491" y="399"/>
                </a:lnTo>
                <a:lnTo>
                  <a:pt x="1499" y="394"/>
                </a:lnTo>
                <a:lnTo>
                  <a:pt x="1508" y="388"/>
                </a:lnTo>
                <a:lnTo>
                  <a:pt x="1529" y="376"/>
                </a:lnTo>
                <a:lnTo>
                  <a:pt x="1551" y="364"/>
                </a:lnTo>
                <a:lnTo>
                  <a:pt x="1574" y="352"/>
                </a:lnTo>
                <a:lnTo>
                  <a:pt x="1594" y="343"/>
                </a:lnTo>
                <a:lnTo>
                  <a:pt x="1608" y="335"/>
                </a:lnTo>
                <a:lnTo>
                  <a:pt x="1616" y="333"/>
                </a:lnTo>
                <a:lnTo>
                  <a:pt x="1628" y="332"/>
                </a:lnTo>
                <a:lnTo>
                  <a:pt x="1640" y="329"/>
                </a:lnTo>
                <a:lnTo>
                  <a:pt x="1651" y="325"/>
                </a:lnTo>
                <a:lnTo>
                  <a:pt x="1662" y="319"/>
                </a:lnTo>
                <a:lnTo>
                  <a:pt x="1670" y="314"/>
                </a:lnTo>
                <a:lnTo>
                  <a:pt x="1679" y="308"/>
                </a:lnTo>
                <a:lnTo>
                  <a:pt x="1685" y="302"/>
                </a:lnTo>
                <a:lnTo>
                  <a:pt x="1688" y="297"/>
                </a:lnTo>
                <a:lnTo>
                  <a:pt x="1680" y="294"/>
                </a:lnTo>
                <a:lnTo>
                  <a:pt x="1674" y="291"/>
                </a:lnTo>
                <a:lnTo>
                  <a:pt x="1667" y="288"/>
                </a:lnTo>
                <a:lnTo>
                  <a:pt x="1661" y="284"/>
                </a:lnTo>
                <a:lnTo>
                  <a:pt x="1656" y="279"/>
                </a:lnTo>
                <a:lnTo>
                  <a:pt x="1652" y="275"/>
                </a:lnTo>
                <a:lnTo>
                  <a:pt x="1650" y="270"/>
                </a:lnTo>
                <a:lnTo>
                  <a:pt x="1648" y="266"/>
                </a:lnTo>
                <a:lnTo>
                  <a:pt x="1632" y="258"/>
                </a:lnTo>
                <a:lnTo>
                  <a:pt x="1619" y="252"/>
                </a:lnTo>
                <a:lnTo>
                  <a:pt x="1613" y="250"/>
                </a:lnTo>
                <a:lnTo>
                  <a:pt x="1608" y="249"/>
                </a:lnTo>
                <a:lnTo>
                  <a:pt x="1602" y="248"/>
                </a:lnTo>
                <a:lnTo>
                  <a:pt x="1596" y="247"/>
                </a:lnTo>
                <a:lnTo>
                  <a:pt x="1583" y="248"/>
                </a:lnTo>
                <a:lnTo>
                  <a:pt x="1574" y="249"/>
                </a:lnTo>
                <a:lnTo>
                  <a:pt x="1567" y="251"/>
                </a:lnTo>
                <a:lnTo>
                  <a:pt x="1563" y="253"/>
                </a:lnTo>
                <a:lnTo>
                  <a:pt x="1558" y="256"/>
                </a:lnTo>
                <a:lnTo>
                  <a:pt x="1553" y="258"/>
                </a:lnTo>
                <a:lnTo>
                  <a:pt x="1546" y="259"/>
                </a:lnTo>
                <a:lnTo>
                  <a:pt x="1535" y="259"/>
                </a:lnTo>
                <a:lnTo>
                  <a:pt x="1521" y="259"/>
                </a:lnTo>
                <a:lnTo>
                  <a:pt x="1509" y="258"/>
                </a:lnTo>
                <a:lnTo>
                  <a:pt x="1497" y="256"/>
                </a:lnTo>
                <a:lnTo>
                  <a:pt x="1487" y="253"/>
                </a:lnTo>
                <a:lnTo>
                  <a:pt x="1478" y="249"/>
                </a:lnTo>
                <a:lnTo>
                  <a:pt x="1471" y="245"/>
                </a:lnTo>
                <a:lnTo>
                  <a:pt x="1463" y="240"/>
                </a:lnTo>
                <a:lnTo>
                  <a:pt x="1457" y="235"/>
                </a:lnTo>
                <a:lnTo>
                  <a:pt x="1452" y="228"/>
                </a:lnTo>
                <a:lnTo>
                  <a:pt x="1448" y="220"/>
                </a:lnTo>
                <a:lnTo>
                  <a:pt x="1443" y="213"/>
                </a:lnTo>
                <a:lnTo>
                  <a:pt x="1440" y="205"/>
                </a:lnTo>
                <a:lnTo>
                  <a:pt x="1434" y="187"/>
                </a:lnTo>
                <a:lnTo>
                  <a:pt x="1429" y="167"/>
                </a:lnTo>
                <a:lnTo>
                  <a:pt x="1422" y="136"/>
                </a:lnTo>
                <a:lnTo>
                  <a:pt x="1412" y="134"/>
                </a:lnTo>
                <a:lnTo>
                  <a:pt x="1385" y="127"/>
                </a:lnTo>
                <a:lnTo>
                  <a:pt x="1367" y="124"/>
                </a:lnTo>
                <a:lnTo>
                  <a:pt x="1347" y="121"/>
                </a:lnTo>
                <a:lnTo>
                  <a:pt x="1326" y="119"/>
                </a:lnTo>
                <a:lnTo>
                  <a:pt x="1303" y="118"/>
                </a:lnTo>
                <a:lnTo>
                  <a:pt x="1294" y="119"/>
                </a:lnTo>
                <a:lnTo>
                  <a:pt x="1286" y="120"/>
                </a:lnTo>
                <a:lnTo>
                  <a:pt x="1281" y="123"/>
                </a:lnTo>
                <a:lnTo>
                  <a:pt x="1275" y="126"/>
                </a:lnTo>
                <a:lnTo>
                  <a:pt x="1267" y="134"/>
                </a:lnTo>
                <a:lnTo>
                  <a:pt x="1262" y="142"/>
                </a:lnTo>
                <a:lnTo>
                  <a:pt x="1260" y="147"/>
                </a:lnTo>
                <a:lnTo>
                  <a:pt x="1257" y="151"/>
                </a:lnTo>
                <a:lnTo>
                  <a:pt x="1252" y="156"/>
                </a:lnTo>
                <a:lnTo>
                  <a:pt x="1248" y="159"/>
                </a:lnTo>
                <a:lnTo>
                  <a:pt x="1242" y="162"/>
                </a:lnTo>
                <a:lnTo>
                  <a:pt x="1236" y="165"/>
                </a:lnTo>
                <a:lnTo>
                  <a:pt x="1227" y="166"/>
                </a:lnTo>
                <a:lnTo>
                  <a:pt x="1217" y="167"/>
                </a:lnTo>
                <a:lnTo>
                  <a:pt x="1199" y="167"/>
                </a:lnTo>
                <a:lnTo>
                  <a:pt x="1184" y="167"/>
                </a:lnTo>
                <a:lnTo>
                  <a:pt x="1168" y="167"/>
                </a:lnTo>
                <a:lnTo>
                  <a:pt x="1150" y="167"/>
                </a:lnTo>
                <a:lnTo>
                  <a:pt x="1130" y="167"/>
                </a:lnTo>
                <a:lnTo>
                  <a:pt x="1106" y="167"/>
                </a:lnTo>
                <a:lnTo>
                  <a:pt x="1078" y="167"/>
                </a:lnTo>
                <a:lnTo>
                  <a:pt x="1044" y="167"/>
                </a:lnTo>
                <a:lnTo>
                  <a:pt x="1034" y="164"/>
                </a:lnTo>
                <a:lnTo>
                  <a:pt x="1025" y="160"/>
                </a:lnTo>
                <a:lnTo>
                  <a:pt x="1015" y="156"/>
                </a:lnTo>
                <a:lnTo>
                  <a:pt x="1005" y="151"/>
                </a:lnTo>
                <a:lnTo>
                  <a:pt x="986" y="140"/>
                </a:lnTo>
                <a:lnTo>
                  <a:pt x="967" y="129"/>
                </a:lnTo>
                <a:lnTo>
                  <a:pt x="956" y="123"/>
                </a:lnTo>
                <a:lnTo>
                  <a:pt x="945" y="118"/>
                </a:lnTo>
                <a:lnTo>
                  <a:pt x="934" y="112"/>
                </a:lnTo>
                <a:lnTo>
                  <a:pt x="922" y="108"/>
                </a:lnTo>
                <a:lnTo>
                  <a:pt x="908" y="104"/>
                </a:lnTo>
                <a:lnTo>
                  <a:pt x="895" y="102"/>
                </a:lnTo>
                <a:lnTo>
                  <a:pt x="880" y="100"/>
                </a:lnTo>
                <a:lnTo>
                  <a:pt x="865" y="99"/>
                </a:lnTo>
                <a:lnTo>
                  <a:pt x="852" y="100"/>
                </a:lnTo>
                <a:lnTo>
                  <a:pt x="841" y="102"/>
                </a:lnTo>
                <a:lnTo>
                  <a:pt x="832" y="105"/>
                </a:lnTo>
                <a:lnTo>
                  <a:pt x="822" y="108"/>
                </a:lnTo>
                <a:lnTo>
                  <a:pt x="811" y="112"/>
                </a:lnTo>
                <a:lnTo>
                  <a:pt x="801" y="114"/>
                </a:lnTo>
                <a:lnTo>
                  <a:pt x="790" y="118"/>
                </a:lnTo>
                <a:lnTo>
                  <a:pt x="778" y="118"/>
                </a:lnTo>
                <a:lnTo>
                  <a:pt x="765" y="118"/>
                </a:lnTo>
                <a:lnTo>
                  <a:pt x="753" y="117"/>
                </a:lnTo>
                <a:lnTo>
                  <a:pt x="740" y="116"/>
                </a:lnTo>
                <a:lnTo>
                  <a:pt x="729" y="114"/>
                </a:lnTo>
                <a:lnTo>
                  <a:pt x="720" y="111"/>
                </a:lnTo>
                <a:lnTo>
                  <a:pt x="710" y="108"/>
                </a:lnTo>
                <a:lnTo>
                  <a:pt x="701" y="105"/>
                </a:lnTo>
                <a:lnTo>
                  <a:pt x="692" y="101"/>
                </a:lnTo>
                <a:lnTo>
                  <a:pt x="686" y="96"/>
                </a:lnTo>
                <a:lnTo>
                  <a:pt x="678" y="90"/>
                </a:lnTo>
                <a:lnTo>
                  <a:pt x="672" y="84"/>
                </a:lnTo>
                <a:lnTo>
                  <a:pt x="667" y="76"/>
                </a:lnTo>
                <a:lnTo>
                  <a:pt x="662" y="68"/>
                </a:lnTo>
                <a:lnTo>
                  <a:pt x="658" y="58"/>
                </a:lnTo>
                <a:lnTo>
                  <a:pt x="655" y="49"/>
                </a:lnTo>
                <a:lnTo>
                  <a:pt x="652" y="38"/>
                </a:lnTo>
                <a:lnTo>
                  <a:pt x="459" y="0"/>
                </a:lnTo>
                <a:lnTo>
                  <a:pt x="446" y="7"/>
                </a:lnTo>
                <a:lnTo>
                  <a:pt x="446" y="16"/>
                </a:lnTo>
                <a:lnTo>
                  <a:pt x="446" y="23"/>
                </a:lnTo>
                <a:lnTo>
                  <a:pt x="446" y="30"/>
                </a:lnTo>
                <a:lnTo>
                  <a:pt x="446" y="38"/>
                </a:lnTo>
                <a:lnTo>
                  <a:pt x="446" y="44"/>
                </a:lnTo>
                <a:lnTo>
                  <a:pt x="448" y="50"/>
                </a:lnTo>
                <a:lnTo>
                  <a:pt x="451" y="55"/>
                </a:lnTo>
                <a:lnTo>
                  <a:pt x="454" y="61"/>
                </a:lnTo>
                <a:lnTo>
                  <a:pt x="463" y="71"/>
                </a:lnTo>
                <a:lnTo>
                  <a:pt x="471" y="79"/>
                </a:lnTo>
                <a:lnTo>
                  <a:pt x="476" y="84"/>
                </a:lnTo>
                <a:lnTo>
                  <a:pt x="480" y="89"/>
                </a:lnTo>
                <a:lnTo>
                  <a:pt x="485" y="94"/>
                </a:lnTo>
                <a:lnTo>
                  <a:pt x="488" y="100"/>
                </a:lnTo>
                <a:lnTo>
                  <a:pt x="490" y="106"/>
                </a:lnTo>
                <a:lnTo>
                  <a:pt x="492" y="113"/>
                </a:lnTo>
                <a:lnTo>
                  <a:pt x="493" y="122"/>
                </a:lnTo>
                <a:lnTo>
                  <a:pt x="492" y="130"/>
                </a:lnTo>
                <a:lnTo>
                  <a:pt x="313" y="130"/>
                </a:lnTo>
                <a:lnTo>
                  <a:pt x="307" y="122"/>
                </a:lnTo>
                <a:lnTo>
                  <a:pt x="300" y="113"/>
                </a:lnTo>
                <a:lnTo>
                  <a:pt x="298" y="108"/>
                </a:lnTo>
                <a:lnTo>
                  <a:pt x="296" y="102"/>
                </a:lnTo>
                <a:lnTo>
                  <a:pt x="294" y="95"/>
                </a:lnTo>
                <a:lnTo>
                  <a:pt x="294" y="87"/>
                </a:lnTo>
                <a:lnTo>
                  <a:pt x="279" y="87"/>
                </a:lnTo>
                <a:lnTo>
                  <a:pt x="266" y="87"/>
                </a:lnTo>
                <a:lnTo>
                  <a:pt x="240" y="99"/>
                </a:lnTo>
                <a:lnTo>
                  <a:pt x="233" y="99"/>
                </a:lnTo>
                <a:lnTo>
                  <a:pt x="225" y="97"/>
                </a:lnTo>
                <a:lnTo>
                  <a:pt x="219" y="95"/>
                </a:lnTo>
                <a:lnTo>
                  <a:pt x="211" y="93"/>
                </a:lnTo>
                <a:lnTo>
                  <a:pt x="204" y="91"/>
                </a:lnTo>
                <a:lnTo>
                  <a:pt x="195" y="89"/>
                </a:lnTo>
                <a:lnTo>
                  <a:pt x="185" y="88"/>
                </a:lnTo>
                <a:lnTo>
                  <a:pt x="174" y="87"/>
                </a:lnTo>
                <a:lnTo>
                  <a:pt x="164" y="88"/>
                </a:lnTo>
                <a:lnTo>
                  <a:pt x="155" y="90"/>
                </a:lnTo>
                <a:lnTo>
                  <a:pt x="146" y="93"/>
                </a:lnTo>
                <a:lnTo>
                  <a:pt x="138" y="97"/>
                </a:lnTo>
                <a:lnTo>
                  <a:pt x="122" y="106"/>
                </a:lnTo>
                <a:lnTo>
                  <a:pt x="107" y="118"/>
                </a:lnTo>
                <a:lnTo>
                  <a:pt x="92" y="129"/>
                </a:lnTo>
                <a:lnTo>
                  <a:pt x="76" y="139"/>
                </a:lnTo>
                <a:lnTo>
                  <a:pt x="68" y="143"/>
                </a:lnTo>
                <a:lnTo>
                  <a:pt x="60" y="146"/>
                </a:lnTo>
                <a:lnTo>
                  <a:pt x="50" y="148"/>
                </a:lnTo>
                <a:lnTo>
                  <a:pt x="41" y="149"/>
                </a:lnTo>
                <a:lnTo>
                  <a:pt x="37" y="149"/>
                </a:lnTo>
                <a:lnTo>
                  <a:pt x="31" y="151"/>
                </a:lnTo>
                <a:lnTo>
                  <a:pt x="25" y="153"/>
                </a:lnTo>
                <a:lnTo>
                  <a:pt x="18" y="157"/>
                </a:lnTo>
                <a:lnTo>
                  <a:pt x="11" y="161"/>
                </a:lnTo>
                <a:lnTo>
                  <a:pt x="6" y="166"/>
                </a:lnTo>
                <a:lnTo>
                  <a:pt x="4" y="169"/>
                </a:lnTo>
                <a:lnTo>
                  <a:pt x="3" y="173"/>
                </a:lnTo>
                <a:lnTo>
                  <a:pt x="1" y="177"/>
                </a:lnTo>
                <a:lnTo>
                  <a:pt x="0" y="18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10" name="Freeform 162"/>
          <p:cNvSpPr>
            <a:spLocks/>
          </p:cNvSpPr>
          <p:nvPr>
            <p:custDataLst>
              <p:tags r:id="rId93"/>
            </p:custDataLst>
          </p:nvPr>
        </p:nvSpPr>
        <p:spPr bwMode="auto">
          <a:xfrm>
            <a:off x="3789363" y="3981451"/>
            <a:ext cx="328612" cy="415925"/>
          </a:xfrm>
          <a:custGeom>
            <a:avLst/>
            <a:gdLst>
              <a:gd name="T0" fmla="*/ 26 w 758"/>
              <a:gd name="T1" fmla="*/ 80 h 795"/>
              <a:gd name="T2" fmla="*/ 49 w 758"/>
              <a:gd name="T3" fmla="*/ 88 h 795"/>
              <a:gd name="T4" fmla="*/ 72 w 758"/>
              <a:gd name="T5" fmla="*/ 108 h 795"/>
              <a:gd name="T6" fmla="*/ 88 w 758"/>
              <a:gd name="T7" fmla="*/ 134 h 795"/>
              <a:gd name="T8" fmla="*/ 93 w 758"/>
              <a:gd name="T9" fmla="*/ 169 h 795"/>
              <a:gd name="T10" fmla="*/ 84 w 758"/>
              <a:gd name="T11" fmla="*/ 186 h 795"/>
              <a:gd name="T12" fmla="*/ 81 w 758"/>
              <a:gd name="T13" fmla="*/ 205 h 795"/>
              <a:gd name="T14" fmla="*/ 88 w 758"/>
              <a:gd name="T15" fmla="*/ 240 h 795"/>
              <a:gd name="T16" fmla="*/ 95 w 758"/>
              <a:gd name="T17" fmla="*/ 278 h 795"/>
              <a:gd name="T18" fmla="*/ 83 w 758"/>
              <a:gd name="T19" fmla="*/ 308 h 795"/>
              <a:gd name="T20" fmla="*/ 81 w 758"/>
              <a:gd name="T21" fmla="*/ 352 h 795"/>
              <a:gd name="T22" fmla="*/ 93 w 758"/>
              <a:gd name="T23" fmla="*/ 390 h 795"/>
              <a:gd name="T24" fmla="*/ 99 w 758"/>
              <a:gd name="T25" fmla="*/ 415 h 795"/>
              <a:gd name="T26" fmla="*/ 78 w 758"/>
              <a:gd name="T27" fmla="*/ 457 h 795"/>
              <a:gd name="T28" fmla="*/ 113 w 758"/>
              <a:gd name="T29" fmla="*/ 529 h 795"/>
              <a:gd name="T30" fmla="*/ 138 w 758"/>
              <a:gd name="T31" fmla="*/ 577 h 795"/>
              <a:gd name="T32" fmla="*/ 146 w 758"/>
              <a:gd name="T33" fmla="*/ 622 h 795"/>
              <a:gd name="T34" fmla="*/ 152 w 758"/>
              <a:gd name="T35" fmla="*/ 659 h 795"/>
              <a:gd name="T36" fmla="*/ 187 w 758"/>
              <a:gd name="T37" fmla="*/ 738 h 795"/>
              <a:gd name="T38" fmla="*/ 214 w 758"/>
              <a:gd name="T39" fmla="*/ 782 h 795"/>
              <a:gd name="T40" fmla="*/ 230 w 758"/>
              <a:gd name="T41" fmla="*/ 794 h 795"/>
              <a:gd name="T42" fmla="*/ 251 w 758"/>
              <a:gd name="T43" fmla="*/ 790 h 795"/>
              <a:gd name="T44" fmla="*/ 289 w 758"/>
              <a:gd name="T45" fmla="*/ 761 h 795"/>
              <a:gd name="T46" fmla="*/ 324 w 758"/>
              <a:gd name="T47" fmla="*/ 746 h 795"/>
              <a:gd name="T48" fmla="*/ 355 w 758"/>
              <a:gd name="T49" fmla="*/ 748 h 795"/>
              <a:gd name="T50" fmla="*/ 388 w 758"/>
              <a:gd name="T51" fmla="*/ 770 h 795"/>
              <a:gd name="T52" fmla="*/ 418 w 758"/>
              <a:gd name="T53" fmla="*/ 780 h 795"/>
              <a:gd name="T54" fmla="*/ 437 w 758"/>
              <a:gd name="T55" fmla="*/ 758 h 795"/>
              <a:gd name="T56" fmla="*/ 478 w 758"/>
              <a:gd name="T57" fmla="*/ 745 h 795"/>
              <a:gd name="T58" fmla="*/ 525 w 758"/>
              <a:gd name="T59" fmla="*/ 622 h 795"/>
              <a:gd name="T60" fmla="*/ 539 w 758"/>
              <a:gd name="T61" fmla="*/ 600 h 795"/>
              <a:gd name="T62" fmla="*/ 575 w 758"/>
              <a:gd name="T63" fmla="*/ 584 h 795"/>
              <a:gd name="T64" fmla="*/ 665 w 758"/>
              <a:gd name="T65" fmla="*/ 573 h 795"/>
              <a:gd name="T66" fmla="*/ 687 w 758"/>
              <a:gd name="T67" fmla="*/ 579 h 795"/>
              <a:gd name="T68" fmla="*/ 704 w 758"/>
              <a:gd name="T69" fmla="*/ 585 h 795"/>
              <a:gd name="T70" fmla="*/ 744 w 758"/>
              <a:gd name="T71" fmla="*/ 573 h 795"/>
              <a:gd name="T72" fmla="*/ 757 w 758"/>
              <a:gd name="T73" fmla="*/ 541 h 795"/>
              <a:gd name="T74" fmla="*/ 752 w 758"/>
              <a:gd name="T75" fmla="*/ 499 h 795"/>
              <a:gd name="T76" fmla="*/ 726 w 758"/>
              <a:gd name="T77" fmla="*/ 462 h 795"/>
              <a:gd name="T78" fmla="*/ 710 w 758"/>
              <a:gd name="T79" fmla="*/ 435 h 795"/>
              <a:gd name="T80" fmla="*/ 671 w 758"/>
              <a:gd name="T81" fmla="*/ 401 h 795"/>
              <a:gd name="T82" fmla="*/ 633 w 758"/>
              <a:gd name="T83" fmla="*/ 399 h 795"/>
              <a:gd name="T84" fmla="*/ 605 w 758"/>
              <a:gd name="T85" fmla="*/ 378 h 795"/>
              <a:gd name="T86" fmla="*/ 590 w 758"/>
              <a:gd name="T87" fmla="*/ 349 h 795"/>
              <a:gd name="T88" fmla="*/ 585 w 758"/>
              <a:gd name="T89" fmla="*/ 311 h 795"/>
              <a:gd name="T90" fmla="*/ 583 w 758"/>
              <a:gd name="T91" fmla="*/ 269 h 795"/>
              <a:gd name="T92" fmla="*/ 560 w 758"/>
              <a:gd name="T93" fmla="*/ 242 h 795"/>
              <a:gd name="T94" fmla="*/ 503 w 758"/>
              <a:gd name="T95" fmla="*/ 205 h 795"/>
              <a:gd name="T96" fmla="*/ 440 w 758"/>
              <a:gd name="T97" fmla="*/ 178 h 795"/>
              <a:gd name="T98" fmla="*/ 392 w 758"/>
              <a:gd name="T99" fmla="*/ 167 h 795"/>
              <a:gd name="T100" fmla="*/ 359 w 758"/>
              <a:gd name="T101" fmla="*/ 161 h 795"/>
              <a:gd name="T102" fmla="*/ 330 w 758"/>
              <a:gd name="T103" fmla="*/ 145 h 795"/>
              <a:gd name="T104" fmla="*/ 307 w 758"/>
              <a:gd name="T105" fmla="*/ 122 h 795"/>
              <a:gd name="T106" fmla="*/ 292 w 758"/>
              <a:gd name="T107" fmla="*/ 92 h 795"/>
              <a:gd name="T108" fmla="*/ 279 w 758"/>
              <a:gd name="T109" fmla="*/ 19 h 795"/>
              <a:gd name="T110" fmla="*/ 261 w 758"/>
              <a:gd name="T111" fmla="*/ 3 h 795"/>
              <a:gd name="T112" fmla="*/ 227 w 758"/>
              <a:gd name="T113" fmla="*/ 3 h 795"/>
              <a:gd name="T114" fmla="*/ 173 w 758"/>
              <a:gd name="T115" fmla="*/ 30 h 795"/>
              <a:gd name="T116" fmla="*/ 119 w 758"/>
              <a:gd name="T117" fmla="*/ 66 h 795"/>
              <a:gd name="T118" fmla="*/ 0 w 758"/>
              <a:gd name="T119" fmla="*/ 80 h 7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58" h="795">
                <a:moveTo>
                  <a:pt x="0" y="80"/>
                </a:moveTo>
                <a:lnTo>
                  <a:pt x="10" y="80"/>
                </a:lnTo>
                <a:lnTo>
                  <a:pt x="20" y="80"/>
                </a:lnTo>
                <a:lnTo>
                  <a:pt x="26" y="80"/>
                </a:lnTo>
                <a:lnTo>
                  <a:pt x="31" y="81"/>
                </a:lnTo>
                <a:lnTo>
                  <a:pt x="37" y="83"/>
                </a:lnTo>
                <a:lnTo>
                  <a:pt x="43" y="85"/>
                </a:lnTo>
                <a:lnTo>
                  <a:pt x="49" y="88"/>
                </a:lnTo>
                <a:lnTo>
                  <a:pt x="55" y="92"/>
                </a:lnTo>
                <a:lnTo>
                  <a:pt x="61" y="97"/>
                </a:lnTo>
                <a:lnTo>
                  <a:pt x="66" y="102"/>
                </a:lnTo>
                <a:lnTo>
                  <a:pt x="72" y="108"/>
                </a:lnTo>
                <a:lnTo>
                  <a:pt x="77" y="113"/>
                </a:lnTo>
                <a:lnTo>
                  <a:pt x="82" y="120"/>
                </a:lnTo>
                <a:lnTo>
                  <a:pt x="86" y="127"/>
                </a:lnTo>
                <a:lnTo>
                  <a:pt x="88" y="134"/>
                </a:lnTo>
                <a:lnTo>
                  <a:pt x="92" y="142"/>
                </a:lnTo>
                <a:lnTo>
                  <a:pt x="93" y="152"/>
                </a:lnTo>
                <a:lnTo>
                  <a:pt x="94" y="161"/>
                </a:lnTo>
                <a:lnTo>
                  <a:pt x="93" y="169"/>
                </a:lnTo>
                <a:lnTo>
                  <a:pt x="92" y="175"/>
                </a:lnTo>
                <a:lnTo>
                  <a:pt x="89" y="180"/>
                </a:lnTo>
                <a:lnTo>
                  <a:pt x="87" y="183"/>
                </a:lnTo>
                <a:lnTo>
                  <a:pt x="84" y="186"/>
                </a:lnTo>
                <a:lnTo>
                  <a:pt x="82" y="190"/>
                </a:lnTo>
                <a:lnTo>
                  <a:pt x="81" y="193"/>
                </a:lnTo>
                <a:lnTo>
                  <a:pt x="81" y="197"/>
                </a:lnTo>
                <a:lnTo>
                  <a:pt x="81" y="205"/>
                </a:lnTo>
                <a:lnTo>
                  <a:pt x="82" y="214"/>
                </a:lnTo>
                <a:lnTo>
                  <a:pt x="83" y="221"/>
                </a:lnTo>
                <a:lnTo>
                  <a:pt x="84" y="227"/>
                </a:lnTo>
                <a:lnTo>
                  <a:pt x="88" y="240"/>
                </a:lnTo>
                <a:lnTo>
                  <a:pt x="94" y="252"/>
                </a:lnTo>
                <a:lnTo>
                  <a:pt x="97" y="262"/>
                </a:lnTo>
                <a:lnTo>
                  <a:pt x="100" y="271"/>
                </a:lnTo>
                <a:lnTo>
                  <a:pt x="95" y="278"/>
                </a:lnTo>
                <a:lnTo>
                  <a:pt x="92" y="285"/>
                </a:lnTo>
                <a:lnTo>
                  <a:pt x="88" y="293"/>
                </a:lnTo>
                <a:lnTo>
                  <a:pt x="85" y="300"/>
                </a:lnTo>
                <a:lnTo>
                  <a:pt x="83" y="308"/>
                </a:lnTo>
                <a:lnTo>
                  <a:pt x="82" y="318"/>
                </a:lnTo>
                <a:lnTo>
                  <a:pt x="81" y="328"/>
                </a:lnTo>
                <a:lnTo>
                  <a:pt x="81" y="339"/>
                </a:lnTo>
                <a:lnTo>
                  <a:pt x="81" y="352"/>
                </a:lnTo>
                <a:lnTo>
                  <a:pt x="83" y="363"/>
                </a:lnTo>
                <a:lnTo>
                  <a:pt x="85" y="374"/>
                </a:lnTo>
                <a:lnTo>
                  <a:pt x="88" y="382"/>
                </a:lnTo>
                <a:lnTo>
                  <a:pt x="93" y="390"/>
                </a:lnTo>
                <a:lnTo>
                  <a:pt x="97" y="396"/>
                </a:lnTo>
                <a:lnTo>
                  <a:pt x="101" y="402"/>
                </a:lnTo>
                <a:lnTo>
                  <a:pt x="107" y="407"/>
                </a:lnTo>
                <a:lnTo>
                  <a:pt x="99" y="415"/>
                </a:lnTo>
                <a:lnTo>
                  <a:pt x="94" y="424"/>
                </a:lnTo>
                <a:lnTo>
                  <a:pt x="89" y="433"/>
                </a:lnTo>
                <a:lnTo>
                  <a:pt x="85" y="441"/>
                </a:lnTo>
                <a:lnTo>
                  <a:pt x="78" y="457"/>
                </a:lnTo>
                <a:lnTo>
                  <a:pt x="73" y="474"/>
                </a:lnTo>
                <a:lnTo>
                  <a:pt x="88" y="493"/>
                </a:lnTo>
                <a:lnTo>
                  <a:pt x="101" y="511"/>
                </a:lnTo>
                <a:lnTo>
                  <a:pt x="113" y="529"/>
                </a:lnTo>
                <a:lnTo>
                  <a:pt x="124" y="548"/>
                </a:lnTo>
                <a:lnTo>
                  <a:pt x="130" y="558"/>
                </a:lnTo>
                <a:lnTo>
                  <a:pt x="134" y="567"/>
                </a:lnTo>
                <a:lnTo>
                  <a:pt x="138" y="577"/>
                </a:lnTo>
                <a:lnTo>
                  <a:pt x="141" y="588"/>
                </a:lnTo>
                <a:lnTo>
                  <a:pt x="143" y="599"/>
                </a:lnTo>
                <a:lnTo>
                  <a:pt x="145" y="611"/>
                </a:lnTo>
                <a:lnTo>
                  <a:pt x="146" y="622"/>
                </a:lnTo>
                <a:lnTo>
                  <a:pt x="146" y="634"/>
                </a:lnTo>
                <a:lnTo>
                  <a:pt x="148" y="640"/>
                </a:lnTo>
                <a:lnTo>
                  <a:pt x="149" y="648"/>
                </a:lnTo>
                <a:lnTo>
                  <a:pt x="152" y="659"/>
                </a:lnTo>
                <a:lnTo>
                  <a:pt x="156" y="670"/>
                </a:lnTo>
                <a:lnTo>
                  <a:pt x="166" y="696"/>
                </a:lnTo>
                <a:lnTo>
                  <a:pt x="179" y="724"/>
                </a:lnTo>
                <a:lnTo>
                  <a:pt x="187" y="738"/>
                </a:lnTo>
                <a:lnTo>
                  <a:pt x="194" y="750"/>
                </a:lnTo>
                <a:lnTo>
                  <a:pt x="201" y="763"/>
                </a:lnTo>
                <a:lnTo>
                  <a:pt x="208" y="774"/>
                </a:lnTo>
                <a:lnTo>
                  <a:pt x="214" y="782"/>
                </a:lnTo>
                <a:lnTo>
                  <a:pt x="221" y="789"/>
                </a:lnTo>
                <a:lnTo>
                  <a:pt x="224" y="792"/>
                </a:lnTo>
                <a:lnTo>
                  <a:pt x="228" y="793"/>
                </a:lnTo>
                <a:lnTo>
                  <a:pt x="230" y="794"/>
                </a:lnTo>
                <a:lnTo>
                  <a:pt x="233" y="795"/>
                </a:lnTo>
                <a:lnTo>
                  <a:pt x="239" y="794"/>
                </a:lnTo>
                <a:lnTo>
                  <a:pt x="244" y="793"/>
                </a:lnTo>
                <a:lnTo>
                  <a:pt x="251" y="790"/>
                </a:lnTo>
                <a:lnTo>
                  <a:pt x="256" y="787"/>
                </a:lnTo>
                <a:lnTo>
                  <a:pt x="266" y="780"/>
                </a:lnTo>
                <a:lnTo>
                  <a:pt x="278" y="771"/>
                </a:lnTo>
                <a:lnTo>
                  <a:pt x="289" y="761"/>
                </a:lnTo>
                <a:lnTo>
                  <a:pt x="302" y="753"/>
                </a:lnTo>
                <a:lnTo>
                  <a:pt x="309" y="750"/>
                </a:lnTo>
                <a:lnTo>
                  <a:pt x="317" y="747"/>
                </a:lnTo>
                <a:lnTo>
                  <a:pt x="324" y="746"/>
                </a:lnTo>
                <a:lnTo>
                  <a:pt x="332" y="745"/>
                </a:lnTo>
                <a:lnTo>
                  <a:pt x="341" y="746"/>
                </a:lnTo>
                <a:lnTo>
                  <a:pt x="348" y="747"/>
                </a:lnTo>
                <a:lnTo>
                  <a:pt x="355" y="748"/>
                </a:lnTo>
                <a:lnTo>
                  <a:pt x="361" y="750"/>
                </a:lnTo>
                <a:lnTo>
                  <a:pt x="371" y="756"/>
                </a:lnTo>
                <a:lnTo>
                  <a:pt x="380" y="763"/>
                </a:lnTo>
                <a:lnTo>
                  <a:pt x="388" y="770"/>
                </a:lnTo>
                <a:lnTo>
                  <a:pt x="395" y="777"/>
                </a:lnTo>
                <a:lnTo>
                  <a:pt x="403" y="783"/>
                </a:lnTo>
                <a:lnTo>
                  <a:pt x="412" y="789"/>
                </a:lnTo>
                <a:lnTo>
                  <a:pt x="418" y="780"/>
                </a:lnTo>
                <a:lnTo>
                  <a:pt x="422" y="773"/>
                </a:lnTo>
                <a:lnTo>
                  <a:pt x="427" y="767"/>
                </a:lnTo>
                <a:lnTo>
                  <a:pt x="432" y="761"/>
                </a:lnTo>
                <a:lnTo>
                  <a:pt x="437" y="758"/>
                </a:lnTo>
                <a:lnTo>
                  <a:pt x="443" y="754"/>
                </a:lnTo>
                <a:lnTo>
                  <a:pt x="448" y="752"/>
                </a:lnTo>
                <a:lnTo>
                  <a:pt x="454" y="750"/>
                </a:lnTo>
                <a:lnTo>
                  <a:pt x="478" y="745"/>
                </a:lnTo>
                <a:lnTo>
                  <a:pt x="505" y="739"/>
                </a:lnTo>
                <a:lnTo>
                  <a:pt x="525" y="647"/>
                </a:lnTo>
                <a:lnTo>
                  <a:pt x="525" y="637"/>
                </a:lnTo>
                <a:lnTo>
                  <a:pt x="525" y="622"/>
                </a:lnTo>
                <a:lnTo>
                  <a:pt x="526" y="616"/>
                </a:lnTo>
                <a:lnTo>
                  <a:pt x="529" y="610"/>
                </a:lnTo>
                <a:lnTo>
                  <a:pt x="533" y="604"/>
                </a:lnTo>
                <a:lnTo>
                  <a:pt x="539" y="600"/>
                </a:lnTo>
                <a:lnTo>
                  <a:pt x="547" y="594"/>
                </a:lnTo>
                <a:lnTo>
                  <a:pt x="555" y="590"/>
                </a:lnTo>
                <a:lnTo>
                  <a:pt x="565" y="587"/>
                </a:lnTo>
                <a:lnTo>
                  <a:pt x="575" y="584"/>
                </a:lnTo>
                <a:lnTo>
                  <a:pt x="597" y="579"/>
                </a:lnTo>
                <a:lnTo>
                  <a:pt x="621" y="575"/>
                </a:lnTo>
                <a:lnTo>
                  <a:pt x="644" y="574"/>
                </a:lnTo>
                <a:lnTo>
                  <a:pt x="665" y="573"/>
                </a:lnTo>
                <a:lnTo>
                  <a:pt x="671" y="573"/>
                </a:lnTo>
                <a:lnTo>
                  <a:pt x="678" y="575"/>
                </a:lnTo>
                <a:lnTo>
                  <a:pt x="682" y="577"/>
                </a:lnTo>
                <a:lnTo>
                  <a:pt x="687" y="579"/>
                </a:lnTo>
                <a:lnTo>
                  <a:pt x="691" y="581"/>
                </a:lnTo>
                <a:lnTo>
                  <a:pt x="695" y="583"/>
                </a:lnTo>
                <a:lnTo>
                  <a:pt x="700" y="585"/>
                </a:lnTo>
                <a:lnTo>
                  <a:pt x="704" y="585"/>
                </a:lnTo>
                <a:lnTo>
                  <a:pt x="738" y="598"/>
                </a:lnTo>
                <a:lnTo>
                  <a:pt x="738" y="589"/>
                </a:lnTo>
                <a:lnTo>
                  <a:pt x="740" y="581"/>
                </a:lnTo>
                <a:lnTo>
                  <a:pt x="744" y="573"/>
                </a:lnTo>
                <a:lnTo>
                  <a:pt x="748" y="566"/>
                </a:lnTo>
                <a:lnTo>
                  <a:pt x="751" y="559"/>
                </a:lnTo>
                <a:lnTo>
                  <a:pt x="755" y="550"/>
                </a:lnTo>
                <a:lnTo>
                  <a:pt x="757" y="541"/>
                </a:lnTo>
                <a:lnTo>
                  <a:pt x="758" y="530"/>
                </a:lnTo>
                <a:lnTo>
                  <a:pt x="757" y="518"/>
                </a:lnTo>
                <a:lnTo>
                  <a:pt x="756" y="508"/>
                </a:lnTo>
                <a:lnTo>
                  <a:pt x="752" y="499"/>
                </a:lnTo>
                <a:lnTo>
                  <a:pt x="749" y="492"/>
                </a:lnTo>
                <a:lnTo>
                  <a:pt x="740" y="478"/>
                </a:lnTo>
                <a:lnTo>
                  <a:pt x="731" y="467"/>
                </a:lnTo>
                <a:lnTo>
                  <a:pt x="726" y="462"/>
                </a:lnTo>
                <a:lnTo>
                  <a:pt x="722" y="456"/>
                </a:lnTo>
                <a:lnTo>
                  <a:pt x="716" y="450"/>
                </a:lnTo>
                <a:lnTo>
                  <a:pt x="713" y="443"/>
                </a:lnTo>
                <a:lnTo>
                  <a:pt x="710" y="435"/>
                </a:lnTo>
                <a:lnTo>
                  <a:pt x="706" y="424"/>
                </a:lnTo>
                <a:lnTo>
                  <a:pt x="705" y="413"/>
                </a:lnTo>
                <a:lnTo>
                  <a:pt x="704" y="401"/>
                </a:lnTo>
                <a:lnTo>
                  <a:pt x="671" y="401"/>
                </a:lnTo>
                <a:lnTo>
                  <a:pt x="660" y="403"/>
                </a:lnTo>
                <a:lnTo>
                  <a:pt x="650" y="403"/>
                </a:lnTo>
                <a:lnTo>
                  <a:pt x="641" y="402"/>
                </a:lnTo>
                <a:lnTo>
                  <a:pt x="633" y="399"/>
                </a:lnTo>
                <a:lnTo>
                  <a:pt x="625" y="395"/>
                </a:lnTo>
                <a:lnTo>
                  <a:pt x="617" y="390"/>
                </a:lnTo>
                <a:lnTo>
                  <a:pt x="611" y="384"/>
                </a:lnTo>
                <a:lnTo>
                  <a:pt x="605" y="378"/>
                </a:lnTo>
                <a:lnTo>
                  <a:pt x="601" y="370"/>
                </a:lnTo>
                <a:lnTo>
                  <a:pt x="597" y="363"/>
                </a:lnTo>
                <a:lnTo>
                  <a:pt x="593" y="356"/>
                </a:lnTo>
                <a:lnTo>
                  <a:pt x="590" y="349"/>
                </a:lnTo>
                <a:lnTo>
                  <a:pt x="586" y="336"/>
                </a:lnTo>
                <a:lnTo>
                  <a:pt x="585" y="327"/>
                </a:lnTo>
                <a:lnTo>
                  <a:pt x="585" y="321"/>
                </a:lnTo>
                <a:lnTo>
                  <a:pt x="585" y="311"/>
                </a:lnTo>
                <a:lnTo>
                  <a:pt x="585" y="297"/>
                </a:lnTo>
                <a:lnTo>
                  <a:pt x="585" y="278"/>
                </a:lnTo>
                <a:lnTo>
                  <a:pt x="585" y="274"/>
                </a:lnTo>
                <a:lnTo>
                  <a:pt x="583" y="269"/>
                </a:lnTo>
                <a:lnTo>
                  <a:pt x="581" y="265"/>
                </a:lnTo>
                <a:lnTo>
                  <a:pt x="578" y="260"/>
                </a:lnTo>
                <a:lnTo>
                  <a:pt x="570" y="251"/>
                </a:lnTo>
                <a:lnTo>
                  <a:pt x="560" y="242"/>
                </a:lnTo>
                <a:lnTo>
                  <a:pt x="548" y="233"/>
                </a:lnTo>
                <a:lnTo>
                  <a:pt x="534" y="223"/>
                </a:lnTo>
                <a:lnTo>
                  <a:pt x="520" y="215"/>
                </a:lnTo>
                <a:lnTo>
                  <a:pt x="503" y="205"/>
                </a:lnTo>
                <a:lnTo>
                  <a:pt x="487" y="197"/>
                </a:lnTo>
                <a:lnTo>
                  <a:pt x="470" y="190"/>
                </a:lnTo>
                <a:lnTo>
                  <a:pt x="455" y="183"/>
                </a:lnTo>
                <a:lnTo>
                  <a:pt x="440" y="178"/>
                </a:lnTo>
                <a:lnTo>
                  <a:pt x="425" y="173"/>
                </a:lnTo>
                <a:lnTo>
                  <a:pt x="412" y="170"/>
                </a:lnTo>
                <a:lnTo>
                  <a:pt x="401" y="167"/>
                </a:lnTo>
                <a:lnTo>
                  <a:pt x="392" y="167"/>
                </a:lnTo>
                <a:lnTo>
                  <a:pt x="384" y="166"/>
                </a:lnTo>
                <a:lnTo>
                  <a:pt x="375" y="165"/>
                </a:lnTo>
                <a:lnTo>
                  <a:pt x="367" y="164"/>
                </a:lnTo>
                <a:lnTo>
                  <a:pt x="359" y="161"/>
                </a:lnTo>
                <a:lnTo>
                  <a:pt x="351" y="158"/>
                </a:lnTo>
                <a:lnTo>
                  <a:pt x="344" y="155"/>
                </a:lnTo>
                <a:lnTo>
                  <a:pt x="336" y="151"/>
                </a:lnTo>
                <a:lnTo>
                  <a:pt x="330" y="145"/>
                </a:lnTo>
                <a:lnTo>
                  <a:pt x="323" y="140"/>
                </a:lnTo>
                <a:lnTo>
                  <a:pt x="318" y="135"/>
                </a:lnTo>
                <a:lnTo>
                  <a:pt x="312" y="129"/>
                </a:lnTo>
                <a:lnTo>
                  <a:pt x="307" y="122"/>
                </a:lnTo>
                <a:lnTo>
                  <a:pt x="302" y="115"/>
                </a:lnTo>
                <a:lnTo>
                  <a:pt x="299" y="108"/>
                </a:lnTo>
                <a:lnTo>
                  <a:pt x="296" y="101"/>
                </a:lnTo>
                <a:lnTo>
                  <a:pt x="292" y="92"/>
                </a:lnTo>
                <a:lnTo>
                  <a:pt x="289" y="63"/>
                </a:lnTo>
                <a:lnTo>
                  <a:pt x="285" y="32"/>
                </a:lnTo>
                <a:lnTo>
                  <a:pt x="283" y="25"/>
                </a:lnTo>
                <a:lnTo>
                  <a:pt x="279" y="19"/>
                </a:lnTo>
                <a:lnTo>
                  <a:pt x="276" y="14"/>
                </a:lnTo>
                <a:lnTo>
                  <a:pt x="272" y="9"/>
                </a:lnTo>
                <a:lnTo>
                  <a:pt x="267" y="6"/>
                </a:lnTo>
                <a:lnTo>
                  <a:pt x="261" y="3"/>
                </a:lnTo>
                <a:lnTo>
                  <a:pt x="254" y="1"/>
                </a:lnTo>
                <a:lnTo>
                  <a:pt x="246" y="0"/>
                </a:lnTo>
                <a:lnTo>
                  <a:pt x="236" y="1"/>
                </a:lnTo>
                <a:lnTo>
                  <a:pt x="227" y="3"/>
                </a:lnTo>
                <a:lnTo>
                  <a:pt x="218" y="5"/>
                </a:lnTo>
                <a:lnTo>
                  <a:pt x="208" y="9"/>
                </a:lnTo>
                <a:lnTo>
                  <a:pt x="190" y="18"/>
                </a:lnTo>
                <a:lnTo>
                  <a:pt x="173" y="30"/>
                </a:lnTo>
                <a:lnTo>
                  <a:pt x="155" y="43"/>
                </a:lnTo>
                <a:lnTo>
                  <a:pt x="138" y="55"/>
                </a:lnTo>
                <a:lnTo>
                  <a:pt x="129" y="60"/>
                </a:lnTo>
                <a:lnTo>
                  <a:pt x="119" y="66"/>
                </a:lnTo>
                <a:lnTo>
                  <a:pt x="110" y="70"/>
                </a:lnTo>
                <a:lnTo>
                  <a:pt x="100" y="74"/>
                </a:lnTo>
                <a:lnTo>
                  <a:pt x="20" y="80"/>
                </a:lnTo>
                <a:lnTo>
                  <a:pt x="0" y="8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11" name="Freeform 163"/>
          <p:cNvSpPr>
            <a:spLocks/>
          </p:cNvSpPr>
          <p:nvPr>
            <p:custDataLst>
              <p:tags r:id="rId94"/>
            </p:custDataLst>
          </p:nvPr>
        </p:nvSpPr>
        <p:spPr bwMode="auto">
          <a:xfrm>
            <a:off x="4003676" y="3411538"/>
            <a:ext cx="119063" cy="215900"/>
          </a:xfrm>
          <a:custGeom>
            <a:avLst/>
            <a:gdLst>
              <a:gd name="T0" fmla="*/ 225 w 273"/>
              <a:gd name="T1" fmla="*/ 140 h 414"/>
              <a:gd name="T2" fmla="*/ 213 w 273"/>
              <a:gd name="T3" fmla="*/ 133 h 414"/>
              <a:gd name="T4" fmla="*/ 201 w 273"/>
              <a:gd name="T5" fmla="*/ 121 h 414"/>
              <a:gd name="T6" fmla="*/ 190 w 273"/>
              <a:gd name="T7" fmla="*/ 105 h 414"/>
              <a:gd name="T8" fmla="*/ 183 w 273"/>
              <a:gd name="T9" fmla="*/ 96 h 414"/>
              <a:gd name="T10" fmla="*/ 176 w 273"/>
              <a:gd name="T11" fmla="*/ 93 h 414"/>
              <a:gd name="T12" fmla="*/ 167 w 273"/>
              <a:gd name="T13" fmla="*/ 94 h 414"/>
              <a:gd name="T14" fmla="*/ 161 w 273"/>
              <a:gd name="T15" fmla="*/ 101 h 414"/>
              <a:gd name="T16" fmla="*/ 153 w 273"/>
              <a:gd name="T17" fmla="*/ 86 h 414"/>
              <a:gd name="T18" fmla="*/ 142 w 273"/>
              <a:gd name="T19" fmla="*/ 54 h 414"/>
              <a:gd name="T20" fmla="*/ 132 w 273"/>
              <a:gd name="T21" fmla="*/ 36 h 414"/>
              <a:gd name="T22" fmla="*/ 123 w 273"/>
              <a:gd name="T23" fmla="*/ 25 h 414"/>
              <a:gd name="T24" fmla="*/ 111 w 273"/>
              <a:gd name="T25" fmla="*/ 14 h 414"/>
              <a:gd name="T26" fmla="*/ 96 w 273"/>
              <a:gd name="T27" fmla="*/ 5 h 414"/>
              <a:gd name="T28" fmla="*/ 80 w 273"/>
              <a:gd name="T29" fmla="*/ 7 h 414"/>
              <a:gd name="T30" fmla="*/ 69 w 273"/>
              <a:gd name="T31" fmla="*/ 19 h 414"/>
              <a:gd name="T32" fmla="*/ 63 w 273"/>
              <a:gd name="T33" fmla="*/ 25 h 414"/>
              <a:gd name="T34" fmla="*/ 57 w 273"/>
              <a:gd name="T35" fmla="*/ 32 h 414"/>
              <a:gd name="T36" fmla="*/ 56 w 273"/>
              <a:gd name="T37" fmla="*/ 42 h 414"/>
              <a:gd name="T38" fmla="*/ 58 w 273"/>
              <a:gd name="T39" fmla="*/ 59 h 414"/>
              <a:gd name="T40" fmla="*/ 52 w 273"/>
              <a:gd name="T41" fmla="*/ 78 h 414"/>
              <a:gd name="T42" fmla="*/ 33 w 273"/>
              <a:gd name="T43" fmla="*/ 90 h 414"/>
              <a:gd name="T44" fmla="*/ 17 w 273"/>
              <a:gd name="T45" fmla="*/ 104 h 414"/>
              <a:gd name="T46" fmla="*/ 4 w 273"/>
              <a:gd name="T47" fmla="*/ 118 h 414"/>
              <a:gd name="T48" fmla="*/ 40 w 273"/>
              <a:gd name="T49" fmla="*/ 198 h 414"/>
              <a:gd name="T50" fmla="*/ 73 w 273"/>
              <a:gd name="T51" fmla="*/ 205 h 414"/>
              <a:gd name="T52" fmla="*/ 84 w 273"/>
              <a:gd name="T53" fmla="*/ 210 h 414"/>
              <a:gd name="T54" fmla="*/ 93 w 273"/>
              <a:gd name="T55" fmla="*/ 218 h 414"/>
              <a:gd name="T56" fmla="*/ 99 w 273"/>
              <a:gd name="T57" fmla="*/ 226 h 414"/>
              <a:gd name="T58" fmla="*/ 103 w 273"/>
              <a:gd name="T59" fmla="*/ 237 h 414"/>
              <a:gd name="T60" fmla="*/ 106 w 273"/>
              <a:gd name="T61" fmla="*/ 265 h 414"/>
              <a:gd name="T62" fmla="*/ 103 w 273"/>
              <a:gd name="T63" fmla="*/ 279 h 414"/>
              <a:gd name="T64" fmla="*/ 96 w 273"/>
              <a:gd name="T65" fmla="*/ 293 h 414"/>
              <a:gd name="T66" fmla="*/ 89 w 273"/>
              <a:gd name="T67" fmla="*/ 307 h 414"/>
              <a:gd name="T68" fmla="*/ 86 w 273"/>
              <a:gd name="T69" fmla="*/ 321 h 414"/>
              <a:gd name="T70" fmla="*/ 91 w 273"/>
              <a:gd name="T71" fmla="*/ 343 h 414"/>
              <a:gd name="T72" fmla="*/ 107 w 273"/>
              <a:gd name="T73" fmla="*/ 374 h 414"/>
              <a:gd name="T74" fmla="*/ 117 w 273"/>
              <a:gd name="T75" fmla="*/ 389 h 414"/>
              <a:gd name="T76" fmla="*/ 129 w 273"/>
              <a:gd name="T77" fmla="*/ 401 h 414"/>
              <a:gd name="T78" fmla="*/ 141 w 273"/>
              <a:gd name="T79" fmla="*/ 411 h 414"/>
              <a:gd name="T80" fmla="*/ 153 w 273"/>
              <a:gd name="T81" fmla="*/ 414 h 414"/>
              <a:gd name="T82" fmla="*/ 215 w 273"/>
              <a:gd name="T83" fmla="*/ 398 h 414"/>
              <a:gd name="T84" fmla="*/ 255 w 273"/>
              <a:gd name="T85" fmla="*/ 385 h 414"/>
              <a:gd name="T86" fmla="*/ 267 w 273"/>
              <a:gd name="T87" fmla="*/ 377 h 414"/>
              <a:gd name="T88" fmla="*/ 273 w 273"/>
              <a:gd name="T89" fmla="*/ 370 h 414"/>
              <a:gd name="T90" fmla="*/ 269 w 273"/>
              <a:gd name="T91" fmla="*/ 352 h 414"/>
              <a:gd name="T92" fmla="*/ 263 w 273"/>
              <a:gd name="T93" fmla="*/ 335 h 414"/>
              <a:gd name="T94" fmla="*/ 242 w 273"/>
              <a:gd name="T95" fmla="*/ 309 h 414"/>
              <a:gd name="T96" fmla="*/ 222 w 273"/>
              <a:gd name="T97" fmla="*/ 282 h 414"/>
              <a:gd name="T98" fmla="*/ 215 w 273"/>
              <a:gd name="T99" fmla="*/ 266 h 414"/>
              <a:gd name="T100" fmla="*/ 212 w 273"/>
              <a:gd name="T101" fmla="*/ 247 h 414"/>
              <a:gd name="T102" fmla="*/ 215 w 273"/>
              <a:gd name="T103" fmla="*/ 215 h 414"/>
              <a:gd name="T104" fmla="*/ 222 w 273"/>
              <a:gd name="T105" fmla="*/ 190 h 414"/>
              <a:gd name="T106" fmla="*/ 230 w 273"/>
              <a:gd name="T107" fmla="*/ 167 h 414"/>
              <a:gd name="T108" fmla="*/ 232 w 273"/>
              <a:gd name="T109" fmla="*/ 142 h 4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73" h="414">
                <a:moveTo>
                  <a:pt x="232" y="142"/>
                </a:moveTo>
                <a:lnTo>
                  <a:pt x="225" y="140"/>
                </a:lnTo>
                <a:lnTo>
                  <a:pt x="219" y="137"/>
                </a:lnTo>
                <a:lnTo>
                  <a:pt x="213" y="133"/>
                </a:lnTo>
                <a:lnTo>
                  <a:pt x="209" y="130"/>
                </a:lnTo>
                <a:lnTo>
                  <a:pt x="201" y="121"/>
                </a:lnTo>
                <a:lnTo>
                  <a:pt x="195" y="113"/>
                </a:lnTo>
                <a:lnTo>
                  <a:pt x="190" y="105"/>
                </a:lnTo>
                <a:lnTo>
                  <a:pt x="185" y="99"/>
                </a:lnTo>
                <a:lnTo>
                  <a:pt x="183" y="96"/>
                </a:lnTo>
                <a:lnTo>
                  <a:pt x="179" y="95"/>
                </a:lnTo>
                <a:lnTo>
                  <a:pt x="176" y="93"/>
                </a:lnTo>
                <a:lnTo>
                  <a:pt x="173" y="93"/>
                </a:lnTo>
                <a:lnTo>
                  <a:pt x="167" y="94"/>
                </a:lnTo>
                <a:lnTo>
                  <a:pt x="164" y="97"/>
                </a:lnTo>
                <a:lnTo>
                  <a:pt x="161" y="101"/>
                </a:lnTo>
                <a:lnTo>
                  <a:pt x="159" y="105"/>
                </a:lnTo>
                <a:lnTo>
                  <a:pt x="153" y="86"/>
                </a:lnTo>
                <a:lnTo>
                  <a:pt x="147" y="68"/>
                </a:lnTo>
                <a:lnTo>
                  <a:pt x="142" y="54"/>
                </a:lnTo>
                <a:lnTo>
                  <a:pt x="135" y="41"/>
                </a:lnTo>
                <a:lnTo>
                  <a:pt x="132" y="36"/>
                </a:lnTo>
                <a:lnTo>
                  <a:pt x="128" y="30"/>
                </a:lnTo>
                <a:lnTo>
                  <a:pt x="123" y="25"/>
                </a:lnTo>
                <a:lnTo>
                  <a:pt x="118" y="20"/>
                </a:lnTo>
                <a:lnTo>
                  <a:pt x="111" y="14"/>
                </a:lnTo>
                <a:lnTo>
                  <a:pt x="103" y="9"/>
                </a:lnTo>
                <a:lnTo>
                  <a:pt x="96" y="5"/>
                </a:lnTo>
                <a:lnTo>
                  <a:pt x="86" y="0"/>
                </a:lnTo>
                <a:lnTo>
                  <a:pt x="80" y="7"/>
                </a:lnTo>
                <a:lnTo>
                  <a:pt x="73" y="15"/>
                </a:lnTo>
                <a:lnTo>
                  <a:pt x="69" y="19"/>
                </a:lnTo>
                <a:lnTo>
                  <a:pt x="66" y="23"/>
                </a:lnTo>
                <a:lnTo>
                  <a:pt x="63" y="25"/>
                </a:lnTo>
                <a:lnTo>
                  <a:pt x="60" y="25"/>
                </a:lnTo>
                <a:lnTo>
                  <a:pt x="57" y="32"/>
                </a:lnTo>
                <a:lnTo>
                  <a:pt x="57" y="37"/>
                </a:lnTo>
                <a:lnTo>
                  <a:pt x="56" y="42"/>
                </a:lnTo>
                <a:lnTo>
                  <a:pt x="57" y="47"/>
                </a:lnTo>
                <a:lnTo>
                  <a:pt x="58" y="59"/>
                </a:lnTo>
                <a:lnTo>
                  <a:pt x="60" y="75"/>
                </a:lnTo>
                <a:lnTo>
                  <a:pt x="52" y="78"/>
                </a:lnTo>
                <a:lnTo>
                  <a:pt x="43" y="83"/>
                </a:lnTo>
                <a:lnTo>
                  <a:pt x="33" y="90"/>
                </a:lnTo>
                <a:lnTo>
                  <a:pt x="24" y="97"/>
                </a:lnTo>
                <a:lnTo>
                  <a:pt x="17" y="104"/>
                </a:lnTo>
                <a:lnTo>
                  <a:pt x="9" y="111"/>
                </a:lnTo>
                <a:lnTo>
                  <a:pt x="4" y="118"/>
                </a:lnTo>
                <a:lnTo>
                  <a:pt x="0" y="123"/>
                </a:lnTo>
                <a:lnTo>
                  <a:pt x="40" y="198"/>
                </a:lnTo>
                <a:lnTo>
                  <a:pt x="57" y="201"/>
                </a:lnTo>
                <a:lnTo>
                  <a:pt x="73" y="205"/>
                </a:lnTo>
                <a:lnTo>
                  <a:pt x="78" y="207"/>
                </a:lnTo>
                <a:lnTo>
                  <a:pt x="84" y="210"/>
                </a:lnTo>
                <a:lnTo>
                  <a:pt x="89" y="214"/>
                </a:lnTo>
                <a:lnTo>
                  <a:pt x="93" y="218"/>
                </a:lnTo>
                <a:lnTo>
                  <a:pt x="96" y="222"/>
                </a:lnTo>
                <a:lnTo>
                  <a:pt x="99" y="226"/>
                </a:lnTo>
                <a:lnTo>
                  <a:pt x="101" y="231"/>
                </a:lnTo>
                <a:lnTo>
                  <a:pt x="103" y="237"/>
                </a:lnTo>
                <a:lnTo>
                  <a:pt x="106" y="251"/>
                </a:lnTo>
                <a:lnTo>
                  <a:pt x="106" y="265"/>
                </a:lnTo>
                <a:lnTo>
                  <a:pt x="106" y="272"/>
                </a:lnTo>
                <a:lnTo>
                  <a:pt x="103" y="279"/>
                </a:lnTo>
                <a:lnTo>
                  <a:pt x="100" y="286"/>
                </a:lnTo>
                <a:lnTo>
                  <a:pt x="96" y="293"/>
                </a:lnTo>
                <a:lnTo>
                  <a:pt x="93" y="301"/>
                </a:lnTo>
                <a:lnTo>
                  <a:pt x="89" y="307"/>
                </a:lnTo>
                <a:lnTo>
                  <a:pt x="87" y="314"/>
                </a:lnTo>
                <a:lnTo>
                  <a:pt x="86" y="321"/>
                </a:lnTo>
                <a:lnTo>
                  <a:pt x="88" y="330"/>
                </a:lnTo>
                <a:lnTo>
                  <a:pt x="91" y="343"/>
                </a:lnTo>
                <a:lnTo>
                  <a:pt x="98" y="359"/>
                </a:lnTo>
                <a:lnTo>
                  <a:pt x="107" y="374"/>
                </a:lnTo>
                <a:lnTo>
                  <a:pt x="112" y="382"/>
                </a:lnTo>
                <a:lnTo>
                  <a:pt x="117" y="389"/>
                </a:lnTo>
                <a:lnTo>
                  <a:pt x="122" y="395"/>
                </a:lnTo>
                <a:lnTo>
                  <a:pt x="129" y="401"/>
                </a:lnTo>
                <a:lnTo>
                  <a:pt x="134" y="406"/>
                </a:lnTo>
                <a:lnTo>
                  <a:pt x="141" y="411"/>
                </a:lnTo>
                <a:lnTo>
                  <a:pt x="146" y="413"/>
                </a:lnTo>
                <a:lnTo>
                  <a:pt x="153" y="414"/>
                </a:lnTo>
                <a:lnTo>
                  <a:pt x="174" y="410"/>
                </a:lnTo>
                <a:lnTo>
                  <a:pt x="215" y="398"/>
                </a:lnTo>
                <a:lnTo>
                  <a:pt x="236" y="392"/>
                </a:lnTo>
                <a:lnTo>
                  <a:pt x="255" y="385"/>
                </a:lnTo>
                <a:lnTo>
                  <a:pt x="262" y="381"/>
                </a:lnTo>
                <a:lnTo>
                  <a:pt x="267" y="377"/>
                </a:lnTo>
                <a:lnTo>
                  <a:pt x="271" y="374"/>
                </a:lnTo>
                <a:lnTo>
                  <a:pt x="273" y="370"/>
                </a:lnTo>
                <a:lnTo>
                  <a:pt x="271" y="361"/>
                </a:lnTo>
                <a:lnTo>
                  <a:pt x="269" y="352"/>
                </a:lnTo>
                <a:lnTo>
                  <a:pt x="267" y="343"/>
                </a:lnTo>
                <a:lnTo>
                  <a:pt x="263" y="335"/>
                </a:lnTo>
                <a:lnTo>
                  <a:pt x="253" y="321"/>
                </a:lnTo>
                <a:lnTo>
                  <a:pt x="242" y="309"/>
                </a:lnTo>
                <a:lnTo>
                  <a:pt x="231" y="295"/>
                </a:lnTo>
                <a:lnTo>
                  <a:pt x="222" y="282"/>
                </a:lnTo>
                <a:lnTo>
                  <a:pt x="218" y="274"/>
                </a:lnTo>
                <a:lnTo>
                  <a:pt x="215" y="266"/>
                </a:lnTo>
                <a:lnTo>
                  <a:pt x="213" y="257"/>
                </a:lnTo>
                <a:lnTo>
                  <a:pt x="212" y="247"/>
                </a:lnTo>
                <a:lnTo>
                  <a:pt x="213" y="229"/>
                </a:lnTo>
                <a:lnTo>
                  <a:pt x="215" y="215"/>
                </a:lnTo>
                <a:lnTo>
                  <a:pt x="219" y="202"/>
                </a:lnTo>
                <a:lnTo>
                  <a:pt x="222" y="190"/>
                </a:lnTo>
                <a:lnTo>
                  <a:pt x="226" y="178"/>
                </a:lnTo>
                <a:lnTo>
                  <a:pt x="230" y="167"/>
                </a:lnTo>
                <a:lnTo>
                  <a:pt x="232" y="155"/>
                </a:lnTo>
                <a:lnTo>
                  <a:pt x="232" y="14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grpSp>
        <p:nvGrpSpPr>
          <p:cNvPr id="2212" name="Group 164"/>
          <p:cNvGrpSpPr>
            <a:grpSpLocks/>
          </p:cNvGrpSpPr>
          <p:nvPr>
            <p:custDataLst>
              <p:tags r:id="rId95"/>
            </p:custDataLst>
          </p:nvPr>
        </p:nvGrpSpPr>
        <p:grpSpPr bwMode="auto">
          <a:xfrm>
            <a:off x="3717925" y="3246439"/>
            <a:ext cx="323850" cy="401637"/>
            <a:chOff x="1486" y="2412"/>
            <a:chExt cx="244" cy="256"/>
          </a:xfrm>
        </p:grpSpPr>
        <p:sp>
          <p:nvSpPr>
            <p:cNvPr id="2213" name="Freeform 165"/>
            <p:cNvSpPr>
              <a:spLocks/>
            </p:cNvSpPr>
            <p:nvPr/>
          </p:nvSpPr>
          <p:spPr bwMode="auto">
            <a:xfrm>
              <a:off x="1639" y="2457"/>
              <a:ext cx="18" cy="7"/>
            </a:xfrm>
            <a:custGeom>
              <a:avLst/>
              <a:gdLst>
                <a:gd name="T0" fmla="*/ 0 w 54"/>
                <a:gd name="T1" fmla="*/ 0 h 22"/>
                <a:gd name="T2" fmla="*/ 0 w 54"/>
                <a:gd name="T3" fmla="*/ 18 h 22"/>
                <a:gd name="T4" fmla="*/ 6 w 54"/>
                <a:gd name="T5" fmla="*/ 20 h 22"/>
                <a:gd name="T6" fmla="*/ 10 w 54"/>
                <a:gd name="T7" fmla="*/ 21 h 22"/>
                <a:gd name="T8" fmla="*/ 14 w 54"/>
                <a:gd name="T9" fmla="*/ 22 h 22"/>
                <a:gd name="T10" fmla="*/ 20 w 54"/>
                <a:gd name="T11" fmla="*/ 22 h 22"/>
                <a:gd name="T12" fmla="*/ 23 w 54"/>
                <a:gd name="T13" fmla="*/ 22 h 22"/>
                <a:gd name="T14" fmla="*/ 27 w 54"/>
                <a:gd name="T15" fmla="*/ 21 h 22"/>
                <a:gd name="T16" fmla="*/ 31 w 54"/>
                <a:gd name="T17" fmla="*/ 20 h 22"/>
                <a:gd name="T18" fmla="*/ 33 w 54"/>
                <a:gd name="T19" fmla="*/ 18 h 22"/>
                <a:gd name="T20" fmla="*/ 35 w 54"/>
                <a:gd name="T21" fmla="*/ 16 h 22"/>
                <a:gd name="T22" fmla="*/ 41 w 54"/>
                <a:gd name="T23" fmla="*/ 12 h 22"/>
                <a:gd name="T24" fmla="*/ 47 w 54"/>
                <a:gd name="T25" fmla="*/ 8 h 22"/>
                <a:gd name="T26" fmla="*/ 54 w 54"/>
                <a:gd name="T27" fmla="*/ 6 h 22"/>
                <a:gd name="T28" fmla="*/ 36 w 54"/>
                <a:gd name="T29" fmla="*/ 5 h 22"/>
                <a:gd name="T30" fmla="*/ 20 w 54"/>
                <a:gd name="T31" fmla="*/ 3 h 22"/>
                <a:gd name="T32" fmla="*/ 6 w 54"/>
                <a:gd name="T33" fmla="*/ 1 h 22"/>
                <a:gd name="T34" fmla="*/ 0 w 54"/>
                <a:gd name="T3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4" h="22">
                  <a:moveTo>
                    <a:pt x="0" y="0"/>
                  </a:moveTo>
                  <a:lnTo>
                    <a:pt x="0" y="18"/>
                  </a:lnTo>
                  <a:lnTo>
                    <a:pt x="6" y="20"/>
                  </a:lnTo>
                  <a:lnTo>
                    <a:pt x="10" y="21"/>
                  </a:lnTo>
                  <a:lnTo>
                    <a:pt x="14" y="22"/>
                  </a:lnTo>
                  <a:lnTo>
                    <a:pt x="20" y="22"/>
                  </a:lnTo>
                  <a:lnTo>
                    <a:pt x="23" y="22"/>
                  </a:lnTo>
                  <a:lnTo>
                    <a:pt x="27" y="21"/>
                  </a:lnTo>
                  <a:lnTo>
                    <a:pt x="31" y="20"/>
                  </a:lnTo>
                  <a:lnTo>
                    <a:pt x="33" y="18"/>
                  </a:lnTo>
                  <a:lnTo>
                    <a:pt x="35" y="16"/>
                  </a:lnTo>
                  <a:lnTo>
                    <a:pt x="41" y="12"/>
                  </a:lnTo>
                  <a:lnTo>
                    <a:pt x="47" y="8"/>
                  </a:lnTo>
                  <a:lnTo>
                    <a:pt x="54" y="6"/>
                  </a:lnTo>
                  <a:lnTo>
                    <a:pt x="36" y="5"/>
                  </a:lnTo>
                  <a:lnTo>
                    <a:pt x="20" y="3"/>
                  </a:lnTo>
                  <a:lnTo>
                    <a:pt x="6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14" name="Freeform 166"/>
            <p:cNvSpPr>
              <a:spLocks/>
            </p:cNvSpPr>
            <p:nvPr/>
          </p:nvSpPr>
          <p:spPr bwMode="auto">
            <a:xfrm>
              <a:off x="1526" y="2412"/>
              <a:ext cx="2" cy="8"/>
            </a:xfrm>
            <a:custGeom>
              <a:avLst/>
              <a:gdLst>
                <a:gd name="T0" fmla="*/ 6 w 6"/>
                <a:gd name="T1" fmla="*/ 24 h 24"/>
                <a:gd name="T2" fmla="*/ 6 w 6"/>
                <a:gd name="T3" fmla="*/ 0 h 24"/>
                <a:gd name="T4" fmla="*/ 4 w 6"/>
                <a:gd name="T5" fmla="*/ 1 h 24"/>
                <a:gd name="T6" fmla="*/ 1 w 6"/>
                <a:gd name="T7" fmla="*/ 3 h 24"/>
                <a:gd name="T8" fmla="*/ 0 w 6"/>
                <a:gd name="T9" fmla="*/ 7 h 24"/>
                <a:gd name="T10" fmla="*/ 0 w 6"/>
                <a:gd name="T11" fmla="*/ 12 h 24"/>
                <a:gd name="T12" fmla="*/ 0 w 6"/>
                <a:gd name="T13" fmla="*/ 16 h 24"/>
                <a:gd name="T14" fmla="*/ 1 w 6"/>
                <a:gd name="T15" fmla="*/ 20 h 24"/>
                <a:gd name="T16" fmla="*/ 4 w 6"/>
                <a:gd name="T17" fmla="*/ 23 h 24"/>
                <a:gd name="T18" fmla="*/ 6 w 6"/>
                <a:gd name="T1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24">
                  <a:moveTo>
                    <a:pt x="6" y="24"/>
                  </a:moveTo>
                  <a:lnTo>
                    <a:pt x="6" y="0"/>
                  </a:lnTo>
                  <a:lnTo>
                    <a:pt x="4" y="1"/>
                  </a:lnTo>
                  <a:lnTo>
                    <a:pt x="1" y="3"/>
                  </a:lnTo>
                  <a:lnTo>
                    <a:pt x="0" y="7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1" y="20"/>
                  </a:lnTo>
                  <a:lnTo>
                    <a:pt x="4" y="23"/>
                  </a:lnTo>
                  <a:lnTo>
                    <a:pt x="6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15" name="Freeform 167"/>
            <p:cNvSpPr>
              <a:spLocks/>
            </p:cNvSpPr>
            <p:nvPr/>
          </p:nvSpPr>
          <p:spPr bwMode="auto">
            <a:xfrm>
              <a:off x="1557" y="2438"/>
              <a:ext cx="8" cy="4"/>
            </a:xfrm>
            <a:custGeom>
              <a:avLst/>
              <a:gdLst>
                <a:gd name="T0" fmla="*/ 0 w 27"/>
                <a:gd name="T1" fmla="*/ 12 h 12"/>
                <a:gd name="T2" fmla="*/ 27 w 27"/>
                <a:gd name="T3" fmla="*/ 12 h 12"/>
                <a:gd name="T4" fmla="*/ 14 w 27"/>
                <a:gd name="T5" fmla="*/ 0 h 12"/>
                <a:gd name="T6" fmla="*/ 0 w 27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" h="12">
                  <a:moveTo>
                    <a:pt x="0" y="12"/>
                  </a:moveTo>
                  <a:lnTo>
                    <a:pt x="27" y="12"/>
                  </a:ln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16" name="Freeform 168"/>
            <p:cNvSpPr>
              <a:spLocks/>
            </p:cNvSpPr>
            <p:nvPr/>
          </p:nvSpPr>
          <p:spPr bwMode="auto">
            <a:xfrm>
              <a:off x="1486" y="2444"/>
              <a:ext cx="244" cy="224"/>
            </a:xfrm>
            <a:custGeom>
              <a:avLst/>
              <a:gdLst>
                <a:gd name="T0" fmla="*/ 9 w 743"/>
                <a:gd name="T1" fmla="*/ 208 h 672"/>
                <a:gd name="T2" fmla="*/ 50 w 743"/>
                <a:gd name="T3" fmla="*/ 266 h 672"/>
                <a:gd name="T4" fmla="*/ 121 w 743"/>
                <a:gd name="T5" fmla="*/ 294 h 672"/>
                <a:gd name="T6" fmla="*/ 166 w 743"/>
                <a:gd name="T7" fmla="*/ 316 h 672"/>
                <a:gd name="T8" fmla="*/ 198 w 743"/>
                <a:gd name="T9" fmla="*/ 346 h 672"/>
                <a:gd name="T10" fmla="*/ 296 w 743"/>
                <a:gd name="T11" fmla="*/ 379 h 672"/>
                <a:gd name="T12" fmla="*/ 286 w 743"/>
                <a:gd name="T13" fmla="*/ 420 h 672"/>
                <a:gd name="T14" fmla="*/ 311 w 743"/>
                <a:gd name="T15" fmla="*/ 513 h 672"/>
                <a:gd name="T16" fmla="*/ 303 w 743"/>
                <a:gd name="T17" fmla="*/ 535 h 672"/>
                <a:gd name="T18" fmla="*/ 302 w 743"/>
                <a:gd name="T19" fmla="*/ 566 h 672"/>
                <a:gd name="T20" fmla="*/ 328 w 743"/>
                <a:gd name="T21" fmla="*/ 617 h 672"/>
                <a:gd name="T22" fmla="*/ 371 w 743"/>
                <a:gd name="T23" fmla="*/ 659 h 672"/>
                <a:gd name="T24" fmla="*/ 415 w 743"/>
                <a:gd name="T25" fmla="*/ 671 h 672"/>
                <a:gd name="T26" fmla="*/ 465 w 743"/>
                <a:gd name="T27" fmla="*/ 653 h 672"/>
                <a:gd name="T28" fmla="*/ 507 w 743"/>
                <a:gd name="T29" fmla="*/ 619 h 672"/>
                <a:gd name="T30" fmla="*/ 524 w 743"/>
                <a:gd name="T31" fmla="*/ 586 h 672"/>
                <a:gd name="T32" fmla="*/ 477 w 743"/>
                <a:gd name="T33" fmla="*/ 469 h 672"/>
                <a:gd name="T34" fmla="*/ 577 w 743"/>
                <a:gd name="T35" fmla="*/ 500 h 672"/>
                <a:gd name="T36" fmla="*/ 600 w 743"/>
                <a:gd name="T37" fmla="*/ 477 h 672"/>
                <a:gd name="T38" fmla="*/ 652 w 743"/>
                <a:gd name="T39" fmla="*/ 445 h 672"/>
                <a:gd name="T40" fmla="*/ 669 w 743"/>
                <a:gd name="T41" fmla="*/ 441 h 672"/>
                <a:gd name="T42" fmla="*/ 685 w 743"/>
                <a:gd name="T43" fmla="*/ 435 h 672"/>
                <a:gd name="T44" fmla="*/ 666 w 743"/>
                <a:gd name="T45" fmla="*/ 327 h 672"/>
                <a:gd name="T46" fmla="*/ 709 w 743"/>
                <a:gd name="T47" fmla="*/ 294 h 672"/>
                <a:gd name="T48" fmla="*/ 714 w 743"/>
                <a:gd name="T49" fmla="*/ 253 h 672"/>
                <a:gd name="T50" fmla="*/ 726 w 743"/>
                <a:gd name="T51" fmla="*/ 235 h 672"/>
                <a:gd name="T52" fmla="*/ 728 w 743"/>
                <a:gd name="T53" fmla="*/ 213 h 672"/>
                <a:gd name="T54" fmla="*/ 700 w 743"/>
                <a:gd name="T55" fmla="*/ 196 h 672"/>
                <a:gd name="T56" fmla="*/ 686 w 743"/>
                <a:gd name="T57" fmla="*/ 168 h 672"/>
                <a:gd name="T58" fmla="*/ 670 w 743"/>
                <a:gd name="T59" fmla="*/ 145 h 672"/>
                <a:gd name="T60" fmla="*/ 639 w 743"/>
                <a:gd name="T61" fmla="*/ 152 h 672"/>
                <a:gd name="T62" fmla="*/ 630 w 743"/>
                <a:gd name="T63" fmla="*/ 134 h 672"/>
                <a:gd name="T64" fmla="*/ 602 w 743"/>
                <a:gd name="T65" fmla="*/ 115 h 672"/>
                <a:gd name="T66" fmla="*/ 584 w 743"/>
                <a:gd name="T67" fmla="*/ 97 h 672"/>
                <a:gd name="T68" fmla="*/ 536 w 743"/>
                <a:gd name="T69" fmla="*/ 75 h 672"/>
                <a:gd name="T70" fmla="*/ 490 w 743"/>
                <a:gd name="T71" fmla="*/ 87 h 672"/>
                <a:gd name="T72" fmla="*/ 472 w 743"/>
                <a:gd name="T73" fmla="*/ 101 h 672"/>
                <a:gd name="T74" fmla="*/ 434 w 743"/>
                <a:gd name="T75" fmla="*/ 116 h 672"/>
                <a:gd name="T76" fmla="*/ 418 w 743"/>
                <a:gd name="T77" fmla="*/ 104 h 672"/>
                <a:gd name="T78" fmla="*/ 393 w 743"/>
                <a:gd name="T79" fmla="*/ 102 h 672"/>
                <a:gd name="T80" fmla="*/ 359 w 743"/>
                <a:gd name="T81" fmla="*/ 83 h 672"/>
                <a:gd name="T82" fmla="*/ 317 w 743"/>
                <a:gd name="T83" fmla="*/ 85 h 672"/>
                <a:gd name="T84" fmla="*/ 291 w 743"/>
                <a:gd name="T85" fmla="*/ 92 h 672"/>
                <a:gd name="T86" fmla="*/ 252 w 743"/>
                <a:gd name="T87" fmla="*/ 93 h 672"/>
                <a:gd name="T88" fmla="*/ 233 w 743"/>
                <a:gd name="T89" fmla="*/ 52 h 672"/>
                <a:gd name="T90" fmla="*/ 179 w 743"/>
                <a:gd name="T91" fmla="*/ 22 h 672"/>
                <a:gd name="T92" fmla="*/ 148 w 743"/>
                <a:gd name="T93" fmla="*/ 10 h 672"/>
                <a:gd name="T94" fmla="*/ 136 w 743"/>
                <a:gd name="T95" fmla="*/ 46 h 672"/>
                <a:gd name="T96" fmla="*/ 119 w 743"/>
                <a:gd name="T97" fmla="*/ 69 h 672"/>
                <a:gd name="T98" fmla="*/ 119 w 743"/>
                <a:gd name="T99" fmla="*/ 137 h 672"/>
                <a:gd name="T100" fmla="*/ 104 w 743"/>
                <a:gd name="T101" fmla="*/ 194 h 672"/>
                <a:gd name="T102" fmla="*/ 87 w 743"/>
                <a:gd name="T103" fmla="*/ 190 h 672"/>
                <a:gd name="T104" fmla="*/ 70 w 743"/>
                <a:gd name="T105" fmla="*/ 184 h 672"/>
                <a:gd name="T106" fmla="*/ 57 w 743"/>
                <a:gd name="T107" fmla="*/ 169 h 672"/>
                <a:gd name="T108" fmla="*/ 52 w 743"/>
                <a:gd name="T109" fmla="*/ 119 h 672"/>
                <a:gd name="T110" fmla="*/ 73 w 743"/>
                <a:gd name="T111" fmla="*/ 61 h 672"/>
                <a:gd name="T112" fmla="*/ 97 w 743"/>
                <a:gd name="T113" fmla="*/ 15 h 672"/>
                <a:gd name="T114" fmla="*/ 52 w 743"/>
                <a:gd name="T115" fmla="*/ 30 h 672"/>
                <a:gd name="T116" fmla="*/ 16 w 743"/>
                <a:gd name="T117" fmla="*/ 70 h 672"/>
                <a:gd name="T118" fmla="*/ 1 w 743"/>
                <a:gd name="T119" fmla="*/ 120 h 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43" h="672">
                  <a:moveTo>
                    <a:pt x="0" y="143"/>
                  </a:moveTo>
                  <a:lnTo>
                    <a:pt x="0" y="160"/>
                  </a:lnTo>
                  <a:lnTo>
                    <a:pt x="2" y="177"/>
                  </a:lnTo>
                  <a:lnTo>
                    <a:pt x="5" y="194"/>
                  </a:lnTo>
                  <a:lnTo>
                    <a:pt x="9" y="208"/>
                  </a:lnTo>
                  <a:lnTo>
                    <a:pt x="15" y="222"/>
                  </a:lnTo>
                  <a:lnTo>
                    <a:pt x="22" y="235"/>
                  </a:lnTo>
                  <a:lnTo>
                    <a:pt x="29" y="246"/>
                  </a:lnTo>
                  <a:lnTo>
                    <a:pt x="39" y="257"/>
                  </a:lnTo>
                  <a:lnTo>
                    <a:pt x="50" y="266"/>
                  </a:lnTo>
                  <a:lnTo>
                    <a:pt x="61" y="274"/>
                  </a:lnTo>
                  <a:lnTo>
                    <a:pt x="74" y="280"/>
                  </a:lnTo>
                  <a:lnTo>
                    <a:pt x="89" y="286"/>
                  </a:lnTo>
                  <a:lnTo>
                    <a:pt x="104" y="291"/>
                  </a:lnTo>
                  <a:lnTo>
                    <a:pt x="121" y="294"/>
                  </a:lnTo>
                  <a:lnTo>
                    <a:pt x="139" y="296"/>
                  </a:lnTo>
                  <a:lnTo>
                    <a:pt x="159" y="297"/>
                  </a:lnTo>
                  <a:lnTo>
                    <a:pt x="160" y="302"/>
                  </a:lnTo>
                  <a:lnTo>
                    <a:pt x="162" y="309"/>
                  </a:lnTo>
                  <a:lnTo>
                    <a:pt x="166" y="316"/>
                  </a:lnTo>
                  <a:lnTo>
                    <a:pt x="171" y="323"/>
                  </a:lnTo>
                  <a:lnTo>
                    <a:pt x="177" y="331"/>
                  </a:lnTo>
                  <a:lnTo>
                    <a:pt x="184" y="337"/>
                  </a:lnTo>
                  <a:lnTo>
                    <a:pt x="191" y="342"/>
                  </a:lnTo>
                  <a:lnTo>
                    <a:pt x="198" y="346"/>
                  </a:lnTo>
                  <a:lnTo>
                    <a:pt x="311" y="346"/>
                  </a:lnTo>
                  <a:lnTo>
                    <a:pt x="308" y="357"/>
                  </a:lnTo>
                  <a:lnTo>
                    <a:pt x="305" y="365"/>
                  </a:lnTo>
                  <a:lnTo>
                    <a:pt x="300" y="372"/>
                  </a:lnTo>
                  <a:lnTo>
                    <a:pt x="296" y="379"/>
                  </a:lnTo>
                  <a:lnTo>
                    <a:pt x="292" y="385"/>
                  </a:lnTo>
                  <a:lnTo>
                    <a:pt x="288" y="391"/>
                  </a:lnTo>
                  <a:lnTo>
                    <a:pt x="286" y="399"/>
                  </a:lnTo>
                  <a:lnTo>
                    <a:pt x="285" y="408"/>
                  </a:lnTo>
                  <a:lnTo>
                    <a:pt x="286" y="420"/>
                  </a:lnTo>
                  <a:lnTo>
                    <a:pt x="289" y="435"/>
                  </a:lnTo>
                  <a:lnTo>
                    <a:pt x="293" y="451"/>
                  </a:lnTo>
                  <a:lnTo>
                    <a:pt x="298" y="467"/>
                  </a:lnTo>
                  <a:lnTo>
                    <a:pt x="307" y="495"/>
                  </a:lnTo>
                  <a:lnTo>
                    <a:pt x="311" y="513"/>
                  </a:lnTo>
                  <a:lnTo>
                    <a:pt x="310" y="517"/>
                  </a:lnTo>
                  <a:lnTo>
                    <a:pt x="309" y="522"/>
                  </a:lnTo>
                  <a:lnTo>
                    <a:pt x="307" y="526"/>
                  </a:lnTo>
                  <a:lnTo>
                    <a:pt x="305" y="531"/>
                  </a:lnTo>
                  <a:lnTo>
                    <a:pt x="303" y="535"/>
                  </a:lnTo>
                  <a:lnTo>
                    <a:pt x="300" y="540"/>
                  </a:lnTo>
                  <a:lnTo>
                    <a:pt x="298" y="544"/>
                  </a:lnTo>
                  <a:lnTo>
                    <a:pt x="298" y="549"/>
                  </a:lnTo>
                  <a:lnTo>
                    <a:pt x="299" y="557"/>
                  </a:lnTo>
                  <a:lnTo>
                    <a:pt x="302" y="566"/>
                  </a:lnTo>
                  <a:lnTo>
                    <a:pt x="305" y="577"/>
                  </a:lnTo>
                  <a:lnTo>
                    <a:pt x="309" y="587"/>
                  </a:lnTo>
                  <a:lnTo>
                    <a:pt x="315" y="597"/>
                  </a:lnTo>
                  <a:lnTo>
                    <a:pt x="321" y="607"/>
                  </a:lnTo>
                  <a:lnTo>
                    <a:pt x="328" y="617"/>
                  </a:lnTo>
                  <a:lnTo>
                    <a:pt x="337" y="627"/>
                  </a:lnTo>
                  <a:lnTo>
                    <a:pt x="344" y="637"/>
                  </a:lnTo>
                  <a:lnTo>
                    <a:pt x="353" y="645"/>
                  </a:lnTo>
                  <a:lnTo>
                    <a:pt x="362" y="653"/>
                  </a:lnTo>
                  <a:lnTo>
                    <a:pt x="371" y="659"/>
                  </a:lnTo>
                  <a:lnTo>
                    <a:pt x="379" y="664"/>
                  </a:lnTo>
                  <a:lnTo>
                    <a:pt x="388" y="669"/>
                  </a:lnTo>
                  <a:lnTo>
                    <a:pt x="397" y="671"/>
                  </a:lnTo>
                  <a:lnTo>
                    <a:pt x="405" y="672"/>
                  </a:lnTo>
                  <a:lnTo>
                    <a:pt x="415" y="671"/>
                  </a:lnTo>
                  <a:lnTo>
                    <a:pt x="424" y="670"/>
                  </a:lnTo>
                  <a:lnTo>
                    <a:pt x="435" y="667"/>
                  </a:lnTo>
                  <a:lnTo>
                    <a:pt x="445" y="663"/>
                  </a:lnTo>
                  <a:lnTo>
                    <a:pt x="455" y="658"/>
                  </a:lnTo>
                  <a:lnTo>
                    <a:pt x="465" y="653"/>
                  </a:lnTo>
                  <a:lnTo>
                    <a:pt x="475" y="647"/>
                  </a:lnTo>
                  <a:lnTo>
                    <a:pt x="484" y="641"/>
                  </a:lnTo>
                  <a:lnTo>
                    <a:pt x="493" y="634"/>
                  </a:lnTo>
                  <a:lnTo>
                    <a:pt x="500" y="627"/>
                  </a:lnTo>
                  <a:lnTo>
                    <a:pt x="507" y="619"/>
                  </a:lnTo>
                  <a:lnTo>
                    <a:pt x="512" y="612"/>
                  </a:lnTo>
                  <a:lnTo>
                    <a:pt x="518" y="605"/>
                  </a:lnTo>
                  <a:lnTo>
                    <a:pt x="521" y="599"/>
                  </a:lnTo>
                  <a:lnTo>
                    <a:pt x="523" y="592"/>
                  </a:lnTo>
                  <a:lnTo>
                    <a:pt x="524" y="586"/>
                  </a:lnTo>
                  <a:lnTo>
                    <a:pt x="518" y="574"/>
                  </a:lnTo>
                  <a:lnTo>
                    <a:pt x="504" y="551"/>
                  </a:lnTo>
                  <a:lnTo>
                    <a:pt x="487" y="528"/>
                  </a:lnTo>
                  <a:lnTo>
                    <a:pt x="477" y="513"/>
                  </a:lnTo>
                  <a:lnTo>
                    <a:pt x="477" y="469"/>
                  </a:lnTo>
                  <a:lnTo>
                    <a:pt x="504" y="469"/>
                  </a:lnTo>
                  <a:lnTo>
                    <a:pt x="518" y="476"/>
                  </a:lnTo>
                  <a:lnTo>
                    <a:pt x="541" y="484"/>
                  </a:lnTo>
                  <a:lnTo>
                    <a:pt x="564" y="493"/>
                  </a:lnTo>
                  <a:lnTo>
                    <a:pt x="577" y="500"/>
                  </a:lnTo>
                  <a:lnTo>
                    <a:pt x="578" y="496"/>
                  </a:lnTo>
                  <a:lnTo>
                    <a:pt x="580" y="493"/>
                  </a:lnTo>
                  <a:lnTo>
                    <a:pt x="584" y="489"/>
                  </a:lnTo>
                  <a:lnTo>
                    <a:pt x="589" y="485"/>
                  </a:lnTo>
                  <a:lnTo>
                    <a:pt x="600" y="477"/>
                  </a:lnTo>
                  <a:lnTo>
                    <a:pt x="614" y="469"/>
                  </a:lnTo>
                  <a:lnTo>
                    <a:pt x="629" y="461"/>
                  </a:lnTo>
                  <a:lnTo>
                    <a:pt x="642" y="453"/>
                  </a:lnTo>
                  <a:lnTo>
                    <a:pt x="647" y="449"/>
                  </a:lnTo>
                  <a:lnTo>
                    <a:pt x="652" y="445"/>
                  </a:lnTo>
                  <a:lnTo>
                    <a:pt x="655" y="442"/>
                  </a:lnTo>
                  <a:lnTo>
                    <a:pt x="657" y="438"/>
                  </a:lnTo>
                  <a:lnTo>
                    <a:pt x="662" y="440"/>
                  </a:lnTo>
                  <a:lnTo>
                    <a:pt x="666" y="441"/>
                  </a:lnTo>
                  <a:lnTo>
                    <a:pt x="669" y="441"/>
                  </a:lnTo>
                  <a:lnTo>
                    <a:pt x="674" y="441"/>
                  </a:lnTo>
                  <a:lnTo>
                    <a:pt x="677" y="440"/>
                  </a:lnTo>
                  <a:lnTo>
                    <a:pt x="679" y="439"/>
                  </a:lnTo>
                  <a:lnTo>
                    <a:pt x="681" y="437"/>
                  </a:lnTo>
                  <a:lnTo>
                    <a:pt x="685" y="435"/>
                  </a:lnTo>
                  <a:lnTo>
                    <a:pt x="691" y="424"/>
                  </a:lnTo>
                  <a:lnTo>
                    <a:pt x="697" y="414"/>
                  </a:lnTo>
                  <a:lnTo>
                    <a:pt x="657" y="339"/>
                  </a:lnTo>
                  <a:lnTo>
                    <a:pt x="661" y="334"/>
                  </a:lnTo>
                  <a:lnTo>
                    <a:pt x="666" y="327"/>
                  </a:lnTo>
                  <a:lnTo>
                    <a:pt x="674" y="320"/>
                  </a:lnTo>
                  <a:lnTo>
                    <a:pt x="681" y="313"/>
                  </a:lnTo>
                  <a:lnTo>
                    <a:pt x="690" y="306"/>
                  </a:lnTo>
                  <a:lnTo>
                    <a:pt x="700" y="299"/>
                  </a:lnTo>
                  <a:lnTo>
                    <a:pt x="709" y="294"/>
                  </a:lnTo>
                  <a:lnTo>
                    <a:pt x="717" y="291"/>
                  </a:lnTo>
                  <a:lnTo>
                    <a:pt x="715" y="275"/>
                  </a:lnTo>
                  <a:lnTo>
                    <a:pt x="714" y="263"/>
                  </a:lnTo>
                  <a:lnTo>
                    <a:pt x="713" y="258"/>
                  </a:lnTo>
                  <a:lnTo>
                    <a:pt x="714" y="253"/>
                  </a:lnTo>
                  <a:lnTo>
                    <a:pt x="714" y="248"/>
                  </a:lnTo>
                  <a:lnTo>
                    <a:pt x="717" y="241"/>
                  </a:lnTo>
                  <a:lnTo>
                    <a:pt x="720" y="241"/>
                  </a:lnTo>
                  <a:lnTo>
                    <a:pt x="723" y="239"/>
                  </a:lnTo>
                  <a:lnTo>
                    <a:pt x="726" y="235"/>
                  </a:lnTo>
                  <a:lnTo>
                    <a:pt x="730" y="231"/>
                  </a:lnTo>
                  <a:lnTo>
                    <a:pt x="737" y="223"/>
                  </a:lnTo>
                  <a:lnTo>
                    <a:pt x="743" y="216"/>
                  </a:lnTo>
                  <a:lnTo>
                    <a:pt x="735" y="215"/>
                  </a:lnTo>
                  <a:lnTo>
                    <a:pt x="728" y="213"/>
                  </a:lnTo>
                  <a:lnTo>
                    <a:pt x="721" y="210"/>
                  </a:lnTo>
                  <a:lnTo>
                    <a:pt x="714" y="207"/>
                  </a:lnTo>
                  <a:lnTo>
                    <a:pt x="709" y="204"/>
                  </a:lnTo>
                  <a:lnTo>
                    <a:pt x="703" y="200"/>
                  </a:lnTo>
                  <a:lnTo>
                    <a:pt x="700" y="196"/>
                  </a:lnTo>
                  <a:lnTo>
                    <a:pt x="696" y="191"/>
                  </a:lnTo>
                  <a:lnTo>
                    <a:pt x="692" y="186"/>
                  </a:lnTo>
                  <a:lnTo>
                    <a:pt x="690" y="181"/>
                  </a:lnTo>
                  <a:lnTo>
                    <a:pt x="688" y="174"/>
                  </a:lnTo>
                  <a:lnTo>
                    <a:pt x="686" y="168"/>
                  </a:lnTo>
                  <a:lnTo>
                    <a:pt x="684" y="156"/>
                  </a:lnTo>
                  <a:lnTo>
                    <a:pt x="684" y="143"/>
                  </a:lnTo>
                  <a:lnTo>
                    <a:pt x="679" y="143"/>
                  </a:lnTo>
                  <a:lnTo>
                    <a:pt x="675" y="144"/>
                  </a:lnTo>
                  <a:lnTo>
                    <a:pt x="670" y="145"/>
                  </a:lnTo>
                  <a:lnTo>
                    <a:pt x="667" y="146"/>
                  </a:lnTo>
                  <a:lnTo>
                    <a:pt x="662" y="150"/>
                  </a:lnTo>
                  <a:lnTo>
                    <a:pt x="657" y="155"/>
                  </a:lnTo>
                  <a:lnTo>
                    <a:pt x="646" y="154"/>
                  </a:lnTo>
                  <a:lnTo>
                    <a:pt x="639" y="152"/>
                  </a:lnTo>
                  <a:lnTo>
                    <a:pt x="636" y="150"/>
                  </a:lnTo>
                  <a:lnTo>
                    <a:pt x="634" y="148"/>
                  </a:lnTo>
                  <a:lnTo>
                    <a:pt x="632" y="146"/>
                  </a:lnTo>
                  <a:lnTo>
                    <a:pt x="631" y="144"/>
                  </a:lnTo>
                  <a:lnTo>
                    <a:pt x="630" y="134"/>
                  </a:lnTo>
                  <a:lnTo>
                    <a:pt x="630" y="124"/>
                  </a:lnTo>
                  <a:lnTo>
                    <a:pt x="624" y="124"/>
                  </a:lnTo>
                  <a:lnTo>
                    <a:pt x="618" y="121"/>
                  </a:lnTo>
                  <a:lnTo>
                    <a:pt x="610" y="119"/>
                  </a:lnTo>
                  <a:lnTo>
                    <a:pt x="602" y="115"/>
                  </a:lnTo>
                  <a:lnTo>
                    <a:pt x="595" y="111"/>
                  </a:lnTo>
                  <a:lnTo>
                    <a:pt x="589" y="106"/>
                  </a:lnTo>
                  <a:lnTo>
                    <a:pt x="587" y="103"/>
                  </a:lnTo>
                  <a:lnTo>
                    <a:pt x="585" y="100"/>
                  </a:lnTo>
                  <a:lnTo>
                    <a:pt x="584" y="97"/>
                  </a:lnTo>
                  <a:lnTo>
                    <a:pt x="584" y="93"/>
                  </a:lnTo>
                  <a:lnTo>
                    <a:pt x="587" y="83"/>
                  </a:lnTo>
                  <a:lnTo>
                    <a:pt x="590" y="69"/>
                  </a:lnTo>
                  <a:lnTo>
                    <a:pt x="544" y="69"/>
                  </a:lnTo>
                  <a:lnTo>
                    <a:pt x="536" y="75"/>
                  </a:lnTo>
                  <a:lnTo>
                    <a:pt x="530" y="80"/>
                  </a:lnTo>
                  <a:lnTo>
                    <a:pt x="523" y="83"/>
                  </a:lnTo>
                  <a:lnTo>
                    <a:pt x="518" y="85"/>
                  </a:lnTo>
                  <a:lnTo>
                    <a:pt x="505" y="87"/>
                  </a:lnTo>
                  <a:lnTo>
                    <a:pt x="490" y="87"/>
                  </a:lnTo>
                  <a:lnTo>
                    <a:pt x="485" y="88"/>
                  </a:lnTo>
                  <a:lnTo>
                    <a:pt x="478" y="92"/>
                  </a:lnTo>
                  <a:lnTo>
                    <a:pt x="475" y="94"/>
                  </a:lnTo>
                  <a:lnTo>
                    <a:pt x="473" y="97"/>
                  </a:lnTo>
                  <a:lnTo>
                    <a:pt x="472" y="101"/>
                  </a:lnTo>
                  <a:lnTo>
                    <a:pt x="471" y="105"/>
                  </a:lnTo>
                  <a:lnTo>
                    <a:pt x="457" y="111"/>
                  </a:lnTo>
                  <a:lnTo>
                    <a:pt x="444" y="117"/>
                  </a:lnTo>
                  <a:lnTo>
                    <a:pt x="439" y="117"/>
                  </a:lnTo>
                  <a:lnTo>
                    <a:pt x="434" y="116"/>
                  </a:lnTo>
                  <a:lnTo>
                    <a:pt x="430" y="115"/>
                  </a:lnTo>
                  <a:lnTo>
                    <a:pt x="426" y="113"/>
                  </a:lnTo>
                  <a:lnTo>
                    <a:pt x="422" y="110"/>
                  </a:lnTo>
                  <a:lnTo>
                    <a:pt x="420" y="107"/>
                  </a:lnTo>
                  <a:lnTo>
                    <a:pt x="418" y="104"/>
                  </a:lnTo>
                  <a:lnTo>
                    <a:pt x="418" y="99"/>
                  </a:lnTo>
                  <a:lnTo>
                    <a:pt x="410" y="103"/>
                  </a:lnTo>
                  <a:lnTo>
                    <a:pt x="404" y="104"/>
                  </a:lnTo>
                  <a:lnTo>
                    <a:pt x="398" y="104"/>
                  </a:lnTo>
                  <a:lnTo>
                    <a:pt x="393" y="102"/>
                  </a:lnTo>
                  <a:lnTo>
                    <a:pt x="388" y="98"/>
                  </a:lnTo>
                  <a:lnTo>
                    <a:pt x="384" y="93"/>
                  </a:lnTo>
                  <a:lnTo>
                    <a:pt x="381" y="88"/>
                  </a:lnTo>
                  <a:lnTo>
                    <a:pt x="378" y="81"/>
                  </a:lnTo>
                  <a:lnTo>
                    <a:pt x="359" y="83"/>
                  </a:lnTo>
                  <a:lnTo>
                    <a:pt x="340" y="86"/>
                  </a:lnTo>
                  <a:lnTo>
                    <a:pt x="331" y="86"/>
                  </a:lnTo>
                  <a:lnTo>
                    <a:pt x="323" y="86"/>
                  </a:lnTo>
                  <a:lnTo>
                    <a:pt x="320" y="86"/>
                  </a:lnTo>
                  <a:lnTo>
                    <a:pt x="317" y="85"/>
                  </a:lnTo>
                  <a:lnTo>
                    <a:pt x="314" y="83"/>
                  </a:lnTo>
                  <a:lnTo>
                    <a:pt x="311" y="81"/>
                  </a:lnTo>
                  <a:lnTo>
                    <a:pt x="305" y="86"/>
                  </a:lnTo>
                  <a:lnTo>
                    <a:pt x="298" y="89"/>
                  </a:lnTo>
                  <a:lnTo>
                    <a:pt x="291" y="92"/>
                  </a:lnTo>
                  <a:lnTo>
                    <a:pt x="285" y="93"/>
                  </a:lnTo>
                  <a:lnTo>
                    <a:pt x="275" y="93"/>
                  </a:lnTo>
                  <a:lnTo>
                    <a:pt x="265" y="93"/>
                  </a:lnTo>
                  <a:lnTo>
                    <a:pt x="258" y="93"/>
                  </a:lnTo>
                  <a:lnTo>
                    <a:pt x="252" y="93"/>
                  </a:lnTo>
                  <a:lnTo>
                    <a:pt x="251" y="83"/>
                  </a:lnTo>
                  <a:lnTo>
                    <a:pt x="249" y="73"/>
                  </a:lnTo>
                  <a:lnTo>
                    <a:pt x="244" y="65"/>
                  </a:lnTo>
                  <a:lnTo>
                    <a:pt x="240" y="58"/>
                  </a:lnTo>
                  <a:lnTo>
                    <a:pt x="233" y="52"/>
                  </a:lnTo>
                  <a:lnTo>
                    <a:pt x="227" y="47"/>
                  </a:lnTo>
                  <a:lnTo>
                    <a:pt x="219" y="42"/>
                  </a:lnTo>
                  <a:lnTo>
                    <a:pt x="211" y="38"/>
                  </a:lnTo>
                  <a:lnTo>
                    <a:pt x="195" y="30"/>
                  </a:lnTo>
                  <a:lnTo>
                    <a:pt x="179" y="22"/>
                  </a:lnTo>
                  <a:lnTo>
                    <a:pt x="171" y="18"/>
                  </a:lnTo>
                  <a:lnTo>
                    <a:pt x="164" y="13"/>
                  </a:lnTo>
                  <a:lnTo>
                    <a:pt x="158" y="7"/>
                  </a:lnTo>
                  <a:lnTo>
                    <a:pt x="152" y="0"/>
                  </a:lnTo>
                  <a:lnTo>
                    <a:pt x="148" y="10"/>
                  </a:lnTo>
                  <a:lnTo>
                    <a:pt x="146" y="20"/>
                  </a:lnTo>
                  <a:lnTo>
                    <a:pt x="146" y="31"/>
                  </a:lnTo>
                  <a:lnTo>
                    <a:pt x="146" y="44"/>
                  </a:lnTo>
                  <a:lnTo>
                    <a:pt x="140" y="44"/>
                  </a:lnTo>
                  <a:lnTo>
                    <a:pt x="136" y="46"/>
                  </a:lnTo>
                  <a:lnTo>
                    <a:pt x="131" y="49"/>
                  </a:lnTo>
                  <a:lnTo>
                    <a:pt x="127" y="52"/>
                  </a:lnTo>
                  <a:lnTo>
                    <a:pt x="124" y="57"/>
                  </a:lnTo>
                  <a:lnTo>
                    <a:pt x="121" y="62"/>
                  </a:lnTo>
                  <a:lnTo>
                    <a:pt x="119" y="69"/>
                  </a:lnTo>
                  <a:lnTo>
                    <a:pt x="119" y="75"/>
                  </a:lnTo>
                  <a:lnTo>
                    <a:pt x="119" y="96"/>
                  </a:lnTo>
                  <a:lnTo>
                    <a:pt x="119" y="108"/>
                  </a:lnTo>
                  <a:lnTo>
                    <a:pt x="119" y="118"/>
                  </a:lnTo>
                  <a:lnTo>
                    <a:pt x="119" y="137"/>
                  </a:lnTo>
                  <a:lnTo>
                    <a:pt x="116" y="150"/>
                  </a:lnTo>
                  <a:lnTo>
                    <a:pt x="109" y="169"/>
                  </a:lnTo>
                  <a:lnTo>
                    <a:pt x="107" y="180"/>
                  </a:lnTo>
                  <a:lnTo>
                    <a:pt x="105" y="188"/>
                  </a:lnTo>
                  <a:lnTo>
                    <a:pt x="104" y="194"/>
                  </a:lnTo>
                  <a:lnTo>
                    <a:pt x="105" y="198"/>
                  </a:lnTo>
                  <a:lnTo>
                    <a:pt x="99" y="197"/>
                  </a:lnTo>
                  <a:lnTo>
                    <a:pt x="93" y="194"/>
                  </a:lnTo>
                  <a:lnTo>
                    <a:pt x="90" y="193"/>
                  </a:lnTo>
                  <a:lnTo>
                    <a:pt x="87" y="190"/>
                  </a:lnTo>
                  <a:lnTo>
                    <a:pt x="86" y="188"/>
                  </a:lnTo>
                  <a:lnTo>
                    <a:pt x="85" y="186"/>
                  </a:lnTo>
                  <a:lnTo>
                    <a:pt x="80" y="186"/>
                  </a:lnTo>
                  <a:lnTo>
                    <a:pt x="74" y="185"/>
                  </a:lnTo>
                  <a:lnTo>
                    <a:pt x="70" y="184"/>
                  </a:lnTo>
                  <a:lnTo>
                    <a:pt x="67" y="182"/>
                  </a:lnTo>
                  <a:lnTo>
                    <a:pt x="63" y="179"/>
                  </a:lnTo>
                  <a:lnTo>
                    <a:pt x="60" y="176"/>
                  </a:lnTo>
                  <a:lnTo>
                    <a:pt x="58" y="173"/>
                  </a:lnTo>
                  <a:lnTo>
                    <a:pt x="57" y="169"/>
                  </a:lnTo>
                  <a:lnTo>
                    <a:pt x="54" y="161"/>
                  </a:lnTo>
                  <a:lnTo>
                    <a:pt x="52" y="152"/>
                  </a:lnTo>
                  <a:lnTo>
                    <a:pt x="52" y="142"/>
                  </a:lnTo>
                  <a:lnTo>
                    <a:pt x="52" y="131"/>
                  </a:lnTo>
                  <a:lnTo>
                    <a:pt x="52" y="119"/>
                  </a:lnTo>
                  <a:lnTo>
                    <a:pt x="54" y="109"/>
                  </a:lnTo>
                  <a:lnTo>
                    <a:pt x="56" y="100"/>
                  </a:lnTo>
                  <a:lnTo>
                    <a:pt x="59" y="91"/>
                  </a:lnTo>
                  <a:lnTo>
                    <a:pt x="65" y="76"/>
                  </a:lnTo>
                  <a:lnTo>
                    <a:pt x="73" y="61"/>
                  </a:lnTo>
                  <a:lnTo>
                    <a:pt x="81" y="49"/>
                  </a:lnTo>
                  <a:lnTo>
                    <a:pt x="89" y="36"/>
                  </a:lnTo>
                  <a:lnTo>
                    <a:pt x="92" y="29"/>
                  </a:lnTo>
                  <a:lnTo>
                    <a:pt x="95" y="22"/>
                  </a:lnTo>
                  <a:lnTo>
                    <a:pt x="97" y="15"/>
                  </a:lnTo>
                  <a:lnTo>
                    <a:pt x="98" y="7"/>
                  </a:lnTo>
                  <a:lnTo>
                    <a:pt x="85" y="12"/>
                  </a:lnTo>
                  <a:lnTo>
                    <a:pt x="73" y="18"/>
                  </a:lnTo>
                  <a:lnTo>
                    <a:pt x="62" y="24"/>
                  </a:lnTo>
                  <a:lnTo>
                    <a:pt x="52" y="30"/>
                  </a:lnTo>
                  <a:lnTo>
                    <a:pt x="43" y="37"/>
                  </a:lnTo>
                  <a:lnTo>
                    <a:pt x="35" y="44"/>
                  </a:lnTo>
                  <a:lnTo>
                    <a:pt x="28" y="52"/>
                  </a:lnTo>
                  <a:lnTo>
                    <a:pt x="22" y="60"/>
                  </a:lnTo>
                  <a:lnTo>
                    <a:pt x="16" y="70"/>
                  </a:lnTo>
                  <a:lnTo>
                    <a:pt x="12" y="79"/>
                  </a:lnTo>
                  <a:lnTo>
                    <a:pt x="7" y="89"/>
                  </a:lnTo>
                  <a:lnTo>
                    <a:pt x="4" y="99"/>
                  </a:lnTo>
                  <a:lnTo>
                    <a:pt x="2" y="109"/>
                  </a:lnTo>
                  <a:lnTo>
                    <a:pt x="1" y="120"/>
                  </a:lnTo>
                  <a:lnTo>
                    <a:pt x="0" y="131"/>
                  </a:lnTo>
                  <a:lnTo>
                    <a:pt x="0" y="1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2217" name="Freeform 169"/>
          <p:cNvSpPr>
            <a:spLocks/>
          </p:cNvSpPr>
          <p:nvPr>
            <p:custDataLst>
              <p:tags r:id="rId96"/>
            </p:custDataLst>
          </p:nvPr>
        </p:nvSpPr>
        <p:spPr bwMode="auto">
          <a:xfrm>
            <a:off x="8739188" y="4786313"/>
            <a:ext cx="31750" cy="11112"/>
          </a:xfrm>
          <a:custGeom>
            <a:avLst/>
            <a:gdLst>
              <a:gd name="T0" fmla="*/ 0 w 79"/>
              <a:gd name="T1" fmla="*/ 23 h 23"/>
              <a:gd name="T2" fmla="*/ 22 w 79"/>
              <a:gd name="T3" fmla="*/ 13 h 23"/>
              <a:gd name="T4" fmla="*/ 45 w 79"/>
              <a:gd name="T5" fmla="*/ 4 h 23"/>
              <a:gd name="T6" fmla="*/ 56 w 79"/>
              <a:gd name="T7" fmla="*/ 1 h 23"/>
              <a:gd name="T8" fmla="*/ 65 w 79"/>
              <a:gd name="T9" fmla="*/ 0 h 23"/>
              <a:gd name="T10" fmla="*/ 69 w 79"/>
              <a:gd name="T11" fmla="*/ 0 h 23"/>
              <a:gd name="T12" fmla="*/ 74 w 79"/>
              <a:gd name="T13" fmla="*/ 1 h 23"/>
              <a:gd name="T14" fmla="*/ 77 w 79"/>
              <a:gd name="T15" fmla="*/ 2 h 23"/>
              <a:gd name="T16" fmla="*/ 79 w 79"/>
              <a:gd name="T17" fmla="*/ 4 h 23"/>
              <a:gd name="T18" fmla="*/ 77 w 79"/>
              <a:gd name="T19" fmla="*/ 8 h 23"/>
              <a:gd name="T20" fmla="*/ 75 w 79"/>
              <a:gd name="T21" fmla="*/ 13 h 23"/>
              <a:gd name="T22" fmla="*/ 72 w 79"/>
              <a:gd name="T23" fmla="*/ 16 h 23"/>
              <a:gd name="T24" fmla="*/ 68 w 79"/>
              <a:gd name="T25" fmla="*/ 19 h 23"/>
              <a:gd name="T26" fmla="*/ 64 w 79"/>
              <a:gd name="T27" fmla="*/ 21 h 23"/>
              <a:gd name="T28" fmla="*/ 59 w 79"/>
              <a:gd name="T29" fmla="*/ 22 h 23"/>
              <a:gd name="T30" fmla="*/ 53 w 79"/>
              <a:gd name="T31" fmla="*/ 23 h 23"/>
              <a:gd name="T32" fmla="*/ 46 w 79"/>
              <a:gd name="T33" fmla="*/ 23 h 23"/>
              <a:gd name="T34" fmla="*/ 37 w 79"/>
              <a:gd name="T35" fmla="*/ 23 h 23"/>
              <a:gd name="T36" fmla="*/ 32 w 79"/>
              <a:gd name="T37" fmla="*/ 21 h 23"/>
              <a:gd name="T38" fmla="*/ 26 w 79"/>
              <a:gd name="T39" fmla="*/ 20 h 23"/>
              <a:gd name="T40" fmla="*/ 23 w 79"/>
              <a:gd name="T41" fmla="*/ 19 h 23"/>
              <a:gd name="T42" fmla="*/ 19 w 79"/>
              <a:gd name="T43" fmla="*/ 18 h 23"/>
              <a:gd name="T44" fmla="*/ 14 w 79"/>
              <a:gd name="T45" fmla="*/ 18 h 23"/>
              <a:gd name="T46" fmla="*/ 9 w 79"/>
              <a:gd name="T47" fmla="*/ 20 h 23"/>
              <a:gd name="T48" fmla="*/ 0 w 79"/>
              <a:gd name="T49" fmla="*/ 23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79" h="23">
                <a:moveTo>
                  <a:pt x="0" y="23"/>
                </a:moveTo>
                <a:lnTo>
                  <a:pt x="22" y="13"/>
                </a:lnTo>
                <a:lnTo>
                  <a:pt x="45" y="4"/>
                </a:lnTo>
                <a:lnTo>
                  <a:pt x="56" y="1"/>
                </a:lnTo>
                <a:lnTo>
                  <a:pt x="65" y="0"/>
                </a:lnTo>
                <a:lnTo>
                  <a:pt x="69" y="0"/>
                </a:lnTo>
                <a:lnTo>
                  <a:pt x="74" y="1"/>
                </a:lnTo>
                <a:lnTo>
                  <a:pt x="77" y="2"/>
                </a:lnTo>
                <a:lnTo>
                  <a:pt x="79" y="4"/>
                </a:lnTo>
                <a:lnTo>
                  <a:pt x="77" y="8"/>
                </a:lnTo>
                <a:lnTo>
                  <a:pt x="75" y="13"/>
                </a:lnTo>
                <a:lnTo>
                  <a:pt x="72" y="16"/>
                </a:lnTo>
                <a:lnTo>
                  <a:pt x="68" y="19"/>
                </a:lnTo>
                <a:lnTo>
                  <a:pt x="64" y="21"/>
                </a:lnTo>
                <a:lnTo>
                  <a:pt x="59" y="22"/>
                </a:lnTo>
                <a:lnTo>
                  <a:pt x="53" y="23"/>
                </a:lnTo>
                <a:lnTo>
                  <a:pt x="46" y="23"/>
                </a:lnTo>
                <a:lnTo>
                  <a:pt x="37" y="23"/>
                </a:lnTo>
                <a:lnTo>
                  <a:pt x="32" y="21"/>
                </a:lnTo>
                <a:lnTo>
                  <a:pt x="26" y="20"/>
                </a:lnTo>
                <a:lnTo>
                  <a:pt x="23" y="19"/>
                </a:lnTo>
                <a:lnTo>
                  <a:pt x="19" y="18"/>
                </a:lnTo>
                <a:lnTo>
                  <a:pt x="14" y="18"/>
                </a:lnTo>
                <a:lnTo>
                  <a:pt x="9" y="20"/>
                </a:lnTo>
                <a:lnTo>
                  <a:pt x="0" y="2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18" name="Freeform 170"/>
          <p:cNvSpPr>
            <a:spLocks/>
          </p:cNvSpPr>
          <p:nvPr>
            <p:custDataLst>
              <p:tags r:id="rId97"/>
            </p:custDataLst>
          </p:nvPr>
        </p:nvSpPr>
        <p:spPr bwMode="auto">
          <a:xfrm>
            <a:off x="8855075" y="4919663"/>
            <a:ext cx="1588" cy="4762"/>
          </a:xfrm>
          <a:custGeom>
            <a:avLst/>
            <a:gdLst>
              <a:gd name="T0" fmla="*/ 0 h 6"/>
              <a:gd name="T1" fmla="*/ 6 h 6"/>
              <a:gd name="T2" fmla="*/ 0 h 6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">
                <a:moveTo>
                  <a:pt x="0" y="0"/>
                </a:moveTo>
                <a:lnTo>
                  <a:pt x="0" y="6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19" name="Line 171"/>
          <p:cNvSpPr>
            <a:spLocks noChangeShapeType="1"/>
          </p:cNvSpPr>
          <p:nvPr>
            <p:custDataLst>
              <p:tags r:id="rId98"/>
            </p:custDataLst>
          </p:nvPr>
        </p:nvSpPr>
        <p:spPr bwMode="auto">
          <a:xfrm flipV="1">
            <a:off x="8945564" y="4918075"/>
            <a:ext cx="1587" cy="1270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20" name="Freeform 172"/>
          <p:cNvSpPr>
            <a:spLocks/>
          </p:cNvSpPr>
          <p:nvPr>
            <p:custDataLst>
              <p:tags r:id="rId99"/>
            </p:custDataLst>
          </p:nvPr>
        </p:nvSpPr>
        <p:spPr bwMode="auto">
          <a:xfrm>
            <a:off x="8945564" y="4918076"/>
            <a:ext cx="3175" cy="15875"/>
          </a:xfrm>
          <a:custGeom>
            <a:avLst/>
            <a:gdLst>
              <a:gd name="T0" fmla="*/ 0 w 5"/>
              <a:gd name="T1" fmla="*/ 0 h 30"/>
              <a:gd name="T2" fmla="*/ 2 w 5"/>
              <a:gd name="T3" fmla="*/ 1 h 30"/>
              <a:gd name="T4" fmla="*/ 4 w 5"/>
              <a:gd name="T5" fmla="*/ 4 h 30"/>
              <a:gd name="T6" fmla="*/ 5 w 5"/>
              <a:gd name="T7" fmla="*/ 8 h 30"/>
              <a:gd name="T8" fmla="*/ 5 w 5"/>
              <a:gd name="T9" fmla="*/ 13 h 30"/>
              <a:gd name="T10" fmla="*/ 5 w 5"/>
              <a:gd name="T11" fmla="*/ 18 h 30"/>
              <a:gd name="T12" fmla="*/ 4 w 5"/>
              <a:gd name="T13" fmla="*/ 23 h 30"/>
              <a:gd name="T14" fmla="*/ 2 w 5"/>
              <a:gd name="T15" fmla="*/ 27 h 30"/>
              <a:gd name="T16" fmla="*/ 0 w 5"/>
              <a:gd name="T17" fmla="*/ 3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" h="30">
                <a:moveTo>
                  <a:pt x="0" y="0"/>
                </a:moveTo>
                <a:lnTo>
                  <a:pt x="2" y="1"/>
                </a:lnTo>
                <a:lnTo>
                  <a:pt x="4" y="4"/>
                </a:lnTo>
                <a:lnTo>
                  <a:pt x="5" y="8"/>
                </a:lnTo>
                <a:lnTo>
                  <a:pt x="5" y="13"/>
                </a:lnTo>
                <a:lnTo>
                  <a:pt x="5" y="18"/>
                </a:lnTo>
                <a:lnTo>
                  <a:pt x="4" y="23"/>
                </a:lnTo>
                <a:lnTo>
                  <a:pt x="2" y="27"/>
                </a:lnTo>
                <a:lnTo>
                  <a:pt x="0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21" name="Freeform 173"/>
          <p:cNvSpPr>
            <a:spLocks/>
          </p:cNvSpPr>
          <p:nvPr>
            <p:custDataLst>
              <p:tags r:id="rId100"/>
            </p:custDataLst>
          </p:nvPr>
        </p:nvSpPr>
        <p:spPr bwMode="auto">
          <a:xfrm>
            <a:off x="9244014" y="4387851"/>
            <a:ext cx="22225" cy="28575"/>
          </a:xfrm>
          <a:custGeom>
            <a:avLst/>
            <a:gdLst>
              <a:gd name="T0" fmla="*/ 0 w 53"/>
              <a:gd name="T1" fmla="*/ 12 h 55"/>
              <a:gd name="T2" fmla="*/ 1 w 53"/>
              <a:gd name="T3" fmla="*/ 17 h 55"/>
              <a:gd name="T4" fmla="*/ 5 w 53"/>
              <a:gd name="T5" fmla="*/ 22 h 55"/>
              <a:gd name="T6" fmla="*/ 9 w 53"/>
              <a:gd name="T7" fmla="*/ 27 h 55"/>
              <a:gd name="T8" fmla="*/ 15 w 53"/>
              <a:gd name="T9" fmla="*/ 33 h 55"/>
              <a:gd name="T10" fmla="*/ 26 w 53"/>
              <a:gd name="T11" fmla="*/ 44 h 55"/>
              <a:gd name="T12" fmla="*/ 33 w 53"/>
              <a:gd name="T13" fmla="*/ 55 h 55"/>
              <a:gd name="T14" fmla="*/ 53 w 53"/>
              <a:gd name="T15" fmla="*/ 55 h 55"/>
              <a:gd name="T16" fmla="*/ 40 w 53"/>
              <a:gd name="T17" fmla="*/ 41 h 55"/>
              <a:gd name="T18" fmla="*/ 28 w 53"/>
              <a:gd name="T19" fmla="*/ 29 h 55"/>
              <a:gd name="T20" fmla="*/ 23 w 53"/>
              <a:gd name="T21" fmla="*/ 23 h 55"/>
              <a:gd name="T22" fmla="*/ 19 w 53"/>
              <a:gd name="T23" fmla="*/ 16 h 55"/>
              <a:gd name="T24" fmla="*/ 16 w 53"/>
              <a:gd name="T25" fmla="*/ 8 h 55"/>
              <a:gd name="T26" fmla="*/ 14 w 53"/>
              <a:gd name="T27" fmla="*/ 0 h 55"/>
              <a:gd name="T28" fmla="*/ 7 w 53"/>
              <a:gd name="T29" fmla="*/ 6 h 55"/>
              <a:gd name="T30" fmla="*/ 0 w 53"/>
              <a:gd name="T31" fmla="*/ 12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3" h="55">
                <a:moveTo>
                  <a:pt x="0" y="12"/>
                </a:moveTo>
                <a:lnTo>
                  <a:pt x="1" y="17"/>
                </a:lnTo>
                <a:lnTo>
                  <a:pt x="5" y="22"/>
                </a:lnTo>
                <a:lnTo>
                  <a:pt x="9" y="27"/>
                </a:lnTo>
                <a:lnTo>
                  <a:pt x="15" y="33"/>
                </a:lnTo>
                <a:lnTo>
                  <a:pt x="26" y="44"/>
                </a:lnTo>
                <a:lnTo>
                  <a:pt x="33" y="55"/>
                </a:lnTo>
                <a:lnTo>
                  <a:pt x="53" y="55"/>
                </a:lnTo>
                <a:lnTo>
                  <a:pt x="40" y="41"/>
                </a:lnTo>
                <a:lnTo>
                  <a:pt x="28" y="29"/>
                </a:lnTo>
                <a:lnTo>
                  <a:pt x="23" y="23"/>
                </a:lnTo>
                <a:lnTo>
                  <a:pt x="19" y="16"/>
                </a:lnTo>
                <a:lnTo>
                  <a:pt x="16" y="8"/>
                </a:lnTo>
                <a:lnTo>
                  <a:pt x="14" y="0"/>
                </a:lnTo>
                <a:lnTo>
                  <a:pt x="7" y="6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22" name="Freeform 174"/>
          <p:cNvSpPr>
            <a:spLocks/>
          </p:cNvSpPr>
          <p:nvPr>
            <p:custDataLst>
              <p:tags r:id="rId101"/>
            </p:custDataLst>
          </p:nvPr>
        </p:nvSpPr>
        <p:spPr bwMode="auto">
          <a:xfrm>
            <a:off x="9250364" y="4314825"/>
            <a:ext cx="26987" cy="39688"/>
          </a:xfrm>
          <a:custGeom>
            <a:avLst/>
            <a:gdLst>
              <a:gd name="T0" fmla="*/ 0 w 65"/>
              <a:gd name="T1" fmla="*/ 32 h 75"/>
              <a:gd name="T2" fmla="*/ 9 w 65"/>
              <a:gd name="T3" fmla="*/ 43 h 75"/>
              <a:gd name="T4" fmla="*/ 20 w 65"/>
              <a:gd name="T5" fmla="*/ 55 h 75"/>
              <a:gd name="T6" fmla="*/ 26 w 65"/>
              <a:gd name="T7" fmla="*/ 61 h 75"/>
              <a:gd name="T8" fmla="*/ 32 w 65"/>
              <a:gd name="T9" fmla="*/ 67 h 75"/>
              <a:gd name="T10" fmla="*/ 39 w 65"/>
              <a:gd name="T11" fmla="*/ 71 h 75"/>
              <a:gd name="T12" fmla="*/ 46 w 65"/>
              <a:gd name="T13" fmla="*/ 75 h 75"/>
              <a:gd name="T14" fmla="*/ 51 w 65"/>
              <a:gd name="T15" fmla="*/ 61 h 75"/>
              <a:gd name="T16" fmla="*/ 58 w 65"/>
              <a:gd name="T17" fmla="*/ 48 h 75"/>
              <a:gd name="T18" fmla="*/ 61 w 65"/>
              <a:gd name="T19" fmla="*/ 42 h 75"/>
              <a:gd name="T20" fmla="*/ 63 w 65"/>
              <a:gd name="T21" fmla="*/ 36 h 75"/>
              <a:gd name="T22" fmla="*/ 65 w 65"/>
              <a:gd name="T23" fmla="*/ 31 h 75"/>
              <a:gd name="T24" fmla="*/ 65 w 65"/>
              <a:gd name="T25" fmla="*/ 26 h 75"/>
              <a:gd name="T26" fmla="*/ 65 w 65"/>
              <a:gd name="T27" fmla="*/ 21 h 75"/>
              <a:gd name="T28" fmla="*/ 63 w 65"/>
              <a:gd name="T29" fmla="*/ 18 h 75"/>
              <a:gd name="T30" fmla="*/ 61 w 65"/>
              <a:gd name="T31" fmla="*/ 13 h 75"/>
              <a:gd name="T32" fmla="*/ 58 w 65"/>
              <a:gd name="T33" fmla="*/ 10 h 75"/>
              <a:gd name="T34" fmla="*/ 51 w 65"/>
              <a:gd name="T35" fmla="*/ 5 h 75"/>
              <a:gd name="T36" fmla="*/ 46 w 65"/>
              <a:gd name="T37" fmla="*/ 0 h 75"/>
              <a:gd name="T38" fmla="*/ 34 w 65"/>
              <a:gd name="T39" fmla="*/ 0 h 75"/>
              <a:gd name="T40" fmla="*/ 26 w 65"/>
              <a:gd name="T41" fmla="*/ 0 h 75"/>
              <a:gd name="T42" fmla="*/ 25 w 65"/>
              <a:gd name="T43" fmla="*/ 2 h 75"/>
              <a:gd name="T44" fmla="*/ 24 w 65"/>
              <a:gd name="T45" fmla="*/ 7 h 75"/>
              <a:gd name="T46" fmla="*/ 23 w 65"/>
              <a:gd name="T47" fmla="*/ 9 h 75"/>
              <a:gd name="T48" fmla="*/ 23 w 65"/>
              <a:gd name="T49" fmla="*/ 11 h 75"/>
              <a:gd name="T50" fmla="*/ 24 w 65"/>
              <a:gd name="T51" fmla="*/ 12 h 75"/>
              <a:gd name="T52" fmla="*/ 26 w 65"/>
              <a:gd name="T53" fmla="*/ 13 h 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65" h="75">
                <a:moveTo>
                  <a:pt x="0" y="32"/>
                </a:moveTo>
                <a:lnTo>
                  <a:pt x="9" y="43"/>
                </a:lnTo>
                <a:lnTo>
                  <a:pt x="20" y="55"/>
                </a:lnTo>
                <a:lnTo>
                  <a:pt x="26" y="61"/>
                </a:lnTo>
                <a:lnTo>
                  <a:pt x="32" y="67"/>
                </a:lnTo>
                <a:lnTo>
                  <a:pt x="39" y="71"/>
                </a:lnTo>
                <a:lnTo>
                  <a:pt x="46" y="75"/>
                </a:lnTo>
                <a:lnTo>
                  <a:pt x="51" y="61"/>
                </a:lnTo>
                <a:lnTo>
                  <a:pt x="58" y="48"/>
                </a:lnTo>
                <a:lnTo>
                  <a:pt x="61" y="42"/>
                </a:lnTo>
                <a:lnTo>
                  <a:pt x="63" y="36"/>
                </a:lnTo>
                <a:lnTo>
                  <a:pt x="65" y="31"/>
                </a:lnTo>
                <a:lnTo>
                  <a:pt x="65" y="26"/>
                </a:lnTo>
                <a:lnTo>
                  <a:pt x="65" y="21"/>
                </a:lnTo>
                <a:lnTo>
                  <a:pt x="63" y="18"/>
                </a:lnTo>
                <a:lnTo>
                  <a:pt x="61" y="13"/>
                </a:lnTo>
                <a:lnTo>
                  <a:pt x="58" y="10"/>
                </a:lnTo>
                <a:lnTo>
                  <a:pt x="51" y="5"/>
                </a:lnTo>
                <a:lnTo>
                  <a:pt x="46" y="0"/>
                </a:lnTo>
                <a:lnTo>
                  <a:pt x="34" y="0"/>
                </a:lnTo>
                <a:lnTo>
                  <a:pt x="26" y="0"/>
                </a:lnTo>
                <a:lnTo>
                  <a:pt x="25" y="2"/>
                </a:lnTo>
                <a:lnTo>
                  <a:pt x="24" y="7"/>
                </a:lnTo>
                <a:lnTo>
                  <a:pt x="23" y="9"/>
                </a:lnTo>
                <a:lnTo>
                  <a:pt x="23" y="11"/>
                </a:lnTo>
                <a:lnTo>
                  <a:pt x="24" y="12"/>
                </a:lnTo>
                <a:lnTo>
                  <a:pt x="26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23" name="Freeform 175"/>
          <p:cNvSpPr>
            <a:spLocks/>
          </p:cNvSpPr>
          <p:nvPr>
            <p:custDataLst>
              <p:tags r:id="rId102"/>
            </p:custDataLst>
          </p:nvPr>
        </p:nvSpPr>
        <p:spPr bwMode="auto">
          <a:xfrm>
            <a:off x="9226551" y="4291013"/>
            <a:ext cx="17463" cy="30162"/>
          </a:xfrm>
          <a:custGeom>
            <a:avLst/>
            <a:gdLst>
              <a:gd name="T0" fmla="*/ 0 w 40"/>
              <a:gd name="T1" fmla="*/ 62 h 62"/>
              <a:gd name="T2" fmla="*/ 3 w 40"/>
              <a:gd name="T3" fmla="*/ 52 h 62"/>
              <a:gd name="T4" fmla="*/ 7 w 40"/>
              <a:gd name="T5" fmla="*/ 43 h 62"/>
              <a:gd name="T6" fmla="*/ 12 w 40"/>
              <a:gd name="T7" fmla="*/ 33 h 62"/>
              <a:gd name="T8" fmla="*/ 17 w 40"/>
              <a:gd name="T9" fmla="*/ 25 h 62"/>
              <a:gd name="T10" fmla="*/ 23 w 40"/>
              <a:gd name="T11" fmla="*/ 17 h 62"/>
              <a:gd name="T12" fmla="*/ 29 w 40"/>
              <a:gd name="T13" fmla="*/ 9 h 62"/>
              <a:gd name="T14" fmla="*/ 35 w 40"/>
              <a:gd name="T15" fmla="*/ 3 h 62"/>
              <a:gd name="T16" fmla="*/ 40 w 40"/>
              <a:gd name="T17" fmla="*/ 0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0" h="62">
                <a:moveTo>
                  <a:pt x="0" y="62"/>
                </a:moveTo>
                <a:lnTo>
                  <a:pt x="3" y="52"/>
                </a:lnTo>
                <a:lnTo>
                  <a:pt x="7" y="43"/>
                </a:lnTo>
                <a:lnTo>
                  <a:pt x="12" y="33"/>
                </a:lnTo>
                <a:lnTo>
                  <a:pt x="17" y="25"/>
                </a:lnTo>
                <a:lnTo>
                  <a:pt x="23" y="17"/>
                </a:lnTo>
                <a:lnTo>
                  <a:pt x="29" y="9"/>
                </a:lnTo>
                <a:lnTo>
                  <a:pt x="35" y="3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24" name="Freeform 176"/>
          <p:cNvSpPr>
            <a:spLocks/>
          </p:cNvSpPr>
          <p:nvPr>
            <p:custDataLst>
              <p:tags r:id="rId103"/>
            </p:custDataLst>
          </p:nvPr>
        </p:nvSpPr>
        <p:spPr bwMode="auto">
          <a:xfrm>
            <a:off x="9145588" y="4168776"/>
            <a:ext cx="68262" cy="138113"/>
          </a:xfrm>
          <a:custGeom>
            <a:avLst/>
            <a:gdLst>
              <a:gd name="T0" fmla="*/ 159 w 159"/>
              <a:gd name="T1" fmla="*/ 259 h 259"/>
              <a:gd name="T2" fmla="*/ 159 w 159"/>
              <a:gd name="T3" fmla="*/ 251 h 259"/>
              <a:gd name="T4" fmla="*/ 159 w 159"/>
              <a:gd name="T5" fmla="*/ 244 h 259"/>
              <a:gd name="T6" fmla="*/ 159 w 159"/>
              <a:gd name="T7" fmla="*/ 236 h 259"/>
              <a:gd name="T8" fmla="*/ 159 w 159"/>
              <a:gd name="T9" fmla="*/ 228 h 259"/>
              <a:gd name="T10" fmla="*/ 159 w 159"/>
              <a:gd name="T11" fmla="*/ 224 h 259"/>
              <a:gd name="T12" fmla="*/ 158 w 159"/>
              <a:gd name="T13" fmla="*/ 219 h 259"/>
              <a:gd name="T14" fmla="*/ 156 w 159"/>
              <a:gd name="T15" fmla="*/ 215 h 259"/>
              <a:gd name="T16" fmla="*/ 153 w 159"/>
              <a:gd name="T17" fmla="*/ 210 h 259"/>
              <a:gd name="T18" fmla="*/ 145 w 159"/>
              <a:gd name="T19" fmla="*/ 202 h 259"/>
              <a:gd name="T20" fmla="*/ 135 w 159"/>
              <a:gd name="T21" fmla="*/ 195 h 259"/>
              <a:gd name="T22" fmla="*/ 124 w 159"/>
              <a:gd name="T23" fmla="*/ 189 h 259"/>
              <a:gd name="T24" fmla="*/ 112 w 159"/>
              <a:gd name="T25" fmla="*/ 184 h 259"/>
              <a:gd name="T26" fmla="*/ 99 w 159"/>
              <a:gd name="T27" fmla="*/ 180 h 259"/>
              <a:gd name="T28" fmla="*/ 87 w 159"/>
              <a:gd name="T29" fmla="*/ 179 h 259"/>
              <a:gd name="T30" fmla="*/ 85 w 159"/>
              <a:gd name="T31" fmla="*/ 178 h 259"/>
              <a:gd name="T32" fmla="*/ 82 w 159"/>
              <a:gd name="T33" fmla="*/ 177 h 259"/>
              <a:gd name="T34" fmla="*/ 81 w 159"/>
              <a:gd name="T35" fmla="*/ 175 h 259"/>
              <a:gd name="T36" fmla="*/ 80 w 159"/>
              <a:gd name="T37" fmla="*/ 173 h 259"/>
              <a:gd name="T38" fmla="*/ 80 w 159"/>
              <a:gd name="T39" fmla="*/ 167 h 259"/>
              <a:gd name="T40" fmla="*/ 81 w 159"/>
              <a:gd name="T41" fmla="*/ 161 h 259"/>
              <a:gd name="T42" fmla="*/ 85 w 159"/>
              <a:gd name="T43" fmla="*/ 148 h 259"/>
              <a:gd name="T44" fmla="*/ 87 w 159"/>
              <a:gd name="T45" fmla="*/ 142 h 259"/>
              <a:gd name="T46" fmla="*/ 73 w 159"/>
              <a:gd name="T47" fmla="*/ 141 h 259"/>
              <a:gd name="T48" fmla="*/ 59 w 159"/>
              <a:gd name="T49" fmla="*/ 139 h 259"/>
              <a:gd name="T50" fmla="*/ 48 w 159"/>
              <a:gd name="T51" fmla="*/ 135 h 259"/>
              <a:gd name="T52" fmla="*/ 40 w 159"/>
              <a:gd name="T53" fmla="*/ 129 h 259"/>
              <a:gd name="T54" fmla="*/ 31 w 159"/>
              <a:gd name="T55" fmla="*/ 121 h 259"/>
              <a:gd name="T56" fmla="*/ 24 w 159"/>
              <a:gd name="T57" fmla="*/ 113 h 259"/>
              <a:gd name="T58" fmla="*/ 18 w 159"/>
              <a:gd name="T59" fmla="*/ 104 h 259"/>
              <a:gd name="T60" fmla="*/ 13 w 159"/>
              <a:gd name="T61" fmla="*/ 94 h 259"/>
              <a:gd name="T62" fmla="*/ 9 w 159"/>
              <a:gd name="T63" fmla="*/ 84 h 259"/>
              <a:gd name="T64" fmla="*/ 7 w 159"/>
              <a:gd name="T65" fmla="*/ 73 h 259"/>
              <a:gd name="T66" fmla="*/ 5 w 159"/>
              <a:gd name="T67" fmla="*/ 60 h 259"/>
              <a:gd name="T68" fmla="*/ 2 w 159"/>
              <a:gd name="T69" fmla="*/ 48 h 259"/>
              <a:gd name="T70" fmla="*/ 0 w 159"/>
              <a:gd name="T71" fmla="*/ 25 h 259"/>
              <a:gd name="T72" fmla="*/ 0 w 159"/>
              <a:gd name="T73" fmla="*/ 0 h 2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59" h="259">
                <a:moveTo>
                  <a:pt x="159" y="259"/>
                </a:moveTo>
                <a:lnTo>
                  <a:pt x="159" y="251"/>
                </a:lnTo>
                <a:lnTo>
                  <a:pt x="159" y="244"/>
                </a:lnTo>
                <a:lnTo>
                  <a:pt x="159" y="236"/>
                </a:lnTo>
                <a:lnTo>
                  <a:pt x="159" y="228"/>
                </a:lnTo>
                <a:lnTo>
                  <a:pt x="159" y="224"/>
                </a:lnTo>
                <a:lnTo>
                  <a:pt x="158" y="219"/>
                </a:lnTo>
                <a:lnTo>
                  <a:pt x="156" y="215"/>
                </a:lnTo>
                <a:lnTo>
                  <a:pt x="153" y="210"/>
                </a:lnTo>
                <a:lnTo>
                  <a:pt x="145" y="202"/>
                </a:lnTo>
                <a:lnTo>
                  <a:pt x="135" y="195"/>
                </a:lnTo>
                <a:lnTo>
                  <a:pt x="124" y="189"/>
                </a:lnTo>
                <a:lnTo>
                  <a:pt x="112" y="184"/>
                </a:lnTo>
                <a:lnTo>
                  <a:pt x="99" y="180"/>
                </a:lnTo>
                <a:lnTo>
                  <a:pt x="87" y="179"/>
                </a:lnTo>
                <a:lnTo>
                  <a:pt x="85" y="178"/>
                </a:lnTo>
                <a:lnTo>
                  <a:pt x="82" y="177"/>
                </a:lnTo>
                <a:lnTo>
                  <a:pt x="81" y="175"/>
                </a:lnTo>
                <a:lnTo>
                  <a:pt x="80" y="173"/>
                </a:lnTo>
                <a:lnTo>
                  <a:pt x="80" y="167"/>
                </a:lnTo>
                <a:lnTo>
                  <a:pt x="81" y="161"/>
                </a:lnTo>
                <a:lnTo>
                  <a:pt x="85" y="148"/>
                </a:lnTo>
                <a:lnTo>
                  <a:pt x="87" y="142"/>
                </a:lnTo>
                <a:lnTo>
                  <a:pt x="73" y="141"/>
                </a:lnTo>
                <a:lnTo>
                  <a:pt x="59" y="139"/>
                </a:lnTo>
                <a:lnTo>
                  <a:pt x="48" y="135"/>
                </a:lnTo>
                <a:lnTo>
                  <a:pt x="40" y="129"/>
                </a:lnTo>
                <a:lnTo>
                  <a:pt x="31" y="121"/>
                </a:lnTo>
                <a:lnTo>
                  <a:pt x="24" y="113"/>
                </a:lnTo>
                <a:lnTo>
                  <a:pt x="18" y="104"/>
                </a:lnTo>
                <a:lnTo>
                  <a:pt x="13" y="94"/>
                </a:lnTo>
                <a:lnTo>
                  <a:pt x="9" y="84"/>
                </a:lnTo>
                <a:lnTo>
                  <a:pt x="7" y="73"/>
                </a:lnTo>
                <a:lnTo>
                  <a:pt x="5" y="60"/>
                </a:lnTo>
                <a:lnTo>
                  <a:pt x="2" y="48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25" name="Line 177"/>
          <p:cNvSpPr>
            <a:spLocks noChangeShapeType="1"/>
          </p:cNvSpPr>
          <p:nvPr>
            <p:custDataLst>
              <p:tags r:id="rId104"/>
            </p:custDataLst>
          </p:nvPr>
        </p:nvSpPr>
        <p:spPr bwMode="auto">
          <a:xfrm flipH="1" flipV="1">
            <a:off x="9139238" y="4135439"/>
            <a:ext cx="6350" cy="33337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26" name="Freeform 178"/>
          <p:cNvSpPr>
            <a:spLocks/>
          </p:cNvSpPr>
          <p:nvPr>
            <p:custDataLst>
              <p:tags r:id="rId105"/>
            </p:custDataLst>
          </p:nvPr>
        </p:nvSpPr>
        <p:spPr bwMode="auto">
          <a:xfrm>
            <a:off x="9139238" y="4119564"/>
            <a:ext cx="6350" cy="15875"/>
          </a:xfrm>
          <a:custGeom>
            <a:avLst/>
            <a:gdLst>
              <a:gd name="T0" fmla="*/ 0 w 13"/>
              <a:gd name="T1" fmla="*/ 25 h 25"/>
              <a:gd name="T2" fmla="*/ 1 w 13"/>
              <a:gd name="T3" fmla="*/ 19 h 25"/>
              <a:gd name="T4" fmla="*/ 4 w 13"/>
              <a:gd name="T5" fmla="*/ 13 h 25"/>
              <a:gd name="T6" fmla="*/ 8 w 13"/>
              <a:gd name="T7" fmla="*/ 6 h 25"/>
              <a:gd name="T8" fmla="*/ 13 w 13"/>
              <a:gd name="T9" fmla="*/ 0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" h="25">
                <a:moveTo>
                  <a:pt x="0" y="25"/>
                </a:moveTo>
                <a:lnTo>
                  <a:pt x="1" y="19"/>
                </a:lnTo>
                <a:lnTo>
                  <a:pt x="4" y="13"/>
                </a:lnTo>
                <a:lnTo>
                  <a:pt x="8" y="6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27" name="Line 179"/>
          <p:cNvSpPr>
            <a:spLocks noChangeShapeType="1"/>
          </p:cNvSpPr>
          <p:nvPr>
            <p:custDataLst>
              <p:tags r:id="rId106"/>
            </p:custDataLst>
          </p:nvPr>
        </p:nvSpPr>
        <p:spPr bwMode="auto">
          <a:xfrm flipV="1">
            <a:off x="9145588" y="4106863"/>
            <a:ext cx="0" cy="1270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28" name="Freeform 180"/>
          <p:cNvSpPr>
            <a:spLocks/>
          </p:cNvSpPr>
          <p:nvPr>
            <p:custDataLst>
              <p:tags r:id="rId107"/>
            </p:custDataLst>
          </p:nvPr>
        </p:nvSpPr>
        <p:spPr bwMode="auto">
          <a:xfrm>
            <a:off x="9099550" y="4040189"/>
            <a:ext cx="46038" cy="66675"/>
          </a:xfrm>
          <a:custGeom>
            <a:avLst/>
            <a:gdLst>
              <a:gd name="T0" fmla="*/ 100 w 100"/>
              <a:gd name="T1" fmla="*/ 123 h 123"/>
              <a:gd name="T2" fmla="*/ 90 w 100"/>
              <a:gd name="T3" fmla="*/ 122 h 123"/>
              <a:gd name="T4" fmla="*/ 76 w 100"/>
              <a:gd name="T5" fmla="*/ 119 h 123"/>
              <a:gd name="T6" fmla="*/ 60 w 100"/>
              <a:gd name="T7" fmla="*/ 114 h 123"/>
              <a:gd name="T8" fmla="*/ 43 w 100"/>
              <a:gd name="T9" fmla="*/ 107 h 123"/>
              <a:gd name="T10" fmla="*/ 34 w 100"/>
              <a:gd name="T11" fmla="*/ 103 h 123"/>
              <a:gd name="T12" fmla="*/ 27 w 100"/>
              <a:gd name="T13" fmla="*/ 99 h 123"/>
              <a:gd name="T14" fmla="*/ 20 w 100"/>
              <a:gd name="T15" fmla="*/ 94 h 123"/>
              <a:gd name="T16" fmla="*/ 13 w 100"/>
              <a:gd name="T17" fmla="*/ 89 h 123"/>
              <a:gd name="T18" fmla="*/ 8 w 100"/>
              <a:gd name="T19" fmla="*/ 84 h 123"/>
              <a:gd name="T20" fmla="*/ 4 w 100"/>
              <a:gd name="T21" fmla="*/ 79 h 123"/>
              <a:gd name="T22" fmla="*/ 1 w 100"/>
              <a:gd name="T23" fmla="*/ 73 h 123"/>
              <a:gd name="T24" fmla="*/ 0 w 100"/>
              <a:gd name="T25" fmla="*/ 68 h 123"/>
              <a:gd name="T26" fmla="*/ 2 w 100"/>
              <a:gd name="T27" fmla="*/ 55 h 123"/>
              <a:gd name="T28" fmla="*/ 7 w 100"/>
              <a:gd name="T29" fmla="*/ 36 h 123"/>
              <a:gd name="T30" fmla="*/ 11 w 100"/>
              <a:gd name="T31" fmla="*/ 17 h 123"/>
              <a:gd name="T32" fmla="*/ 13 w 100"/>
              <a:gd name="T33" fmla="*/ 0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00" h="123">
                <a:moveTo>
                  <a:pt x="100" y="123"/>
                </a:moveTo>
                <a:lnTo>
                  <a:pt x="90" y="122"/>
                </a:lnTo>
                <a:lnTo>
                  <a:pt x="76" y="119"/>
                </a:lnTo>
                <a:lnTo>
                  <a:pt x="60" y="114"/>
                </a:lnTo>
                <a:lnTo>
                  <a:pt x="43" y="107"/>
                </a:lnTo>
                <a:lnTo>
                  <a:pt x="34" y="103"/>
                </a:lnTo>
                <a:lnTo>
                  <a:pt x="27" y="99"/>
                </a:lnTo>
                <a:lnTo>
                  <a:pt x="20" y="94"/>
                </a:lnTo>
                <a:lnTo>
                  <a:pt x="13" y="89"/>
                </a:lnTo>
                <a:lnTo>
                  <a:pt x="8" y="84"/>
                </a:lnTo>
                <a:lnTo>
                  <a:pt x="4" y="79"/>
                </a:lnTo>
                <a:lnTo>
                  <a:pt x="1" y="73"/>
                </a:lnTo>
                <a:lnTo>
                  <a:pt x="0" y="68"/>
                </a:lnTo>
                <a:lnTo>
                  <a:pt x="2" y="55"/>
                </a:lnTo>
                <a:lnTo>
                  <a:pt x="7" y="36"/>
                </a:lnTo>
                <a:lnTo>
                  <a:pt x="11" y="17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29" name="Freeform 181"/>
          <p:cNvSpPr>
            <a:spLocks/>
          </p:cNvSpPr>
          <p:nvPr>
            <p:custDataLst>
              <p:tags r:id="rId108"/>
            </p:custDataLst>
          </p:nvPr>
        </p:nvSpPr>
        <p:spPr bwMode="auto">
          <a:xfrm>
            <a:off x="9113839" y="3983038"/>
            <a:ext cx="1587" cy="50800"/>
          </a:xfrm>
          <a:custGeom>
            <a:avLst/>
            <a:gdLst>
              <a:gd name="T0" fmla="*/ 5 w 5"/>
              <a:gd name="T1" fmla="*/ 0 h 99"/>
              <a:gd name="T2" fmla="*/ 4 w 5"/>
              <a:gd name="T3" fmla="*/ 34 h 99"/>
              <a:gd name="T4" fmla="*/ 1 w 5"/>
              <a:gd name="T5" fmla="*/ 59 h 99"/>
              <a:gd name="T6" fmla="*/ 0 w 5"/>
              <a:gd name="T7" fmla="*/ 69 h 99"/>
              <a:gd name="T8" fmla="*/ 0 w 5"/>
              <a:gd name="T9" fmla="*/ 78 h 99"/>
              <a:gd name="T10" fmla="*/ 2 w 5"/>
              <a:gd name="T11" fmla="*/ 87 h 99"/>
              <a:gd name="T12" fmla="*/ 5 w 5"/>
              <a:gd name="T13" fmla="*/ 99 h 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" h="99">
                <a:moveTo>
                  <a:pt x="5" y="0"/>
                </a:moveTo>
                <a:lnTo>
                  <a:pt x="4" y="34"/>
                </a:lnTo>
                <a:lnTo>
                  <a:pt x="1" y="59"/>
                </a:lnTo>
                <a:lnTo>
                  <a:pt x="0" y="69"/>
                </a:lnTo>
                <a:lnTo>
                  <a:pt x="0" y="78"/>
                </a:lnTo>
                <a:lnTo>
                  <a:pt x="2" y="87"/>
                </a:lnTo>
                <a:lnTo>
                  <a:pt x="5" y="9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30" name="Freeform 182"/>
          <p:cNvSpPr>
            <a:spLocks/>
          </p:cNvSpPr>
          <p:nvPr>
            <p:custDataLst>
              <p:tags r:id="rId109"/>
            </p:custDataLst>
          </p:nvPr>
        </p:nvSpPr>
        <p:spPr bwMode="auto">
          <a:xfrm>
            <a:off x="9120189" y="3976688"/>
            <a:ext cx="7937" cy="36512"/>
          </a:xfrm>
          <a:custGeom>
            <a:avLst/>
            <a:gdLst>
              <a:gd name="T0" fmla="*/ 14 w 14"/>
              <a:gd name="T1" fmla="*/ 0 h 68"/>
              <a:gd name="T2" fmla="*/ 8 w 14"/>
              <a:gd name="T3" fmla="*/ 16 h 68"/>
              <a:gd name="T4" fmla="*/ 4 w 14"/>
              <a:gd name="T5" fmla="*/ 33 h 68"/>
              <a:gd name="T6" fmla="*/ 2 w 14"/>
              <a:gd name="T7" fmla="*/ 52 h 68"/>
              <a:gd name="T8" fmla="*/ 0 w 14"/>
              <a:gd name="T9" fmla="*/ 68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" h="68">
                <a:moveTo>
                  <a:pt x="14" y="0"/>
                </a:moveTo>
                <a:lnTo>
                  <a:pt x="8" y="16"/>
                </a:lnTo>
                <a:lnTo>
                  <a:pt x="4" y="33"/>
                </a:lnTo>
                <a:lnTo>
                  <a:pt x="2" y="52"/>
                </a:lnTo>
                <a:lnTo>
                  <a:pt x="0" y="6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31" name="Freeform 183"/>
          <p:cNvSpPr>
            <a:spLocks/>
          </p:cNvSpPr>
          <p:nvPr>
            <p:custDataLst>
              <p:tags r:id="rId110"/>
            </p:custDataLst>
          </p:nvPr>
        </p:nvSpPr>
        <p:spPr bwMode="auto">
          <a:xfrm>
            <a:off x="9136064" y="3957639"/>
            <a:ext cx="1587" cy="22225"/>
          </a:xfrm>
          <a:custGeom>
            <a:avLst/>
            <a:gdLst>
              <a:gd name="T0" fmla="*/ 0 h 43"/>
              <a:gd name="T1" fmla="*/ 13 h 43"/>
              <a:gd name="T2" fmla="*/ 26 h 43"/>
              <a:gd name="T3" fmla="*/ 37 h 43"/>
              <a:gd name="T4" fmla="*/ 43 h 43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</a:cxnLst>
            <a:rect l="0" t="0" r="r" b="b"/>
            <a:pathLst>
              <a:path h="43">
                <a:moveTo>
                  <a:pt x="0" y="0"/>
                </a:moveTo>
                <a:lnTo>
                  <a:pt x="0" y="13"/>
                </a:lnTo>
                <a:lnTo>
                  <a:pt x="0" y="26"/>
                </a:lnTo>
                <a:lnTo>
                  <a:pt x="0" y="37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32" name="Line 184"/>
          <p:cNvSpPr>
            <a:spLocks noChangeShapeType="1"/>
          </p:cNvSpPr>
          <p:nvPr>
            <p:custDataLst>
              <p:tags r:id="rId111"/>
            </p:custDataLst>
          </p:nvPr>
        </p:nvSpPr>
        <p:spPr bwMode="auto">
          <a:xfrm flipV="1">
            <a:off x="9136064" y="3976689"/>
            <a:ext cx="1587" cy="317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33" name="Freeform 185"/>
          <p:cNvSpPr>
            <a:spLocks/>
          </p:cNvSpPr>
          <p:nvPr>
            <p:custDataLst>
              <p:tags r:id="rId112"/>
            </p:custDataLst>
          </p:nvPr>
        </p:nvSpPr>
        <p:spPr bwMode="auto">
          <a:xfrm>
            <a:off x="9120189" y="3960814"/>
            <a:ext cx="1587" cy="15875"/>
          </a:xfrm>
          <a:custGeom>
            <a:avLst/>
            <a:gdLst>
              <a:gd name="T0" fmla="*/ 31 h 31"/>
              <a:gd name="T1" fmla="*/ 22 h 31"/>
              <a:gd name="T2" fmla="*/ 15 h 31"/>
              <a:gd name="T3" fmla="*/ 8 h 31"/>
              <a:gd name="T4" fmla="*/ 0 h 3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</a:cxnLst>
            <a:rect l="0" t="0" r="r" b="b"/>
            <a:pathLst>
              <a:path h="31">
                <a:moveTo>
                  <a:pt x="0" y="31"/>
                </a:moveTo>
                <a:lnTo>
                  <a:pt x="0" y="22"/>
                </a:lnTo>
                <a:lnTo>
                  <a:pt x="0" y="15"/>
                </a:lnTo>
                <a:lnTo>
                  <a:pt x="0" y="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34" name="Freeform 186"/>
          <p:cNvSpPr>
            <a:spLocks/>
          </p:cNvSpPr>
          <p:nvPr>
            <p:custDataLst>
              <p:tags r:id="rId113"/>
            </p:custDataLst>
          </p:nvPr>
        </p:nvSpPr>
        <p:spPr bwMode="auto">
          <a:xfrm>
            <a:off x="8840789" y="4949826"/>
            <a:ext cx="96837" cy="87313"/>
          </a:xfrm>
          <a:custGeom>
            <a:avLst/>
            <a:gdLst>
              <a:gd name="T0" fmla="*/ 19 w 225"/>
              <a:gd name="T1" fmla="*/ 158 h 167"/>
              <a:gd name="T2" fmla="*/ 7 w 225"/>
              <a:gd name="T3" fmla="*/ 142 h 167"/>
              <a:gd name="T4" fmla="*/ 0 w 225"/>
              <a:gd name="T5" fmla="*/ 130 h 167"/>
              <a:gd name="T6" fmla="*/ 1 w 225"/>
              <a:gd name="T7" fmla="*/ 108 h 167"/>
              <a:gd name="T8" fmla="*/ 11 w 225"/>
              <a:gd name="T9" fmla="*/ 68 h 167"/>
              <a:gd name="T10" fmla="*/ 24 w 225"/>
              <a:gd name="T11" fmla="*/ 39 h 167"/>
              <a:gd name="T12" fmla="*/ 34 w 225"/>
              <a:gd name="T13" fmla="*/ 21 h 167"/>
              <a:gd name="T14" fmla="*/ 44 w 225"/>
              <a:gd name="T15" fmla="*/ 9 h 167"/>
              <a:gd name="T16" fmla="*/ 54 w 225"/>
              <a:gd name="T17" fmla="*/ 1 h 167"/>
              <a:gd name="T18" fmla="*/ 65 w 225"/>
              <a:gd name="T19" fmla="*/ 1 h 167"/>
              <a:gd name="T20" fmla="*/ 76 w 225"/>
              <a:gd name="T21" fmla="*/ 3 h 167"/>
              <a:gd name="T22" fmla="*/ 88 w 225"/>
              <a:gd name="T23" fmla="*/ 8 h 167"/>
              <a:gd name="T24" fmla="*/ 100 w 225"/>
              <a:gd name="T25" fmla="*/ 17 h 167"/>
              <a:gd name="T26" fmla="*/ 112 w 225"/>
              <a:gd name="T27" fmla="*/ 24 h 167"/>
              <a:gd name="T28" fmla="*/ 128 w 225"/>
              <a:gd name="T29" fmla="*/ 24 h 167"/>
              <a:gd name="T30" fmla="*/ 145 w 225"/>
              <a:gd name="T31" fmla="*/ 19 h 167"/>
              <a:gd name="T32" fmla="*/ 165 w 225"/>
              <a:gd name="T33" fmla="*/ 7 h 167"/>
              <a:gd name="T34" fmla="*/ 225 w 225"/>
              <a:gd name="T35" fmla="*/ 0 h 167"/>
              <a:gd name="T36" fmla="*/ 215 w 225"/>
              <a:gd name="T37" fmla="*/ 22 h 167"/>
              <a:gd name="T38" fmla="*/ 201 w 225"/>
              <a:gd name="T39" fmla="*/ 41 h 167"/>
              <a:gd name="T40" fmla="*/ 168 w 225"/>
              <a:gd name="T41" fmla="*/ 72 h 167"/>
              <a:gd name="T42" fmla="*/ 138 w 225"/>
              <a:gd name="T43" fmla="*/ 100 h 167"/>
              <a:gd name="T44" fmla="*/ 129 w 225"/>
              <a:gd name="T45" fmla="*/ 114 h 167"/>
              <a:gd name="T46" fmla="*/ 126 w 225"/>
              <a:gd name="T47" fmla="*/ 130 h 167"/>
              <a:gd name="T48" fmla="*/ 123 w 225"/>
              <a:gd name="T49" fmla="*/ 126 h 167"/>
              <a:gd name="T50" fmla="*/ 120 w 225"/>
              <a:gd name="T51" fmla="*/ 117 h 167"/>
              <a:gd name="T52" fmla="*/ 106 w 225"/>
              <a:gd name="T53" fmla="*/ 121 h 167"/>
              <a:gd name="T54" fmla="*/ 97 w 225"/>
              <a:gd name="T55" fmla="*/ 128 h 167"/>
              <a:gd name="T56" fmla="*/ 80 w 225"/>
              <a:gd name="T57" fmla="*/ 145 h 167"/>
              <a:gd name="T58" fmla="*/ 71 w 225"/>
              <a:gd name="T59" fmla="*/ 153 h 167"/>
              <a:gd name="T60" fmla="*/ 60 w 225"/>
              <a:gd name="T61" fmla="*/ 160 h 167"/>
              <a:gd name="T62" fmla="*/ 46 w 225"/>
              <a:gd name="T63" fmla="*/ 165 h 167"/>
              <a:gd name="T64" fmla="*/ 26 w 225"/>
              <a:gd name="T65" fmla="*/ 167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25" h="167">
                <a:moveTo>
                  <a:pt x="26" y="167"/>
                </a:moveTo>
                <a:lnTo>
                  <a:pt x="19" y="158"/>
                </a:lnTo>
                <a:lnTo>
                  <a:pt x="10" y="148"/>
                </a:lnTo>
                <a:lnTo>
                  <a:pt x="7" y="142"/>
                </a:lnTo>
                <a:lnTo>
                  <a:pt x="3" y="136"/>
                </a:lnTo>
                <a:lnTo>
                  <a:pt x="0" y="130"/>
                </a:lnTo>
                <a:lnTo>
                  <a:pt x="0" y="123"/>
                </a:lnTo>
                <a:lnTo>
                  <a:pt x="1" y="108"/>
                </a:lnTo>
                <a:lnTo>
                  <a:pt x="5" y="89"/>
                </a:lnTo>
                <a:lnTo>
                  <a:pt x="11" y="68"/>
                </a:lnTo>
                <a:lnTo>
                  <a:pt x="20" y="48"/>
                </a:lnTo>
                <a:lnTo>
                  <a:pt x="24" y="39"/>
                </a:lnTo>
                <a:lnTo>
                  <a:pt x="28" y="29"/>
                </a:lnTo>
                <a:lnTo>
                  <a:pt x="34" y="21"/>
                </a:lnTo>
                <a:lnTo>
                  <a:pt x="38" y="14"/>
                </a:lnTo>
                <a:lnTo>
                  <a:pt x="44" y="9"/>
                </a:lnTo>
                <a:lnTo>
                  <a:pt x="49" y="4"/>
                </a:lnTo>
                <a:lnTo>
                  <a:pt x="54" y="1"/>
                </a:lnTo>
                <a:lnTo>
                  <a:pt x="59" y="0"/>
                </a:lnTo>
                <a:lnTo>
                  <a:pt x="65" y="1"/>
                </a:lnTo>
                <a:lnTo>
                  <a:pt x="70" y="1"/>
                </a:lnTo>
                <a:lnTo>
                  <a:pt x="76" y="3"/>
                </a:lnTo>
                <a:lnTo>
                  <a:pt x="80" y="4"/>
                </a:lnTo>
                <a:lnTo>
                  <a:pt x="88" y="8"/>
                </a:lnTo>
                <a:lnTo>
                  <a:pt x="94" y="13"/>
                </a:lnTo>
                <a:lnTo>
                  <a:pt x="100" y="17"/>
                </a:lnTo>
                <a:lnTo>
                  <a:pt x="106" y="21"/>
                </a:lnTo>
                <a:lnTo>
                  <a:pt x="112" y="24"/>
                </a:lnTo>
                <a:lnTo>
                  <a:pt x="120" y="25"/>
                </a:lnTo>
                <a:lnTo>
                  <a:pt x="128" y="24"/>
                </a:lnTo>
                <a:lnTo>
                  <a:pt x="137" y="22"/>
                </a:lnTo>
                <a:lnTo>
                  <a:pt x="145" y="19"/>
                </a:lnTo>
                <a:lnTo>
                  <a:pt x="151" y="15"/>
                </a:lnTo>
                <a:lnTo>
                  <a:pt x="165" y="7"/>
                </a:lnTo>
                <a:lnTo>
                  <a:pt x="179" y="0"/>
                </a:lnTo>
                <a:lnTo>
                  <a:pt x="225" y="0"/>
                </a:lnTo>
                <a:lnTo>
                  <a:pt x="221" y="11"/>
                </a:lnTo>
                <a:lnTo>
                  <a:pt x="215" y="22"/>
                </a:lnTo>
                <a:lnTo>
                  <a:pt x="209" y="31"/>
                </a:lnTo>
                <a:lnTo>
                  <a:pt x="201" y="41"/>
                </a:lnTo>
                <a:lnTo>
                  <a:pt x="185" y="57"/>
                </a:lnTo>
                <a:lnTo>
                  <a:pt x="168" y="72"/>
                </a:lnTo>
                <a:lnTo>
                  <a:pt x="151" y="86"/>
                </a:lnTo>
                <a:lnTo>
                  <a:pt x="138" y="100"/>
                </a:lnTo>
                <a:lnTo>
                  <a:pt x="133" y="107"/>
                </a:lnTo>
                <a:lnTo>
                  <a:pt x="129" y="114"/>
                </a:lnTo>
                <a:lnTo>
                  <a:pt x="126" y="122"/>
                </a:lnTo>
                <a:lnTo>
                  <a:pt x="126" y="130"/>
                </a:lnTo>
                <a:lnTo>
                  <a:pt x="125" y="129"/>
                </a:lnTo>
                <a:lnTo>
                  <a:pt x="123" y="126"/>
                </a:lnTo>
                <a:lnTo>
                  <a:pt x="120" y="122"/>
                </a:lnTo>
                <a:lnTo>
                  <a:pt x="120" y="117"/>
                </a:lnTo>
                <a:lnTo>
                  <a:pt x="112" y="119"/>
                </a:lnTo>
                <a:lnTo>
                  <a:pt x="106" y="121"/>
                </a:lnTo>
                <a:lnTo>
                  <a:pt x="101" y="124"/>
                </a:lnTo>
                <a:lnTo>
                  <a:pt x="97" y="128"/>
                </a:lnTo>
                <a:lnTo>
                  <a:pt x="88" y="135"/>
                </a:lnTo>
                <a:lnTo>
                  <a:pt x="80" y="145"/>
                </a:lnTo>
                <a:lnTo>
                  <a:pt x="76" y="149"/>
                </a:lnTo>
                <a:lnTo>
                  <a:pt x="71" y="153"/>
                </a:lnTo>
                <a:lnTo>
                  <a:pt x="66" y="157"/>
                </a:lnTo>
                <a:lnTo>
                  <a:pt x="60" y="160"/>
                </a:lnTo>
                <a:lnTo>
                  <a:pt x="54" y="163"/>
                </a:lnTo>
                <a:lnTo>
                  <a:pt x="46" y="165"/>
                </a:lnTo>
                <a:lnTo>
                  <a:pt x="36" y="166"/>
                </a:lnTo>
                <a:lnTo>
                  <a:pt x="26" y="16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35" name="Freeform 187"/>
          <p:cNvSpPr>
            <a:spLocks/>
          </p:cNvSpPr>
          <p:nvPr>
            <p:custDataLst>
              <p:tags r:id="rId114"/>
            </p:custDataLst>
          </p:nvPr>
        </p:nvSpPr>
        <p:spPr bwMode="auto">
          <a:xfrm>
            <a:off x="8978901" y="4168776"/>
            <a:ext cx="3175" cy="17463"/>
          </a:xfrm>
          <a:custGeom>
            <a:avLst/>
            <a:gdLst>
              <a:gd name="T0" fmla="*/ 0 w 7"/>
              <a:gd name="T1" fmla="*/ 31 h 31"/>
              <a:gd name="T2" fmla="*/ 5 w 7"/>
              <a:gd name="T3" fmla="*/ 22 h 31"/>
              <a:gd name="T4" fmla="*/ 6 w 7"/>
              <a:gd name="T5" fmla="*/ 13 h 31"/>
              <a:gd name="T6" fmla="*/ 7 w 7"/>
              <a:gd name="T7" fmla="*/ 6 h 31"/>
              <a:gd name="T8" fmla="*/ 7 w 7"/>
              <a:gd name="T9" fmla="*/ 0 h 31"/>
              <a:gd name="T10" fmla="*/ 6 w 7"/>
              <a:gd name="T11" fmla="*/ 6 h 31"/>
              <a:gd name="T12" fmla="*/ 4 w 7"/>
              <a:gd name="T13" fmla="*/ 13 h 31"/>
              <a:gd name="T14" fmla="*/ 1 w 7"/>
              <a:gd name="T15" fmla="*/ 22 h 31"/>
              <a:gd name="T16" fmla="*/ 0 w 7"/>
              <a:gd name="T17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" h="31">
                <a:moveTo>
                  <a:pt x="0" y="31"/>
                </a:moveTo>
                <a:lnTo>
                  <a:pt x="5" y="22"/>
                </a:lnTo>
                <a:lnTo>
                  <a:pt x="6" y="13"/>
                </a:lnTo>
                <a:lnTo>
                  <a:pt x="7" y="6"/>
                </a:lnTo>
                <a:lnTo>
                  <a:pt x="7" y="0"/>
                </a:lnTo>
                <a:lnTo>
                  <a:pt x="6" y="6"/>
                </a:lnTo>
                <a:lnTo>
                  <a:pt x="4" y="13"/>
                </a:lnTo>
                <a:lnTo>
                  <a:pt x="1" y="22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36" name="Freeform 188"/>
          <p:cNvSpPr>
            <a:spLocks/>
          </p:cNvSpPr>
          <p:nvPr>
            <p:custDataLst>
              <p:tags r:id="rId115"/>
            </p:custDataLst>
          </p:nvPr>
        </p:nvSpPr>
        <p:spPr bwMode="auto">
          <a:xfrm>
            <a:off x="8912226" y="4090989"/>
            <a:ext cx="15875" cy="15875"/>
          </a:xfrm>
          <a:custGeom>
            <a:avLst/>
            <a:gdLst>
              <a:gd name="T0" fmla="*/ 33 w 33"/>
              <a:gd name="T1" fmla="*/ 31 h 31"/>
              <a:gd name="T2" fmla="*/ 33 w 33"/>
              <a:gd name="T3" fmla="*/ 0 h 31"/>
              <a:gd name="T4" fmla="*/ 27 w 33"/>
              <a:gd name="T5" fmla="*/ 0 h 31"/>
              <a:gd name="T6" fmla="*/ 22 w 33"/>
              <a:gd name="T7" fmla="*/ 2 h 31"/>
              <a:gd name="T8" fmla="*/ 16 w 33"/>
              <a:gd name="T9" fmla="*/ 5 h 31"/>
              <a:gd name="T10" fmla="*/ 11 w 33"/>
              <a:gd name="T11" fmla="*/ 8 h 31"/>
              <a:gd name="T12" fmla="*/ 6 w 33"/>
              <a:gd name="T13" fmla="*/ 12 h 31"/>
              <a:gd name="T14" fmla="*/ 3 w 33"/>
              <a:gd name="T15" fmla="*/ 16 h 31"/>
              <a:gd name="T16" fmla="*/ 1 w 33"/>
              <a:gd name="T17" fmla="*/ 21 h 31"/>
              <a:gd name="T18" fmla="*/ 0 w 33"/>
              <a:gd name="T19" fmla="*/ 25 h 31"/>
              <a:gd name="T20" fmla="*/ 1 w 33"/>
              <a:gd name="T21" fmla="*/ 27 h 31"/>
              <a:gd name="T22" fmla="*/ 3 w 33"/>
              <a:gd name="T23" fmla="*/ 29 h 31"/>
              <a:gd name="T24" fmla="*/ 6 w 33"/>
              <a:gd name="T25" fmla="*/ 30 h 31"/>
              <a:gd name="T26" fmla="*/ 11 w 33"/>
              <a:gd name="T27" fmla="*/ 30 h 31"/>
              <a:gd name="T28" fmla="*/ 22 w 33"/>
              <a:gd name="T29" fmla="*/ 31 h 31"/>
              <a:gd name="T30" fmla="*/ 33 w 33"/>
              <a:gd name="T31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3" h="31">
                <a:moveTo>
                  <a:pt x="33" y="31"/>
                </a:moveTo>
                <a:lnTo>
                  <a:pt x="33" y="0"/>
                </a:lnTo>
                <a:lnTo>
                  <a:pt x="27" y="0"/>
                </a:lnTo>
                <a:lnTo>
                  <a:pt x="22" y="2"/>
                </a:lnTo>
                <a:lnTo>
                  <a:pt x="16" y="5"/>
                </a:lnTo>
                <a:lnTo>
                  <a:pt x="11" y="8"/>
                </a:lnTo>
                <a:lnTo>
                  <a:pt x="6" y="12"/>
                </a:lnTo>
                <a:lnTo>
                  <a:pt x="3" y="16"/>
                </a:lnTo>
                <a:lnTo>
                  <a:pt x="1" y="21"/>
                </a:lnTo>
                <a:lnTo>
                  <a:pt x="0" y="25"/>
                </a:lnTo>
                <a:lnTo>
                  <a:pt x="1" y="27"/>
                </a:lnTo>
                <a:lnTo>
                  <a:pt x="3" y="29"/>
                </a:lnTo>
                <a:lnTo>
                  <a:pt x="6" y="30"/>
                </a:lnTo>
                <a:lnTo>
                  <a:pt x="11" y="30"/>
                </a:lnTo>
                <a:lnTo>
                  <a:pt x="22" y="31"/>
                </a:lnTo>
                <a:lnTo>
                  <a:pt x="33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37" name="Freeform 189"/>
          <p:cNvSpPr>
            <a:spLocks/>
          </p:cNvSpPr>
          <p:nvPr>
            <p:custDataLst>
              <p:tags r:id="rId116"/>
            </p:custDataLst>
          </p:nvPr>
        </p:nvSpPr>
        <p:spPr bwMode="auto">
          <a:xfrm>
            <a:off x="8928101" y="4003676"/>
            <a:ext cx="3175" cy="9525"/>
          </a:xfrm>
          <a:custGeom>
            <a:avLst/>
            <a:gdLst>
              <a:gd name="T0" fmla="*/ 0 w 13"/>
              <a:gd name="T1" fmla="*/ 19 h 19"/>
              <a:gd name="T2" fmla="*/ 2 w 13"/>
              <a:gd name="T3" fmla="*/ 18 h 19"/>
              <a:gd name="T4" fmla="*/ 5 w 13"/>
              <a:gd name="T5" fmla="*/ 17 h 19"/>
              <a:gd name="T6" fmla="*/ 7 w 13"/>
              <a:gd name="T7" fmla="*/ 15 h 19"/>
              <a:gd name="T8" fmla="*/ 8 w 13"/>
              <a:gd name="T9" fmla="*/ 12 h 19"/>
              <a:gd name="T10" fmla="*/ 12 w 13"/>
              <a:gd name="T11" fmla="*/ 6 h 19"/>
              <a:gd name="T12" fmla="*/ 13 w 13"/>
              <a:gd name="T13" fmla="*/ 0 h 19"/>
              <a:gd name="T14" fmla="*/ 0 w 13"/>
              <a:gd name="T15" fmla="*/ 19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3" h="19">
                <a:moveTo>
                  <a:pt x="0" y="19"/>
                </a:moveTo>
                <a:lnTo>
                  <a:pt x="2" y="18"/>
                </a:lnTo>
                <a:lnTo>
                  <a:pt x="5" y="17"/>
                </a:lnTo>
                <a:lnTo>
                  <a:pt x="7" y="15"/>
                </a:lnTo>
                <a:lnTo>
                  <a:pt x="8" y="12"/>
                </a:lnTo>
                <a:lnTo>
                  <a:pt x="12" y="6"/>
                </a:lnTo>
                <a:lnTo>
                  <a:pt x="13" y="0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38" name="Freeform 190"/>
          <p:cNvSpPr>
            <a:spLocks/>
          </p:cNvSpPr>
          <p:nvPr>
            <p:custDataLst>
              <p:tags r:id="rId117"/>
            </p:custDataLst>
          </p:nvPr>
        </p:nvSpPr>
        <p:spPr bwMode="auto">
          <a:xfrm>
            <a:off x="8767763" y="4006851"/>
            <a:ext cx="36512" cy="22225"/>
          </a:xfrm>
          <a:custGeom>
            <a:avLst/>
            <a:gdLst>
              <a:gd name="T0" fmla="*/ 54 w 87"/>
              <a:gd name="T1" fmla="*/ 42 h 42"/>
              <a:gd name="T2" fmla="*/ 59 w 87"/>
              <a:gd name="T3" fmla="*/ 42 h 42"/>
              <a:gd name="T4" fmla="*/ 64 w 87"/>
              <a:gd name="T5" fmla="*/ 41 h 42"/>
              <a:gd name="T6" fmla="*/ 68 w 87"/>
              <a:gd name="T7" fmla="*/ 40 h 42"/>
              <a:gd name="T8" fmla="*/ 71 w 87"/>
              <a:gd name="T9" fmla="*/ 38 h 42"/>
              <a:gd name="T10" fmla="*/ 75 w 87"/>
              <a:gd name="T11" fmla="*/ 34 h 42"/>
              <a:gd name="T12" fmla="*/ 78 w 87"/>
              <a:gd name="T13" fmla="*/ 28 h 42"/>
              <a:gd name="T14" fmla="*/ 79 w 87"/>
              <a:gd name="T15" fmla="*/ 22 h 42"/>
              <a:gd name="T16" fmla="*/ 80 w 87"/>
              <a:gd name="T17" fmla="*/ 16 h 42"/>
              <a:gd name="T18" fmla="*/ 82 w 87"/>
              <a:gd name="T19" fmla="*/ 11 h 42"/>
              <a:gd name="T20" fmla="*/ 87 w 87"/>
              <a:gd name="T21" fmla="*/ 6 h 42"/>
              <a:gd name="T22" fmla="*/ 77 w 87"/>
              <a:gd name="T23" fmla="*/ 2 h 42"/>
              <a:gd name="T24" fmla="*/ 67 w 87"/>
              <a:gd name="T25" fmla="*/ 0 h 42"/>
              <a:gd name="T26" fmla="*/ 57 w 87"/>
              <a:gd name="T27" fmla="*/ 0 h 42"/>
              <a:gd name="T28" fmla="*/ 47 w 87"/>
              <a:gd name="T29" fmla="*/ 0 h 42"/>
              <a:gd name="T30" fmla="*/ 40 w 87"/>
              <a:gd name="T31" fmla="*/ 0 h 42"/>
              <a:gd name="T32" fmla="*/ 32 w 87"/>
              <a:gd name="T33" fmla="*/ 2 h 42"/>
              <a:gd name="T34" fmla="*/ 25 w 87"/>
              <a:gd name="T35" fmla="*/ 4 h 42"/>
              <a:gd name="T36" fmla="*/ 19 w 87"/>
              <a:gd name="T37" fmla="*/ 6 h 42"/>
              <a:gd name="T38" fmla="*/ 8 w 87"/>
              <a:gd name="T39" fmla="*/ 12 h 42"/>
              <a:gd name="T40" fmla="*/ 0 w 87"/>
              <a:gd name="T41" fmla="*/ 18 h 42"/>
              <a:gd name="T42" fmla="*/ 11 w 87"/>
              <a:gd name="T43" fmla="*/ 24 h 42"/>
              <a:gd name="T44" fmla="*/ 27 w 87"/>
              <a:gd name="T45" fmla="*/ 32 h 42"/>
              <a:gd name="T46" fmla="*/ 43 w 87"/>
              <a:gd name="T47" fmla="*/ 39 h 42"/>
              <a:gd name="T48" fmla="*/ 54 w 87"/>
              <a:gd name="T49" fmla="*/ 42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87" h="42">
                <a:moveTo>
                  <a:pt x="54" y="42"/>
                </a:moveTo>
                <a:lnTo>
                  <a:pt x="59" y="42"/>
                </a:lnTo>
                <a:lnTo>
                  <a:pt x="64" y="41"/>
                </a:lnTo>
                <a:lnTo>
                  <a:pt x="68" y="40"/>
                </a:lnTo>
                <a:lnTo>
                  <a:pt x="71" y="38"/>
                </a:lnTo>
                <a:lnTo>
                  <a:pt x="75" y="34"/>
                </a:lnTo>
                <a:lnTo>
                  <a:pt x="78" y="28"/>
                </a:lnTo>
                <a:lnTo>
                  <a:pt x="79" y="22"/>
                </a:lnTo>
                <a:lnTo>
                  <a:pt x="80" y="16"/>
                </a:lnTo>
                <a:lnTo>
                  <a:pt x="82" y="11"/>
                </a:lnTo>
                <a:lnTo>
                  <a:pt x="87" y="6"/>
                </a:lnTo>
                <a:lnTo>
                  <a:pt x="77" y="2"/>
                </a:lnTo>
                <a:lnTo>
                  <a:pt x="67" y="0"/>
                </a:lnTo>
                <a:lnTo>
                  <a:pt x="57" y="0"/>
                </a:lnTo>
                <a:lnTo>
                  <a:pt x="47" y="0"/>
                </a:lnTo>
                <a:lnTo>
                  <a:pt x="40" y="0"/>
                </a:lnTo>
                <a:lnTo>
                  <a:pt x="32" y="2"/>
                </a:lnTo>
                <a:lnTo>
                  <a:pt x="25" y="4"/>
                </a:lnTo>
                <a:lnTo>
                  <a:pt x="19" y="6"/>
                </a:lnTo>
                <a:lnTo>
                  <a:pt x="8" y="12"/>
                </a:lnTo>
                <a:lnTo>
                  <a:pt x="0" y="18"/>
                </a:lnTo>
                <a:lnTo>
                  <a:pt x="11" y="24"/>
                </a:lnTo>
                <a:lnTo>
                  <a:pt x="27" y="32"/>
                </a:lnTo>
                <a:lnTo>
                  <a:pt x="43" y="39"/>
                </a:lnTo>
                <a:lnTo>
                  <a:pt x="54" y="4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39" name="Freeform 191"/>
          <p:cNvSpPr>
            <a:spLocks/>
          </p:cNvSpPr>
          <p:nvPr>
            <p:custDataLst>
              <p:tags r:id="rId118"/>
            </p:custDataLst>
          </p:nvPr>
        </p:nvSpPr>
        <p:spPr bwMode="auto">
          <a:xfrm>
            <a:off x="9012239" y="4470400"/>
            <a:ext cx="1587" cy="14288"/>
          </a:xfrm>
          <a:custGeom>
            <a:avLst/>
            <a:gdLst>
              <a:gd name="T0" fmla="*/ 0 w 7"/>
              <a:gd name="T1" fmla="*/ 0 h 31"/>
              <a:gd name="T2" fmla="*/ 7 w 7"/>
              <a:gd name="T3" fmla="*/ 0 h 31"/>
              <a:gd name="T4" fmla="*/ 7 w 7"/>
              <a:gd name="T5" fmla="*/ 18 h 31"/>
              <a:gd name="T6" fmla="*/ 0 w 7"/>
              <a:gd name="T7" fmla="*/ 31 h 31"/>
              <a:gd name="T8" fmla="*/ 0 w 7"/>
              <a:gd name="T9" fmla="*/ 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" h="31">
                <a:moveTo>
                  <a:pt x="0" y="0"/>
                </a:moveTo>
                <a:lnTo>
                  <a:pt x="7" y="0"/>
                </a:lnTo>
                <a:lnTo>
                  <a:pt x="7" y="18"/>
                </a:lnTo>
                <a:lnTo>
                  <a:pt x="0" y="3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40" name="Freeform 192"/>
          <p:cNvSpPr>
            <a:spLocks/>
          </p:cNvSpPr>
          <p:nvPr>
            <p:custDataLst>
              <p:tags r:id="rId119"/>
            </p:custDataLst>
          </p:nvPr>
        </p:nvSpPr>
        <p:spPr bwMode="auto">
          <a:xfrm>
            <a:off x="8248651" y="3976688"/>
            <a:ext cx="1019175" cy="908050"/>
          </a:xfrm>
          <a:custGeom>
            <a:avLst/>
            <a:gdLst>
              <a:gd name="T0" fmla="*/ 214 w 2332"/>
              <a:gd name="T1" fmla="*/ 707 h 1731"/>
              <a:gd name="T2" fmla="*/ 325 w 2332"/>
              <a:gd name="T3" fmla="*/ 649 h 1731"/>
              <a:gd name="T4" fmla="*/ 435 w 2332"/>
              <a:gd name="T5" fmla="*/ 606 h 1731"/>
              <a:gd name="T6" fmla="*/ 605 w 2332"/>
              <a:gd name="T7" fmla="*/ 570 h 1731"/>
              <a:gd name="T8" fmla="*/ 677 w 2332"/>
              <a:gd name="T9" fmla="*/ 437 h 1731"/>
              <a:gd name="T10" fmla="*/ 758 w 2332"/>
              <a:gd name="T11" fmla="*/ 439 h 1731"/>
              <a:gd name="T12" fmla="*/ 784 w 2332"/>
              <a:gd name="T13" fmla="*/ 363 h 1731"/>
              <a:gd name="T14" fmla="*/ 866 w 2332"/>
              <a:gd name="T15" fmla="*/ 316 h 1731"/>
              <a:gd name="T16" fmla="*/ 939 w 2332"/>
              <a:gd name="T17" fmla="*/ 246 h 1731"/>
              <a:gd name="T18" fmla="*/ 1027 w 2332"/>
              <a:gd name="T19" fmla="*/ 223 h 1731"/>
              <a:gd name="T20" fmla="*/ 1078 w 2332"/>
              <a:gd name="T21" fmla="*/ 284 h 1731"/>
              <a:gd name="T22" fmla="*/ 1135 w 2332"/>
              <a:gd name="T23" fmla="*/ 270 h 1731"/>
              <a:gd name="T24" fmla="*/ 1176 w 2332"/>
              <a:gd name="T25" fmla="*/ 172 h 1731"/>
              <a:gd name="T26" fmla="*/ 1320 w 2332"/>
              <a:gd name="T27" fmla="*/ 117 h 1731"/>
              <a:gd name="T28" fmla="*/ 1336 w 2332"/>
              <a:gd name="T29" fmla="*/ 41 h 1731"/>
              <a:gd name="T30" fmla="*/ 1432 w 2332"/>
              <a:gd name="T31" fmla="*/ 107 h 1731"/>
              <a:gd name="T32" fmla="*/ 1544 w 2332"/>
              <a:gd name="T33" fmla="*/ 117 h 1731"/>
              <a:gd name="T34" fmla="*/ 1465 w 2332"/>
              <a:gd name="T35" fmla="*/ 262 h 1731"/>
              <a:gd name="T36" fmla="*/ 1509 w 2332"/>
              <a:gd name="T37" fmla="*/ 333 h 1731"/>
              <a:gd name="T38" fmla="*/ 1582 w 2332"/>
              <a:gd name="T39" fmla="*/ 354 h 1731"/>
              <a:gd name="T40" fmla="*/ 1668 w 2332"/>
              <a:gd name="T41" fmla="*/ 423 h 1731"/>
              <a:gd name="T42" fmla="*/ 1764 w 2332"/>
              <a:gd name="T43" fmla="*/ 413 h 1731"/>
              <a:gd name="T44" fmla="*/ 1830 w 2332"/>
              <a:gd name="T45" fmla="*/ 205 h 1731"/>
              <a:gd name="T46" fmla="*/ 1904 w 2332"/>
              <a:gd name="T47" fmla="*/ 10 h 1731"/>
              <a:gd name="T48" fmla="*/ 1933 w 2332"/>
              <a:gd name="T49" fmla="*/ 80 h 1731"/>
              <a:gd name="T50" fmla="*/ 1944 w 2332"/>
              <a:gd name="T51" fmla="*/ 176 h 1731"/>
              <a:gd name="T52" fmla="*/ 1986 w 2332"/>
              <a:gd name="T53" fmla="*/ 240 h 1731"/>
              <a:gd name="T54" fmla="*/ 2040 w 2332"/>
              <a:gd name="T55" fmla="*/ 429 h 1731"/>
              <a:gd name="T56" fmla="*/ 2089 w 2332"/>
              <a:gd name="T57" fmla="*/ 540 h 1731"/>
              <a:gd name="T58" fmla="*/ 2163 w 2332"/>
              <a:gd name="T59" fmla="*/ 686 h 1731"/>
              <a:gd name="T60" fmla="*/ 2219 w 2332"/>
              <a:gd name="T61" fmla="*/ 769 h 1731"/>
              <a:gd name="T62" fmla="*/ 2332 w 2332"/>
              <a:gd name="T63" fmla="*/ 892 h 1731"/>
              <a:gd name="T64" fmla="*/ 2276 w 2332"/>
              <a:gd name="T65" fmla="*/ 1105 h 1731"/>
              <a:gd name="T66" fmla="*/ 2087 w 2332"/>
              <a:gd name="T67" fmla="*/ 1362 h 1731"/>
              <a:gd name="T68" fmla="*/ 2005 w 2332"/>
              <a:gd name="T69" fmla="*/ 1432 h 1731"/>
              <a:gd name="T70" fmla="*/ 1838 w 2332"/>
              <a:gd name="T71" fmla="*/ 1591 h 1731"/>
              <a:gd name="T72" fmla="*/ 1749 w 2332"/>
              <a:gd name="T73" fmla="*/ 1676 h 1731"/>
              <a:gd name="T74" fmla="*/ 1589 w 2332"/>
              <a:gd name="T75" fmla="*/ 1726 h 1731"/>
              <a:gd name="T76" fmla="*/ 1517 w 2332"/>
              <a:gd name="T77" fmla="*/ 1693 h 1731"/>
              <a:gd name="T78" fmla="*/ 1410 w 2332"/>
              <a:gd name="T79" fmla="*/ 1729 h 1731"/>
              <a:gd name="T80" fmla="*/ 1297 w 2332"/>
              <a:gd name="T81" fmla="*/ 1693 h 1731"/>
              <a:gd name="T82" fmla="*/ 1279 w 2332"/>
              <a:gd name="T83" fmla="*/ 1614 h 1731"/>
              <a:gd name="T84" fmla="*/ 1263 w 2332"/>
              <a:gd name="T85" fmla="*/ 1516 h 1731"/>
              <a:gd name="T86" fmla="*/ 1225 w 2332"/>
              <a:gd name="T87" fmla="*/ 1500 h 1731"/>
              <a:gd name="T88" fmla="*/ 1280 w 2332"/>
              <a:gd name="T89" fmla="*/ 1382 h 1731"/>
              <a:gd name="T90" fmla="*/ 1088 w 2332"/>
              <a:gd name="T91" fmla="*/ 1362 h 1731"/>
              <a:gd name="T92" fmla="*/ 961 w 2332"/>
              <a:gd name="T93" fmla="*/ 1282 h 1731"/>
              <a:gd name="T94" fmla="*/ 754 w 2332"/>
              <a:gd name="T95" fmla="*/ 1323 h 1731"/>
              <a:gd name="T96" fmla="*/ 507 w 2332"/>
              <a:gd name="T97" fmla="*/ 1419 h 1731"/>
              <a:gd name="T98" fmla="*/ 214 w 2332"/>
              <a:gd name="T99" fmla="*/ 1473 h 1731"/>
              <a:gd name="T100" fmla="*/ 55 w 2332"/>
              <a:gd name="T101" fmla="*/ 1490 h 1731"/>
              <a:gd name="T102" fmla="*/ 2 w 2332"/>
              <a:gd name="T103" fmla="*/ 1423 h 1731"/>
              <a:gd name="T104" fmla="*/ 97 w 2332"/>
              <a:gd name="T105" fmla="*/ 1344 h 1731"/>
              <a:gd name="T106" fmla="*/ 75 w 2332"/>
              <a:gd name="T107" fmla="*/ 1241 h 1731"/>
              <a:gd name="T108" fmla="*/ 113 w 2332"/>
              <a:gd name="T109" fmla="*/ 1170 h 1731"/>
              <a:gd name="T110" fmla="*/ 58 w 2332"/>
              <a:gd name="T111" fmla="*/ 943 h 1731"/>
              <a:gd name="T112" fmla="*/ 113 w 2332"/>
              <a:gd name="T113" fmla="*/ 964 h 1731"/>
              <a:gd name="T114" fmla="*/ 106 w 2332"/>
              <a:gd name="T115" fmla="*/ 862 h 1731"/>
              <a:gd name="T116" fmla="*/ 147 w 2332"/>
              <a:gd name="T117" fmla="*/ 765 h 17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332" h="1731">
                <a:moveTo>
                  <a:pt x="153" y="721"/>
                </a:moveTo>
                <a:lnTo>
                  <a:pt x="156" y="727"/>
                </a:lnTo>
                <a:lnTo>
                  <a:pt x="159" y="732"/>
                </a:lnTo>
                <a:lnTo>
                  <a:pt x="162" y="735"/>
                </a:lnTo>
                <a:lnTo>
                  <a:pt x="167" y="738"/>
                </a:lnTo>
                <a:lnTo>
                  <a:pt x="173" y="744"/>
                </a:lnTo>
                <a:lnTo>
                  <a:pt x="180" y="751"/>
                </a:lnTo>
                <a:lnTo>
                  <a:pt x="189" y="744"/>
                </a:lnTo>
                <a:lnTo>
                  <a:pt x="195" y="737"/>
                </a:lnTo>
                <a:lnTo>
                  <a:pt x="201" y="729"/>
                </a:lnTo>
                <a:lnTo>
                  <a:pt x="205" y="722"/>
                </a:lnTo>
                <a:lnTo>
                  <a:pt x="210" y="714"/>
                </a:lnTo>
                <a:lnTo>
                  <a:pt x="214" y="707"/>
                </a:lnTo>
                <a:lnTo>
                  <a:pt x="219" y="701"/>
                </a:lnTo>
                <a:lnTo>
                  <a:pt x="226" y="696"/>
                </a:lnTo>
                <a:lnTo>
                  <a:pt x="234" y="690"/>
                </a:lnTo>
                <a:lnTo>
                  <a:pt x="241" y="685"/>
                </a:lnTo>
                <a:lnTo>
                  <a:pt x="249" y="680"/>
                </a:lnTo>
                <a:lnTo>
                  <a:pt x="258" y="677"/>
                </a:lnTo>
                <a:lnTo>
                  <a:pt x="274" y="672"/>
                </a:lnTo>
                <a:lnTo>
                  <a:pt x="290" y="667"/>
                </a:lnTo>
                <a:lnTo>
                  <a:pt x="297" y="665"/>
                </a:lnTo>
                <a:lnTo>
                  <a:pt x="305" y="661"/>
                </a:lnTo>
                <a:lnTo>
                  <a:pt x="312" y="658"/>
                </a:lnTo>
                <a:lnTo>
                  <a:pt x="318" y="654"/>
                </a:lnTo>
                <a:lnTo>
                  <a:pt x="325" y="649"/>
                </a:lnTo>
                <a:lnTo>
                  <a:pt x="330" y="644"/>
                </a:lnTo>
                <a:lnTo>
                  <a:pt x="335" y="637"/>
                </a:lnTo>
                <a:lnTo>
                  <a:pt x="339" y="628"/>
                </a:lnTo>
                <a:lnTo>
                  <a:pt x="360" y="631"/>
                </a:lnTo>
                <a:lnTo>
                  <a:pt x="370" y="631"/>
                </a:lnTo>
                <a:lnTo>
                  <a:pt x="375" y="629"/>
                </a:lnTo>
                <a:lnTo>
                  <a:pt x="385" y="628"/>
                </a:lnTo>
                <a:lnTo>
                  <a:pt x="393" y="628"/>
                </a:lnTo>
                <a:lnTo>
                  <a:pt x="400" y="627"/>
                </a:lnTo>
                <a:lnTo>
                  <a:pt x="405" y="624"/>
                </a:lnTo>
                <a:lnTo>
                  <a:pt x="412" y="622"/>
                </a:lnTo>
                <a:lnTo>
                  <a:pt x="423" y="615"/>
                </a:lnTo>
                <a:lnTo>
                  <a:pt x="435" y="606"/>
                </a:lnTo>
                <a:lnTo>
                  <a:pt x="447" y="598"/>
                </a:lnTo>
                <a:lnTo>
                  <a:pt x="461" y="592"/>
                </a:lnTo>
                <a:lnTo>
                  <a:pt x="469" y="589"/>
                </a:lnTo>
                <a:lnTo>
                  <a:pt x="478" y="587"/>
                </a:lnTo>
                <a:lnTo>
                  <a:pt x="487" y="585"/>
                </a:lnTo>
                <a:lnTo>
                  <a:pt x="498" y="585"/>
                </a:lnTo>
                <a:lnTo>
                  <a:pt x="520" y="585"/>
                </a:lnTo>
                <a:lnTo>
                  <a:pt x="544" y="584"/>
                </a:lnTo>
                <a:lnTo>
                  <a:pt x="558" y="584"/>
                </a:lnTo>
                <a:lnTo>
                  <a:pt x="570" y="582"/>
                </a:lnTo>
                <a:lnTo>
                  <a:pt x="581" y="581"/>
                </a:lnTo>
                <a:lnTo>
                  <a:pt x="592" y="579"/>
                </a:lnTo>
                <a:lnTo>
                  <a:pt x="605" y="570"/>
                </a:lnTo>
                <a:lnTo>
                  <a:pt x="619" y="558"/>
                </a:lnTo>
                <a:lnTo>
                  <a:pt x="635" y="542"/>
                </a:lnTo>
                <a:lnTo>
                  <a:pt x="650" y="525"/>
                </a:lnTo>
                <a:lnTo>
                  <a:pt x="664" y="508"/>
                </a:lnTo>
                <a:lnTo>
                  <a:pt x="677" y="490"/>
                </a:lnTo>
                <a:lnTo>
                  <a:pt x="688" y="475"/>
                </a:lnTo>
                <a:lnTo>
                  <a:pt x="698" y="462"/>
                </a:lnTo>
                <a:lnTo>
                  <a:pt x="695" y="461"/>
                </a:lnTo>
                <a:lnTo>
                  <a:pt x="693" y="459"/>
                </a:lnTo>
                <a:lnTo>
                  <a:pt x="691" y="456"/>
                </a:lnTo>
                <a:lnTo>
                  <a:pt x="688" y="452"/>
                </a:lnTo>
                <a:lnTo>
                  <a:pt x="683" y="444"/>
                </a:lnTo>
                <a:lnTo>
                  <a:pt x="677" y="437"/>
                </a:lnTo>
                <a:lnTo>
                  <a:pt x="688" y="432"/>
                </a:lnTo>
                <a:lnTo>
                  <a:pt x="697" y="426"/>
                </a:lnTo>
                <a:lnTo>
                  <a:pt x="705" y="419"/>
                </a:lnTo>
                <a:lnTo>
                  <a:pt x="710" y="413"/>
                </a:lnTo>
                <a:lnTo>
                  <a:pt x="716" y="406"/>
                </a:lnTo>
                <a:lnTo>
                  <a:pt x="721" y="399"/>
                </a:lnTo>
                <a:lnTo>
                  <a:pt x="729" y="393"/>
                </a:lnTo>
                <a:lnTo>
                  <a:pt x="738" y="388"/>
                </a:lnTo>
                <a:lnTo>
                  <a:pt x="739" y="399"/>
                </a:lnTo>
                <a:lnTo>
                  <a:pt x="741" y="409"/>
                </a:lnTo>
                <a:lnTo>
                  <a:pt x="744" y="418"/>
                </a:lnTo>
                <a:lnTo>
                  <a:pt x="749" y="425"/>
                </a:lnTo>
                <a:lnTo>
                  <a:pt x="758" y="439"/>
                </a:lnTo>
                <a:lnTo>
                  <a:pt x="764" y="450"/>
                </a:lnTo>
                <a:lnTo>
                  <a:pt x="768" y="437"/>
                </a:lnTo>
                <a:lnTo>
                  <a:pt x="770" y="428"/>
                </a:lnTo>
                <a:lnTo>
                  <a:pt x="771" y="418"/>
                </a:lnTo>
                <a:lnTo>
                  <a:pt x="771" y="406"/>
                </a:lnTo>
                <a:lnTo>
                  <a:pt x="775" y="402"/>
                </a:lnTo>
                <a:lnTo>
                  <a:pt x="776" y="397"/>
                </a:lnTo>
                <a:lnTo>
                  <a:pt x="777" y="391"/>
                </a:lnTo>
                <a:lnTo>
                  <a:pt x="777" y="385"/>
                </a:lnTo>
                <a:lnTo>
                  <a:pt x="777" y="379"/>
                </a:lnTo>
                <a:lnTo>
                  <a:pt x="778" y="373"/>
                </a:lnTo>
                <a:lnTo>
                  <a:pt x="781" y="368"/>
                </a:lnTo>
                <a:lnTo>
                  <a:pt x="784" y="363"/>
                </a:lnTo>
                <a:lnTo>
                  <a:pt x="787" y="370"/>
                </a:lnTo>
                <a:lnTo>
                  <a:pt x="790" y="381"/>
                </a:lnTo>
                <a:lnTo>
                  <a:pt x="838" y="381"/>
                </a:lnTo>
                <a:lnTo>
                  <a:pt x="833" y="369"/>
                </a:lnTo>
                <a:lnTo>
                  <a:pt x="832" y="358"/>
                </a:lnTo>
                <a:lnTo>
                  <a:pt x="831" y="349"/>
                </a:lnTo>
                <a:lnTo>
                  <a:pt x="832" y="341"/>
                </a:lnTo>
                <a:lnTo>
                  <a:pt x="835" y="327"/>
                </a:lnTo>
                <a:lnTo>
                  <a:pt x="838" y="314"/>
                </a:lnTo>
                <a:lnTo>
                  <a:pt x="852" y="315"/>
                </a:lnTo>
                <a:lnTo>
                  <a:pt x="860" y="316"/>
                </a:lnTo>
                <a:lnTo>
                  <a:pt x="863" y="316"/>
                </a:lnTo>
                <a:lnTo>
                  <a:pt x="866" y="316"/>
                </a:lnTo>
                <a:lnTo>
                  <a:pt x="871" y="315"/>
                </a:lnTo>
                <a:lnTo>
                  <a:pt x="877" y="314"/>
                </a:lnTo>
                <a:lnTo>
                  <a:pt x="885" y="295"/>
                </a:lnTo>
                <a:lnTo>
                  <a:pt x="891" y="281"/>
                </a:lnTo>
                <a:lnTo>
                  <a:pt x="898" y="268"/>
                </a:lnTo>
                <a:lnTo>
                  <a:pt x="910" y="252"/>
                </a:lnTo>
                <a:lnTo>
                  <a:pt x="916" y="255"/>
                </a:lnTo>
                <a:lnTo>
                  <a:pt x="921" y="256"/>
                </a:lnTo>
                <a:lnTo>
                  <a:pt x="925" y="256"/>
                </a:lnTo>
                <a:lnTo>
                  <a:pt x="930" y="255"/>
                </a:lnTo>
                <a:lnTo>
                  <a:pt x="933" y="253"/>
                </a:lnTo>
                <a:lnTo>
                  <a:pt x="935" y="250"/>
                </a:lnTo>
                <a:lnTo>
                  <a:pt x="939" y="246"/>
                </a:lnTo>
                <a:lnTo>
                  <a:pt x="940" y="242"/>
                </a:lnTo>
                <a:lnTo>
                  <a:pt x="946" y="224"/>
                </a:lnTo>
                <a:lnTo>
                  <a:pt x="951" y="209"/>
                </a:lnTo>
                <a:lnTo>
                  <a:pt x="957" y="212"/>
                </a:lnTo>
                <a:lnTo>
                  <a:pt x="965" y="214"/>
                </a:lnTo>
                <a:lnTo>
                  <a:pt x="973" y="215"/>
                </a:lnTo>
                <a:lnTo>
                  <a:pt x="980" y="214"/>
                </a:lnTo>
                <a:lnTo>
                  <a:pt x="989" y="214"/>
                </a:lnTo>
                <a:lnTo>
                  <a:pt x="998" y="213"/>
                </a:lnTo>
                <a:lnTo>
                  <a:pt x="1007" y="213"/>
                </a:lnTo>
                <a:lnTo>
                  <a:pt x="1017" y="215"/>
                </a:lnTo>
                <a:lnTo>
                  <a:pt x="1022" y="219"/>
                </a:lnTo>
                <a:lnTo>
                  <a:pt x="1027" y="223"/>
                </a:lnTo>
                <a:lnTo>
                  <a:pt x="1031" y="227"/>
                </a:lnTo>
                <a:lnTo>
                  <a:pt x="1033" y="232"/>
                </a:lnTo>
                <a:lnTo>
                  <a:pt x="1037" y="244"/>
                </a:lnTo>
                <a:lnTo>
                  <a:pt x="1040" y="257"/>
                </a:lnTo>
                <a:lnTo>
                  <a:pt x="1043" y="269"/>
                </a:lnTo>
                <a:lnTo>
                  <a:pt x="1046" y="280"/>
                </a:lnTo>
                <a:lnTo>
                  <a:pt x="1050" y="284"/>
                </a:lnTo>
                <a:lnTo>
                  <a:pt x="1053" y="287"/>
                </a:lnTo>
                <a:lnTo>
                  <a:pt x="1057" y="289"/>
                </a:lnTo>
                <a:lnTo>
                  <a:pt x="1063" y="290"/>
                </a:lnTo>
                <a:lnTo>
                  <a:pt x="1069" y="289"/>
                </a:lnTo>
                <a:lnTo>
                  <a:pt x="1076" y="286"/>
                </a:lnTo>
                <a:lnTo>
                  <a:pt x="1078" y="284"/>
                </a:lnTo>
                <a:lnTo>
                  <a:pt x="1081" y="282"/>
                </a:lnTo>
                <a:lnTo>
                  <a:pt x="1083" y="280"/>
                </a:lnTo>
                <a:lnTo>
                  <a:pt x="1084" y="277"/>
                </a:lnTo>
                <a:lnTo>
                  <a:pt x="1088" y="279"/>
                </a:lnTo>
                <a:lnTo>
                  <a:pt x="1092" y="280"/>
                </a:lnTo>
                <a:lnTo>
                  <a:pt x="1096" y="280"/>
                </a:lnTo>
                <a:lnTo>
                  <a:pt x="1099" y="280"/>
                </a:lnTo>
                <a:lnTo>
                  <a:pt x="1104" y="278"/>
                </a:lnTo>
                <a:lnTo>
                  <a:pt x="1110" y="277"/>
                </a:lnTo>
                <a:lnTo>
                  <a:pt x="1120" y="277"/>
                </a:lnTo>
                <a:lnTo>
                  <a:pt x="1128" y="276"/>
                </a:lnTo>
                <a:lnTo>
                  <a:pt x="1133" y="274"/>
                </a:lnTo>
                <a:lnTo>
                  <a:pt x="1135" y="270"/>
                </a:lnTo>
                <a:lnTo>
                  <a:pt x="1136" y="261"/>
                </a:lnTo>
                <a:lnTo>
                  <a:pt x="1136" y="246"/>
                </a:lnTo>
                <a:lnTo>
                  <a:pt x="1136" y="240"/>
                </a:lnTo>
                <a:lnTo>
                  <a:pt x="1137" y="234"/>
                </a:lnTo>
                <a:lnTo>
                  <a:pt x="1140" y="228"/>
                </a:lnTo>
                <a:lnTo>
                  <a:pt x="1143" y="223"/>
                </a:lnTo>
                <a:lnTo>
                  <a:pt x="1148" y="212"/>
                </a:lnTo>
                <a:lnTo>
                  <a:pt x="1156" y="204"/>
                </a:lnTo>
                <a:lnTo>
                  <a:pt x="1164" y="195"/>
                </a:lnTo>
                <a:lnTo>
                  <a:pt x="1170" y="186"/>
                </a:lnTo>
                <a:lnTo>
                  <a:pt x="1173" y="182"/>
                </a:lnTo>
                <a:lnTo>
                  <a:pt x="1175" y="177"/>
                </a:lnTo>
                <a:lnTo>
                  <a:pt x="1176" y="172"/>
                </a:lnTo>
                <a:lnTo>
                  <a:pt x="1176" y="167"/>
                </a:lnTo>
                <a:lnTo>
                  <a:pt x="1189" y="154"/>
                </a:lnTo>
                <a:lnTo>
                  <a:pt x="1201" y="146"/>
                </a:lnTo>
                <a:lnTo>
                  <a:pt x="1213" y="139"/>
                </a:lnTo>
                <a:lnTo>
                  <a:pt x="1225" y="134"/>
                </a:lnTo>
                <a:lnTo>
                  <a:pt x="1237" y="131"/>
                </a:lnTo>
                <a:lnTo>
                  <a:pt x="1248" y="128"/>
                </a:lnTo>
                <a:lnTo>
                  <a:pt x="1259" y="127"/>
                </a:lnTo>
                <a:lnTo>
                  <a:pt x="1270" y="126"/>
                </a:lnTo>
                <a:lnTo>
                  <a:pt x="1289" y="125"/>
                </a:lnTo>
                <a:lnTo>
                  <a:pt x="1305" y="123"/>
                </a:lnTo>
                <a:lnTo>
                  <a:pt x="1313" y="121"/>
                </a:lnTo>
                <a:lnTo>
                  <a:pt x="1320" y="117"/>
                </a:lnTo>
                <a:lnTo>
                  <a:pt x="1324" y="112"/>
                </a:lnTo>
                <a:lnTo>
                  <a:pt x="1328" y="104"/>
                </a:lnTo>
                <a:lnTo>
                  <a:pt x="1322" y="94"/>
                </a:lnTo>
                <a:lnTo>
                  <a:pt x="1314" y="86"/>
                </a:lnTo>
                <a:lnTo>
                  <a:pt x="1308" y="80"/>
                </a:lnTo>
                <a:lnTo>
                  <a:pt x="1301" y="75"/>
                </a:lnTo>
                <a:lnTo>
                  <a:pt x="1297" y="69"/>
                </a:lnTo>
                <a:lnTo>
                  <a:pt x="1292" y="64"/>
                </a:lnTo>
                <a:lnTo>
                  <a:pt x="1290" y="58"/>
                </a:lnTo>
                <a:lnTo>
                  <a:pt x="1289" y="49"/>
                </a:lnTo>
                <a:lnTo>
                  <a:pt x="1305" y="48"/>
                </a:lnTo>
                <a:lnTo>
                  <a:pt x="1322" y="45"/>
                </a:lnTo>
                <a:lnTo>
                  <a:pt x="1336" y="41"/>
                </a:lnTo>
                <a:lnTo>
                  <a:pt x="1349" y="36"/>
                </a:lnTo>
                <a:lnTo>
                  <a:pt x="1352" y="46"/>
                </a:lnTo>
                <a:lnTo>
                  <a:pt x="1356" y="56"/>
                </a:lnTo>
                <a:lnTo>
                  <a:pt x="1360" y="64"/>
                </a:lnTo>
                <a:lnTo>
                  <a:pt x="1366" y="72"/>
                </a:lnTo>
                <a:lnTo>
                  <a:pt x="1372" y="78"/>
                </a:lnTo>
                <a:lnTo>
                  <a:pt x="1379" y="84"/>
                </a:lnTo>
                <a:lnTo>
                  <a:pt x="1387" y="90"/>
                </a:lnTo>
                <a:lnTo>
                  <a:pt x="1394" y="94"/>
                </a:lnTo>
                <a:lnTo>
                  <a:pt x="1403" y="98"/>
                </a:lnTo>
                <a:lnTo>
                  <a:pt x="1412" y="101"/>
                </a:lnTo>
                <a:lnTo>
                  <a:pt x="1422" y="104"/>
                </a:lnTo>
                <a:lnTo>
                  <a:pt x="1432" y="107"/>
                </a:lnTo>
                <a:lnTo>
                  <a:pt x="1443" y="109"/>
                </a:lnTo>
                <a:lnTo>
                  <a:pt x="1453" y="110"/>
                </a:lnTo>
                <a:lnTo>
                  <a:pt x="1464" y="111"/>
                </a:lnTo>
                <a:lnTo>
                  <a:pt x="1476" y="111"/>
                </a:lnTo>
                <a:lnTo>
                  <a:pt x="1481" y="110"/>
                </a:lnTo>
                <a:lnTo>
                  <a:pt x="1489" y="108"/>
                </a:lnTo>
                <a:lnTo>
                  <a:pt x="1499" y="105"/>
                </a:lnTo>
                <a:lnTo>
                  <a:pt x="1509" y="104"/>
                </a:lnTo>
                <a:lnTo>
                  <a:pt x="1514" y="109"/>
                </a:lnTo>
                <a:lnTo>
                  <a:pt x="1523" y="113"/>
                </a:lnTo>
                <a:lnTo>
                  <a:pt x="1532" y="116"/>
                </a:lnTo>
                <a:lnTo>
                  <a:pt x="1541" y="117"/>
                </a:lnTo>
                <a:lnTo>
                  <a:pt x="1544" y="117"/>
                </a:lnTo>
                <a:lnTo>
                  <a:pt x="1547" y="115"/>
                </a:lnTo>
                <a:lnTo>
                  <a:pt x="1549" y="113"/>
                </a:lnTo>
                <a:lnTo>
                  <a:pt x="1551" y="110"/>
                </a:lnTo>
                <a:lnTo>
                  <a:pt x="1557" y="103"/>
                </a:lnTo>
                <a:lnTo>
                  <a:pt x="1561" y="98"/>
                </a:lnTo>
                <a:lnTo>
                  <a:pt x="1561" y="135"/>
                </a:lnTo>
                <a:lnTo>
                  <a:pt x="1556" y="146"/>
                </a:lnTo>
                <a:lnTo>
                  <a:pt x="1545" y="163"/>
                </a:lnTo>
                <a:lnTo>
                  <a:pt x="1530" y="183"/>
                </a:lnTo>
                <a:lnTo>
                  <a:pt x="1513" y="205"/>
                </a:lnTo>
                <a:lnTo>
                  <a:pt x="1495" y="228"/>
                </a:lnTo>
                <a:lnTo>
                  <a:pt x="1479" y="247"/>
                </a:lnTo>
                <a:lnTo>
                  <a:pt x="1465" y="262"/>
                </a:lnTo>
                <a:lnTo>
                  <a:pt x="1455" y="270"/>
                </a:lnTo>
                <a:lnTo>
                  <a:pt x="1464" y="275"/>
                </a:lnTo>
                <a:lnTo>
                  <a:pt x="1470" y="278"/>
                </a:lnTo>
                <a:lnTo>
                  <a:pt x="1474" y="282"/>
                </a:lnTo>
                <a:lnTo>
                  <a:pt x="1479" y="286"/>
                </a:lnTo>
                <a:lnTo>
                  <a:pt x="1485" y="294"/>
                </a:lnTo>
                <a:lnTo>
                  <a:pt x="1489" y="302"/>
                </a:lnTo>
                <a:lnTo>
                  <a:pt x="1492" y="310"/>
                </a:lnTo>
                <a:lnTo>
                  <a:pt x="1495" y="317"/>
                </a:lnTo>
                <a:lnTo>
                  <a:pt x="1498" y="321"/>
                </a:lnTo>
                <a:lnTo>
                  <a:pt x="1500" y="325"/>
                </a:lnTo>
                <a:lnTo>
                  <a:pt x="1504" y="328"/>
                </a:lnTo>
                <a:lnTo>
                  <a:pt x="1509" y="333"/>
                </a:lnTo>
                <a:lnTo>
                  <a:pt x="1514" y="336"/>
                </a:lnTo>
                <a:lnTo>
                  <a:pt x="1520" y="338"/>
                </a:lnTo>
                <a:lnTo>
                  <a:pt x="1525" y="339"/>
                </a:lnTo>
                <a:lnTo>
                  <a:pt x="1532" y="338"/>
                </a:lnTo>
                <a:lnTo>
                  <a:pt x="1538" y="338"/>
                </a:lnTo>
                <a:lnTo>
                  <a:pt x="1544" y="337"/>
                </a:lnTo>
                <a:lnTo>
                  <a:pt x="1549" y="337"/>
                </a:lnTo>
                <a:lnTo>
                  <a:pt x="1555" y="339"/>
                </a:lnTo>
                <a:lnTo>
                  <a:pt x="1560" y="340"/>
                </a:lnTo>
                <a:lnTo>
                  <a:pt x="1566" y="342"/>
                </a:lnTo>
                <a:lnTo>
                  <a:pt x="1570" y="345"/>
                </a:lnTo>
                <a:lnTo>
                  <a:pt x="1574" y="347"/>
                </a:lnTo>
                <a:lnTo>
                  <a:pt x="1582" y="354"/>
                </a:lnTo>
                <a:lnTo>
                  <a:pt x="1588" y="361"/>
                </a:lnTo>
                <a:lnTo>
                  <a:pt x="1594" y="368"/>
                </a:lnTo>
                <a:lnTo>
                  <a:pt x="1602" y="376"/>
                </a:lnTo>
                <a:lnTo>
                  <a:pt x="1605" y="379"/>
                </a:lnTo>
                <a:lnTo>
                  <a:pt x="1611" y="382"/>
                </a:lnTo>
                <a:lnTo>
                  <a:pt x="1615" y="386"/>
                </a:lnTo>
                <a:lnTo>
                  <a:pt x="1622" y="388"/>
                </a:lnTo>
                <a:lnTo>
                  <a:pt x="1629" y="391"/>
                </a:lnTo>
                <a:lnTo>
                  <a:pt x="1637" y="394"/>
                </a:lnTo>
                <a:lnTo>
                  <a:pt x="1644" y="398"/>
                </a:lnTo>
                <a:lnTo>
                  <a:pt x="1649" y="403"/>
                </a:lnTo>
                <a:lnTo>
                  <a:pt x="1659" y="413"/>
                </a:lnTo>
                <a:lnTo>
                  <a:pt x="1668" y="423"/>
                </a:lnTo>
                <a:lnTo>
                  <a:pt x="1677" y="433"/>
                </a:lnTo>
                <a:lnTo>
                  <a:pt x="1686" y="442"/>
                </a:lnTo>
                <a:lnTo>
                  <a:pt x="1692" y="445"/>
                </a:lnTo>
                <a:lnTo>
                  <a:pt x="1698" y="448"/>
                </a:lnTo>
                <a:lnTo>
                  <a:pt x="1706" y="449"/>
                </a:lnTo>
                <a:lnTo>
                  <a:pt x="1714" y="450"/>
                </a:lnTo>
                <a:lnTo>
                  <a:pt x="1719" y="449"/>
                </a:lnTo>
                <a:lnTo>
                  <a:pt x="1724" y="448"/>
                </a:lnTo>
                <a:lnTo>
                  <a:pt x="1729" y="446"/>
                </a:lnTo>
                <a:lnTo>
                  <a:pt x="1735" y="444"/>
                </a:lnTo>
                <a:lnTo>
                  <a:pt x="1745" y="435"/>
                </a:lnTo>
                <a:lnTo>
                  <a:pt x="1754" y="425"/>
                </a:lnTo>
                <a:lnTo>
                  <a:pt x="1764" y="413"/>
                </a:lnTo>
                <a:lnTo>
                  <a:pt x="1773" y="400"/>
                </a:lnTo>
                <a:lnTo>
                  <a:pt x="1782" y="385"/>
                </a:lnTo>
                <a:lnTo>
                  <a:pt x="1791" y="368"/>
                </a:lnTo>
                <a:lnTo>
                  <a:pt x="1798" y="351"/>
                </a:lnTo>
                <a:lnTo>
                  <a:pt x="1805" y="334"/>
                </a:lnTo>
                <a:lnTo>
                  <a:pt x="1812" y="316"/>
                </a:lnTo>
                <a:lnTo>
                  <a:pt x="1817" y="299"/>
                </a:lnTo>
                <a:lnTo>
                  <a:pt x="1821" y="283"/>
                </a:lnTo>
                <a:lnTo>
                  <a:pt x="1825" y="266"/>
                </a:lnTo>
                <a:lnTo>
                  <a:pt x="1827" y="252"/>
                </a:lnTo>
                <a:lnTo>
                  <a:pt x="1827" y="240"/>
                </a:lnTo>
                <a:lnTo>
                  <a:pt x="1828" y="223"/>
                </a:lnTo>
                <a:lnTo>
                  <a:pt x="1830" y="205"/>
                </a:lnTo>
                <a:lnTo>
                  <a:pt x="1834" y="189"/>
                </a:lnTo>
                <a:lnTo>
                  <a:pt x="1839" y="174"/>
                </a:lnTo>
                <a:lnTo>
                  <a:pt x="1845" y="159"/>
                </a:lnTo>
                <a:lnTo>
                  <a:pt x="1850" y="145"/>
                </a:lnTo>
                <a:lnTo>
                  <a:pt x="1857" y="131"/>
                </a:lnTo>
                <a:lnTo>
                  <a:pt x="1863" y="118"/>
                </a:lnTo>
                <a:lnTo>
                  <a:pt x="1877" y="90"/>
                </a:lnTo>
                <a:lnTo>
                  <a:pt x="1888" y="63"/>
                </a:lnTo>
                <a:lnTo>
                  <a:pt x="1894" y="47"/>
                </a:lnTo>
                <a:lnTo>
                  <a:pt x="1897" y="32"/>
                </a:lnTo>
                <a:lnTo>
                  <a:pt x="1899" y="17"/>
                </a:lnTo>
                <a:lnTo>
                  <a:pt x="1901" y="0"/>
                </a:lnTo>
                <a:lnTo>
                  <a:pt x="1904" y="10"/>
                </a:lnTo>
                <a:lnTo>
                  <a:pt x="1909" y="21"/>
                </a:lnTo>
                <a:lnTo>
                  <a:pt x="1917" y="32"/>
                </a:lnTo>
                <a:lnTo>
                  <a:pt x="1925" y="43"/>
                </a:lnTo>
                <a:lnTo>
                  <a:pt x="1932" y="55"/>
                </a:lnTo>
                <a:lnTo>
                  <a:pt x="1940" y="63"/>
                </a:lnTo>
                <a:lnTo>
                  <a:pt x="1948" y="70"/>
                </a:lnTo>
                <a:lnTo>
                  <a:pt x="1953" y="74"/>
                </a:lnTo>
                <a:lnTo>
                  <a:pt x="1952" y="76"/>
                </a:lnTo>
                <a:lnTo>
                  <a:pt x="1950" y="77"/>
                </a:lnTo>
                <a:lnTo>
                  <a:pt x="1947" y="78"/>
                </a:lnTo>
                <a:lnTo>
                  <a:pt x="1943" y="79"/>
                </a:lnTo>
                <a:lnTo>
                  <a:pt x="1937" y="80"/>
                </a:lnTo>
                <a:lnTo>
                  <a:pt x="1933" y="80"/>
                </a:lnTo>
                <a:lnTo>
                  <a:pt x="1935" y="90"/>
                </a:lnTo>
                <a:lnTo>
                  <a:pt x="1937" y="98"/>
                </a:lnTo>
                <a:lnTo>
                  <a:pt x="1940" y="104"/>
                </a:lnTo>
                <a:lnTo>
                  <a:pt x="1943" y="110"/>
                </a:lnTo>
                <a:lnTo>
                  <a:pt x="1947" y="115"/>
                </a:lnTo>
                <a:lnTo>
                  <a:pt x="1950" y="121"/>
                </a:lnTo>
                <a:lnTo>
                  <a:pt x="1952" y="127"/>
                </a:lnTo>
                <a:lnTo>
                  <a:pt x="1953" y="135"/>
                </a:lnTo>
                <a:lnTo>
                  <a:pt x="1953" y="144"/>
                </a:lnTo>
                <a:lnTo>
                  <a:pt x="1951" y="152"/>
                </a:lnTo>
                <a:lnTo>
                  <a:pt x="1949" y="160"/>
                </a:lnTo>
                <a:lnTo>
                  <a:pt x="1947" y="169"/>
                </a:lnTo>
                <a:lnTo>
                  <a:pt x="1944" y="176"/>
                </a:lnTo>
                <a:lnTo>
                  <a:pt x="1942" y="183"/>
                </a:lnTo>
                <a:lnTo>
                  <a:pt x="1941" y="190"/>
                </a:lnTo>
                <a:lnTo>
                  <a:pt x="1940" y="197"/>
                </a:lnTo>
                <a:lnTo>
                  <a:pt x="1940" y="201"/>
                </a:lnTo>
                <a:lnTo>
                  <a:pt x="1941" y="206"/>
                </a:lnTo>
                <a:lnTo>
                  <a:pt x="1942" y="210"/>
                </a:lnTo>
                <a:lnTo>
                  <a:pt x="1944" y="214"/>
                </a:lnTo>
                <a:lnTo>
                  <a:pt x="1950" y="222"/>
                </a:lnTo>
                <a:lnTo>
                  <a:pt x="1955" y="228"/>
                </a:lnTo>
                <a:lnTo>
                  <a:pt x="1963" y="233"/>
                </a:lnTo>
                <a:lnTo>
                  <a:pt x="1971" y="237"/>
                </a:lnTo>
                <a:lnTo>
                  <a:pt x="1978" y="239"/>
                </a:lnTo>
                <a:lnTo>
                  <a:pt x="1986" y="240"/>
                </a:lnTo>
                <a:lnTo>
                  <a:pt x="1987" y="244"/>
                </a:lnTo>
                <a:lnTo>
                  <a:pt x="1989" y="248"/>
                </a:lnTo>
                <a:lnTo>
                  <a:pt x="1993" y="251"/>
                </a:lnTo>
                <a:lnTo>
                  <a:pt x="1997" y="254"/>
                </a:lnTo>
                <a:lnTo>
                  <a:pt x="2006" y="257"/>
                </a:lnTo>
                <a:lnTo>
                  <a:pt x="2014" y="258"/>
                </a:lnTo>
                <a:lnTo>
                  <a:pt x="2014" y="278"/>
                </a:lnTo>
                <a:lnTo>
                  <a:pt x="2015" y="297"/>
                </a:lnTo>
                <a:lnTo>
                  <a:pt x="2017" y="314"/>
                </a:lnTo>
                <a:lnTo>
                  <a:pt x="2019" y="332"/>
                </a:lnTo>
                <a:lnTo>
                  <a:pt x="2026" y="365"/>
                </a:lnTo>
                <a:lnTo>
                  <a:pt x="2033" y="398"/>
                </a:lnTo>
                <a:lnTo>
                  <a:pt x="2040" y="429"/>
                </a:lnTo>
                <a:lnTo>
                  <a:pt x="2047" y="461"/>
                </a:lnTo>
                <a:lnTo>
                  <a:pt x="2050" y="476"/>
                </a:lnTo>
                <a:lnTo>
                  <a:pt x="2051" y="491"/>
                </a:lnTo>
                <a:lnTo>
                  <a:pt x="2053" y="508"/>
                </a:lnTo>
                <a:lnTo>
                  <a:pt x="2053" y="523"/>
                </a:lnTo>
                <a:lnTo>
                  <a:pt x="2053" y="526"/>
                </a:lnTo>
                <a:lnTo>
                  <a:pt x="2054" y="528"/>
                </a:lnTo>
                <a:lnTo>
                  <a:pt x="2056" y="529"/>
                </a:lnTo>
                <a:lnTo>
                  <a:pt x="2060" y="531"/>
                </a:lnTo>
                <a:lnTo>
                  <a:pt x="2066" y="533"/>
                </a:lnTo>
                <a:lnTo>
                  <a:pt x="2074" y="536"/>
                </a:lnTo>
                <a:lnTo>
                  <a:pt x="2082" y="538"/>
                </a:lnTo>
                <a:lnTo>
                  <a:pt x="2089" y="540"/>
                </a:lnTo>
                <a:lnTo>
                  <a:pt x="2096" y="544"/>
                </a:lnTo>
                <a:lnTo>
                  <a:pt x="2099" y="548"/>
                </a:lnTo>
                <a:lnTo>
                  <a:pt x="2108" y="562"/>
                </a:lnTo>
                <a:lnTo>
                  <a:pt x="2116" y="574"/>
                </a:lnTo>
                <a:lnTo>
                  <a:pt x="2120" y="578"/>
                </a:lnTo>
                <a:lnTo>
                  <a:pt x="2123" y="582"/>
                </a:lnTo>
                <a:lnTo>
                  <a:pt x="2128" y="584"/>
                </a:lnTo>
                <a:lnTo>
                  <a:pt x="2133" y="585"/>
                </a:lnTo>
                <a:lnTo>
                  <a:pt x="2134" y="596"/>
                </a:lnTo>
                <a:lnTo>
                  <a:pt x="2139" y="615"/>
                </a:lnTo>
                <a:lnTo>
                  <a:pt x="2146" y="637"/>
                </a:lnTo>
                <a:lnTo>
                  <a:pt x="2154" y="661"/>
                </a:lnTo>
                <a:lnTo>
                  <a:pt x="2163" y="686"/>
                </a:lnTo>
                <a:lnTo>
                  <a:pt x="2172" y="707"/>
                </a:lnTo>
                <a:lnTo>
                  <a:pt x="2179" y="724"/>
                </a:lnTo>
                <a:lnTo>
                  <a:pt x="2186" y="733"/>
                </a:lnTo>
                <a:lnTo>
                  <a:pt x="2188" y="735"/>
                </a:lnTo>
                <a:lnTo>
                  <a:pt x="2194" y="737"/>
                </a:lnTo>
                <a:lnTo>
                  <a:pt x="2201" y="738"/>
                </a:lnTo>
                <a:lnTo>
                  <a:pt x="2211" y="739"/>
                </a:lnTo>
                <a:lnTo>
                  <a:pt x="2231" y="742"/>
                </a:lnTo>
                <a:lnTo>
                  <a:pt x="2245" y="745"/>
                </a:lnTo>
                <a:lnTo>
                  <a:pt x="2242" y="756"/>
                </a:lnTo>
                <a:lnTo>
                  <a:pt x="2238" y="762"/>
                </a:lnTo>
                <a:lnTo>
                  <a:pt x="2231" y="766"/>
                </a:lnTo>
                <a:lnTo>
                  <a:pt x="2219" y="769"/>
                </a:lnTo>
                <a:lnTo>
                  <a:pt x="2223" y="781"/>
                </a:lnTo>
                <a:lnTo>
                  <a:pt x="2228" y="790"/>
                </a:lnTo>
                <a:lnTo>
                  <a:pt x="2233" y="800"/>
                </a:lnTo>
                <a:lnTo>
                  <a:pt x="2239" y="809"/>
                </a:lnTo>
                <a:lnTo>
                  <a:pt x="2251" y="827"/>
                </a:lnTo>
                <a:lnTo>
                  <a:pt x="2263" y="846"/>
                </a:lnTo>
                <a:lnTo>
                  <a:pt x="2289" y="879"/>
                </a:lnTo>
                <a:lnTo>
                  <a:pt x="2312" y="912"/>
                </a:lnTo>
                <a:lnTo>
                  <a:pt x="2318" y="907"/>
                </a:lnTo>
                <a:lnTo>
                  <a:pt x="2324" y="902"/>
                </a:lnTo>
                <a:lnTo>
                  <a:pt x="2328" y="899"/>
                </a:lnTo>
                <a:lnTo>
                  <a:pt x="2330" y="896"/>
                </a:lnTo>
                <a:lnTo>
                  <a:pt x="2332" y="892"/>
                </a:lnTo>
                <a:lnTo>
                  <a:pt x="2332" y="887"/>
                </a:lnTo>
                <a:lnTo>
                  <a:pt x="2332" y="896"/>
                </a:lnTo>
                <a:lnTo>
                  <a:pt x="2332" y="903"/>
                </a:lnTo>
                <a:lnTo>
                  <a:pt x="2332" y="910"/>
                </a:lnTo>
                <a:lnTo>
                  <a:pt x="2332" y="918"/>
                </a:lnTo>
                <a:lnTo>
                  <a:pt x="2293" y="1010"/>
                </a:lnTo>
                <a:lnTo>
                  <a:pt x="2295" y="1024"/>
                </a:lnTo>
                <a:lnTo>
                  <a:pt x="2296" y="1038"/>
                </a:lnTo>
                <a:lnTo>
                  <a:pt x="2295" y="1051"/>
                </a:lnTo>
                <a:lnTo>
                  <a:pt x="2291" y="1066"/>
                </a:lnTo>
                <a:lnTo>
                  <a:pt x="2288" y="1079"/>
                </a:lnTo>
                <a:lnTo>
                  <a:pt x="2283" y="1092"/>
                </a:lnTo>
                <a:lnTo>
                  <a:pt x="2276" y="1105"/>
                </a:lnTo>
                <a:lnTo>
                  <a:pt x="2269" y="1118"/>
                </a:lnTo>
                <a:lnTo>
                  <a:pt x="2253" y="1143"/>
                </a:lnTo>
                <a:lnTo>
                  <a:pt x="2237" y="1167"/>
                </a:lnTo>
                <a:lnTo>
                  <a:pt x="2220" y="1188"/>
                </a:lnTo>
                <a:lnTo>
                  <a:pt x="2206" y="1207"/>
                </a:lnTo>
                <a:lnTo>
                  <a:pt x="2188" y="1233"/>
                </a:lnTo>
                <a:lnTo>
                  <a:pt x="2172" y="1260"/>
                </a:lnTo>
                <a:lnTo>
                  <a:pt x="2153" y="1289"/>
                </a:lnTo>
                <a:lnTo>
                  <a:pt x="2133" y="1317"/>
                </a:lnTo>
                <a:lnTo>
                  <a:pt x="2123" y="1329"/>
                </a:lnTo>
                <a:lnTo>
                  <a:pt x="2111" y="1342"/>
                </a:lnTo>
                <a:lnTo>
                  <a:pt x="2100" y="1352"/>
                </a:lnTo>
                <a:lnTo>
                  <a:pt x="2087" y="1362"/>
                </a:lnTo>
                <a:lnTo>
                  <a:pt x="2081" y="1366"/>
                </a:lnTo>
                <a:lnTo>
                  <a:pt x="2074" y="1369"/>
                </a:lnTo>
                <a:lnTo>
                  <a:pt x="2066" y="1372"/>
                </a:lnTo>
                <a:lnTo>
                  <a:pt x="2059" y="1375"/>
                </a:lnTo>
                <a:lnTo>
                  <a:pt x="2051" y="1377"/>
                </a:lnTo>
                <a:lnTo>
                  <a:pt x="2043" y="1378"/>
                </a:lnTo>
                <a:lnTo>
                  <a:pt x="2036" y="1379"/>
                </a:lnTo>
                <a:lnTo>
                  <a:pt x="2027" y="1380"/>
                </a:lnTo>
                <a:lnTo>
                  <a:pt x="2026" y="1393"/>
                </a:lnTo>
                <a:lnTo>
                  <a:pt x="2022" y="1404"/>
                </a:lnTo>
                <a:lnTo>
                  <a:pt x="2018" y="1414"/>
                </a:lnTo>
                <a:lnTo>
                  <a:pt x="2013" y="1423"/>
                </a:lnTo>
                <a:lnTo>
                  <a:pt x="2005" y="1432"/>
                </a:lnTo>
                <a:lnTo>
                  <a:pt x="1997" y="1440"/>
                </a:lnTo>
                <a:lnTo>
                  <a:pt x="1988" y="1449"/>
                </a:lnTo>
                <a:lnTo>
                  <a:pt x="1978" y="1456"/>
                </a:lnTo>
                <a:lnTo>
                  <a:pt x="1958" y="1470"/>
                </a:lnTo>
                <a:lnTo>
                  <a:pt x="1937" y="1483"/>
                </a:lnTo>
                <a:lnTo>
                  <a:pt x="1917" y="1495"/>
                </a:lnTo>
                <a:lnTo>
                  <a:pt x="1901" y="1510"/>
                </a:lnTo>
                <a:lnTo>
                  <a:pt x="1885" y="1525"/>
                </a:lnTo>
                <a:lnTo>
                  <a:pt x="1873" y="1539"/>
                </a:lnTo>
                <a:lnTo>
                  <a:pt x="1864" y="1553"/>
                </a:lnTo>
                <a:lnTo>
                  <a:pt x="1857" y="1565"/>
                </a:lnTo>
                <a:lnTo>
                  <a:pt x="1848" y="1578"/>
                </a:lnTo>
                <a:lnTo>
                  <a:pt x="1838" y="1591"/>
                </a:lnTo>
                <a:lnTo>
                  <a:pt x="1825" y="1604"/>
                </a:lnTo>
                <a:lnTo>
                  <a:pt x="1807" y="1621"/>
                </a:lnTo>
                <a:lnTo>
                  <a:pt x="1801" y="1630"/>
                </a:lnTo>
                <a:lnTo>
                  <a:pt x="1796" y="1639"/>
                </a:lnTo>
                <a:lnTo>
                  <a:pt x="1793" y="1648"/>
                </a:lnTo>
                <a:lnTo>
                  <a:pt x="1790" y="1657"/>
                </a:lnTo>
                <a:lnTo>
                  <a:pt x="1786" y="1665"/>
                </a:lnTo>
                <a:lnTo>
                  <a:pt x="1782" y="1671"/>
                </a:lnTo>
                <a:lnTo>
                  <a:pt x="1780" y="1673"/>
                </a:lnTo>
                <a:lnTo>
                  <a:pt x="1776" y="1675"/>
                </a:lnTo>
                <a:lnTo>
                  <a:pt x="1772" y="1676"/>
                </a:lnTo>
                <a:lnTo>
                  <a:pt x="1768" y="1676"/>
                </a:lnTo>
                <a:lnTo>
                  <a:pt x="1749" y="1676"/>
                </a:lnTo>
                <a:lnTo>
                  <a:pt x="1733" y="1676"/>
                </a:lnTo>
                <a:lnTo>
                  <a:pt x="1718" y="1676"/>
                </a:lnTo>
                <a:lnTo>
                  <a:pt x="1707" y="1676"/>
                </a:lnTo>
                <a:lnTo>
                  <a:pt x="1702" y="1676"/>
                </a:lnTo>
                <a:lnTo>
                  <a:pt x="1695" y="1678"/>
                </a:lnTo>
                <a:lnTo>
                  <a:pt x="1689" y="1680"/>
                </a:lnTo>
                <a:lnTo>
                  <a:pt x="1682" y="1683"/>
                </a:lnTo>
                <a:lnTo>
                  <a:pt x="1668" y="1690"/>
                </a:lnTo>
                <a:lnTo>
                  <a:pt x="1652" y="1699"/>
                </a:lnTo>
                <a:lnTo>
                  <a:pt x="1634" y="1708"/>
                </a:lnTo>
                <a:lnTo>
                  <a:pt x="1613" y="1717"/>
                </a:lnTo>
                <a:lnTo>
                  <a:pt x="1602" y="1722"/>
                </a:lnTo>
                <a:lnTo>
                  <a:pt x="1589" y="1726"/>
                </a:lnTo>
                <a:lnTo>
                  <a:pt x="1576" y="1729"/>
                </a:lnTo>
                <a:lnTo>
                  <a:pt x="1561" y="1731"/>
                </a:lnTo>
                <a:lnTo>
                  <a:pt x="1558" y="1725"/>
                </a:lnTo>
                <a:lnTo>
                  <a:pt x="1555" y="1718"/>
                </a:lnTo>
                <a:lnTo>
                  <a:pt x="1548" y="1718"/>
                </a:lnTo>
                <a:lnTo>
                  <a:pt x="1541" y="1717"/>
                </a:lnTo>
                <a:lnTo>
                  <a:pt x="1536" y="1715"/>
                </a:lnTo>
                <a:lnTo>
                  <a:pt x="1532" y="1713"/>
                </a:lnTo>
                <a:lnTo>
                  <a:pt x="1528" y="1711"/>
                </a:lnTo>
                <a:lnTo>
                  <a:pt x="1525" y="1708"/>
                </a:lnTo>
                <a:lnTo>
                  <a:pt x="1522" y="1705"/>
                </a:lnTo>
                <a:lnTo>
                  <a:pt x="1520" y="1701"/>
                </a:lnTo>
                <a:lnTo>
                  <a:pt x="1517" y="1693"/>
                </a:lnTo>
                <a:lnTo>
                  <a:pt x="1515" y="1685"/>
                </a:lnTo>
                <a:lnTo>
                  <a:pt x="1515" y="1677"/>
                </a:lnTo>
                <a:lnTo>
                  <a:pt x="1515" y="1670"/>
                </a:lnTo>
                <a:lnTo>
                  <a:pt x="1489" y="1690"/>
                </a:lnTo>
                <a:lnTo>
                  <a:pt x="1462" y="1709"/>
                </a:lnTo>
                <a:lnTo>
                  <a:pt x="1449" y="1718"/>
                </a:lnTo>
                <a:lnTo>
                  <a:pt x="1437" y="1725"/>
                </a:lnTo>
                <a:lnTo>
                  <a:pt x="1432" y="1728"/>
                </a:lnTo>
                <a:lnTo>
                  <a:pt x="1426" y="1730"/>
                </a:lnTo>
                <a:lnTo>
                  <a:pt x="1421" y="1731"/>
                </a:lnTo>
                <a:lnTo>
                  <a:pt x="1415" y="1731"/>
                </a:lnTo>
                <a:lnTo>
                  <a:pt x="1413" y="1731"/>
                </a:lnTo>
                <a:lnTo>
                  <a:pt x="1410" y="1729"/>
                </a:lnTo>
                <a:lnTo>
                  <a:pt x="1406" y="1727"/>
                </a:lnTo>
                <a:lnTo>
                  <a:pt x="1403" y="1725"/>
                </a:lnTo>
                <a:lnTo>
                  <a:pt x="1400" y="1722"/>
                </a:lnTo>
                <a:lnTo>
                  <a:pt x="1398" y="1718"/>
                </a:lnTo>
                <a:lnTo>
                  <a:pt x="1395" y="1715"/>
                </a:lnTo>
                <a:lnTo>
                  <a:pt x="1395" y="1712"/>
                </a:lnTo>
                <a:lnTo>
                  <a:pt x="1372" y="1711"/>
                </a:lnTo>
                <a:lnTo>
                  <a:pt x="1349" y="1709"/>
                </a:lnTo>
                <a:lnTo>
                  <a:pt x="1338" y="1707"/>
                </a:lnTo>
                <a:lnTo>
                  <a:pt x="1327" y="1704"/>
                </a:lnTo>
                <a:lnTo>
                  <a:pt x="1316" y="1701"/>
                </a:lnTo>
                <a:lnTo>
                  <a:pt x="1307" y="1697"/>
                </a:lnTo>
                <a:lnTo>
                  <a:pt x="1297" y="1693"/>
                </a:lnTo>
                <a:lnTo>
                  <a:pt x="1289" y="1688"/>
                </a:lnTo>
                <a:lnTo>
                  <a:pt x="1281" y="1683"/>
                </a:lnTo>
                <a:lnTo>
                  <a:pt x="1275" y="1677"/>
                </a:lnTo>
                <a:lnTo>
                  <a:pt x="1269" y="1670"/>
                </a:lnTo>
                <a:lnTo>
                  <a:pt x="1266" y="1662"/>
                </a:lnTo>
                <a:lnTo>
                  <a:pt x="1264" y="1653"/>
                </a:lnTo>
                <a:lnTo>
                  <a:pt x="1263" y="1645"/>
                </a:lnTo>
                <a:lnTo>
                  <a:pt x="1263" y="1639"/>
                </a:lnTo>
                <a:lnTo>
                  <a:pt x="1264" y="1635"/>
                </a:lnTo>
                <a:lnTo>
                  <a:pt x="1266" y="1631"/>
                </a:lnTo>
                <a:lnTo>
                  <a:pt x="1268" y="1627"/>
                </a:lnTo>
                <a:lnTo>
                  <a:pt x="1272" y="1620"/>
                </a:lnTo>
                <a:lnTo>
                  <a:pt x="1279" y="1614"/>
                </a:lnTo>
                <a:lnTo>
                  <a:pt x="1286" y="1609"/>
                </a:lnTo>
                <a:lnTo>
                  <a:pt x="1290" y="1601"/>
                </a:lnTo>
                <a:lnTo>
                  <a:pt x="1292" y="1597"/>
                </a:lnTo>
                <a:lnTo>
                  <a:pt x="1294" y="1593"/>
                </a:lnTo>
                <a:lnTo>
                  <a:pt x="1296" y="1589"/>
                </a:lnTo>
                <a:lnTo>
                  <a:pt x="1296" y="1583"/>
                </a:lnTo>
                <a:lnTo>
                  <a:pt x="1296" y="1546"/>
                </a:lnTo>
                <a:lnTo>
                  <a:pt x="1309" y="1528"/>
                </a:lnTo>
                <a:lnTo>
                  <a:pt x="1309" y="1522"/>
                </a:lnTo>
                <a:lnTo>
                  <a:pt x="1256" y="1522"/>
                </a:lnTo>
                <a:lnTo>
                  <a:pt x="1249" y="1534"/>
                </a:lnTo>
                <a:lnTo>
                  <a:pt x="1255" y="1525"/>
                </a:lnTo>
                <a:lnTo>
                  <a:pt x="1263" y="1516"/>
                </a:lnTo>
                <a:lnTo>
                  <a:pt x="1269" y="1509"/>
                </a:lnTo>
                <a:lnTo>
                  <a:pt x="1276" y="1504"/>
                </a:lnTo>
                <a:lnTo>
                  <a:pt x="1276" y="1460"/>
                </a:lnTo>
                <a:lnTo>
                  <a:pt x="1270" y="1462"/>
                </a:lnTo>
                <a:lnTo>
                  <a:pt x="1265" y="1464"/>
                </a:lnTo>
                <a:lnTo>
                  <a:pt x="1260" y="1466"/>
                </a:lnTo>
                <a:lnTo>
                  <a:pt x="1256" y="1469"/>
                </a:lnTo>
                <a:lnTo>
                  <a:pt x="1249" y="1475"/>
                </a:lnTo>
                <a:lnTo>
                  <a:pt x="1243" y="1481"/>
                </a:lnTo>
                <a:lnTo>
                  <a:pt x="1237" y="1488"/>
                </a:lnTo>
                <a:lnTo>
                  <a:pt x="1232" y="1494"/>
                </a:lnTo>
                <a:lnTo>
                  <a:pt x="1229" y="1498"/>
                </a:lnTo>
                <a:lnTo>
                  <a:pt x="1225" y="1500"/>
                </a:lnTo>
                <a:lnTo>
                  <a:pt x="1221" y="1502"/>
                </a:lnTo>
                <a:lnTo>
                  <a:pt x="1216" y="1504"/>
                </a:lnTo>
                <a:lnTo>
                  <a:pt x="1189" y="1504"/>
                </a:lnTo>
                <a:lnTo>
                  <a:pt x="1222" y="1472"/>
                </a:lnTo>
                <a:lnTo>
                  <a:pt x="1252" y="1442"/>
                </a:lnTo>
                <a:lnTo>
                  <a:pt x="1280" y="1411"/>
                </a:lnTo>
                <a:lnTo>
                  <a:pt x="1309" y="1380"/>
                </a:lnTo>
                <a:lnTo>
                  <a:pt x="1305" y="1378"/>
                </a:lnTo>
                <a:lnTo>
                  <a:pt x="1301" y="1377"/>
                </a:lnTo>
                <a:lnTo>
                  <a:pt x="1298" y="1376"/>
                </a:lnTo>
                <a:lnTo>
                  <a:pt x="1294" y="1376"/>
                </a:lnTo>
                <a:lnTo>
                  <a:pt x="1287" y="1378"/>
                </a:lnTo>
                <a:lnTo>
                  <a:pt x="1280" y="1382"/>
                </a:lnTo>
                <a:lnTo>
                  <a:pt x="1267" y="1392"/>
                </a:lnTo>
                <a:lnTo>
                  <a:pt x="1256" y="1399"/>
                </a:lnTo>
                <a:lnTo>
                  <a:pt x="1230" y="1418"/>
                </a:lnTo>
                <a:lnTo>
                  <a:pt x="1185" y="1450"/>
                </a:lnTo>
                <a:lnTo>
                  <a:pt x="1142" y="1478"/>
                </a:lnTo>
                <a:lnTo>
                  <a:pt x="1123" y="1490"/>
                </a:lnTo>
                <a:lnTo>
                  <a:pt x="1123" y="1380"/>
                </a:lnTo>
                <a:lnTo>
                  <a:pt x="1113" y="1379"/>
                </a:lnTo>
                <a:lnTo>
                  <a:pt x="1106" y="1377"/>
                </a:lnTo>
                <a:lnTo>
                  <a:pt x="1099" y="1375"/>
                </a:lnTo>
                <a:lnTo>
                  <a:pt x="1093" y="1371"/>
                </a:lnTo>
                <a:lnTo>
                  <a:pt x="1090" y="1367"/>
                </a:lnTo>
                <a:lnTo>
                  <a:pt x="1088" y="1362"/>
                </a:lnTo>
                <a:lnTo>
                  <a:pt x="1088" y="1356"/>
                </a:lnTo>
                <a:lnTo>
                  <a:pt x="1090" y="1349"/>
                </a:lnTo>
                <a:lnTo>
                  <a:pt x="1078" y="1338"/>
                </a:lnTo>
                <a:lnTo>
                  <a:pt x="1064" y="1325"/>
                </a:lnTo>
                <a:lnTo>
                  <a:pt x="1047" y="1314"/>
                </a:lnTo>
                <a:lnTo>
                  <a:pt x="1030" y="1304"/>
                </a:lnTo>
                <a:lnTo>
                  <a:pt x="1020" y="1299"/>
                </a:lnTo>
                <a:lnTo>
                  <a:pt x="1011" y="1295"/>
                </a:lnTo>
                <a:lnTo>
                  <a:pt x="1001" y="1291"/>
                </a:lnTo>
                <a:lnTo>
                  <a:pt x="990" y="1288"/>
                </a:lnTo>
                <a:lnTo>
                  <a:pt x="980" y="1285"/>
                </a:lnTo>
                <a:lnTo>
                  <a:pt x="971" y="1283"/>
                </a:lnTo>
                <a:lnTo>
                  <a:pt x="961" y="1282"/>
                </a:lnTo>
                <a:lnTo>
                  <a:pt x="951" y="1282"/>
                </a:lnTo>
                <a:lnTo>
                  <a:pt x="941" y="1283"/>
                </a:lnTo>
                <a:lnTo>
                  <a:pt x="931" y="1285"/>
                </a:lnTo>
                <a:lnTo>
                  <a:pt x="923" y="1289"/>
                </a:lnTo>
                <a:lnTo>
                  <a:pt x="917" y="1294"/>
                </a:lnTo>
                <a:lnTo>
                  <a:pt x="831" y="1294"/>
                </a:lnTo>
                <a:lnTo>
                  <a:pt x="819" y="1301"/>
                </a:lnTo>
                <a:lnTo>
                  <a:pt x="807" y="1307"/>
                </a:lnTo>
                <a:lnTo>
                  <a:pt x="796" y="1312"/>
                </a:lnTo>
                <a:lnTo>
                  <a:pt x="785" y="1316"/>
                </a:lnTo>
                <a:lnTo>
                  <a:pt x="775" y="1319"/>
                </a:lnTo>
                <a:lnTo>
                  <a:pt x="764" y="1321"/>
                </a:lnTo>
                <a:lnTo>
                  <a:pt x="754" y="1323"/>
                </a:lnTo>
                <a:lnTo>
                  <a:pt x="745" y="1324"/>
                </a:lnTo>
                <a:lnTo>
                  <a:pt x="726" y="1326"/>
                </a:lnTo>
                <a:lnTo>
                  <a:pt x="706" y="1328"/>
                </a:lnTo>
                <a:lnTo>
                  <a:pt x="686" y="1332"/>
                </a:lnTo>
                <a:lnTo>
                  <a:pt x="664" y="1337"/>
                </a:lnTo>
                <a:lnTo>
                  <a:pt x="636" y="1345"/>
                </a:lnTo>
                <a:lnTo>
                  <a:pt x="596" y="1356"/>
                </a:lnTo>
                <a:lnTo>
                  <a:pt x="577" y="1362"/>
                </a:lnTo>
                <a:lnTo>
                  <a:pt x="560" y="1369"/>
                </a:lnTo>
                <a:lnTo>
                  <a:pt x="547" y="1374"/>
                </a:lnTo>
                <a:lnTo>
                  <a:pt x="538" y="1380"/>
                </a:lnTo>
                <a:lnTo>
                  <a:pt x="521" y="1402"/>
                </a:lnTo>
                <a:lnTo>
                  <a:pt x="507" y="1419"/>
                </a:lnTo>
                <a:lnTo>
                  <a:pt x="501" y="1426"/>
                </a:lnTo>
                <a:lnTo>
                  <a:pt x="493" y="1431"/>
                </a:lnTo>
                <a:lnTo>
                  <a:pt x="488" y="1433"/>
                </a:lnTo>
                <a:lnTo>
                  <a:pt x="483" y="1434"/>
                </a:lnTo>
                <a:lnTo>
                  <a:pt x="478" y="1435"/>
                </a:lnTo>
                <a:lnTo>
                  <a:pt x="472" y="1435"/>
                </a:lnTo>
                <a:lnTo>
                  <a:pt x="306" y="1435"/>
                </a:lnTo>
                <a:lnTo>
                  <a:pt x="291" y="1439"/>
                </a:lnTo>
                <a:lnTo>
                  <a:pt x="277" y="1444"/>
                </a:lnTo>
                <a:lnTo>
                  <a:pt x="265" y="1448"/>
                </a:lnTo>
                <a:lnTo>
                  <a:pt x="254" y="1453"/>
                </a:lnTo>
                <a:lnTo>
                  <a:pt x="233" y="1463"/>
                </a:lnTo>
                <a:lnTo>
                  <a:pt x="214" y="1473"/>
                </a:lnTo>
                <a:lnTo>
                  <a:pt x="204" y="1478"/>
                </a:lnTo>
                <a:lnTo>
                  <a:pt x="193" y="1482"/>
                </a:lnTo>
                <a:lnTo>
                  <a:pt x="182" y="1486"/>
                </a:lnTo>
                <a:lnTo>
                  <a:pt x="170" y="1490"/>
                </a:lnTo>
                <a:lnTo>
                  <a:pt x="157" y="1493"/>
                </a:lnTo>
                <a:lnTo>
                  <a:pt x="142" y="1495"/>
                </a:lnTo>
                <a:lnTo>
                  <a:pt x="125" y="1496"/>
                </a:lnTo>
                <a:lnTo>
                  <a:pt x="106" y="1496"/>
                </a:lnTo>
                <a:lnTo>
                  <a:pt x="95" y="1496"/>
                </a:lnTo>
                <a:lnTo>
                  <a:pt x="84" y="1495"/>
                </a:lnTo>
                <a:lnTo>
                  <a:pt x="75" y="1494"/>
                </a:lnTo>
                <a:lnTo>
                  <a:pt x="65" y="1492"/>
                </a:lnTo>
                <a:lnTo>
                  <a:pt x="55" y="1490"/>
                </a:lnTo>
                <a:lnTo>
                  <a:pt x="46" y="1487"/>
                </a:lnTo>
                <a:lnTo>
                  <a:pt x="38" y="1483"/>
                </a:lnTo>
                <a:lnTo>
                  <a:pt x="31" y="1479"/>
                </a:lnTo>
                <a:lnTo>
                  <a:pt x="24" y="1475"/>
                </a:lnTo>
                <a:lnTo>
                  <a:pt x="19" y="1470"/>
                </a:lnTo>
                <a:lnTo>
                  <a:pt x="13" y="1464"/>
                </a:lnTo>
                <a:lnTo>
                  <a:pt x="9" y="1458"/>
                </a:lnTo>
                <a:lnTo>
                  <a:pt x="4" y="1452"/>
                </a:lnTo>
                <a:lnTo>
                  <a:pt x="2" y="1445"/>
                </a:lnTo>
                <a:lnTo>
                  <a:pt x="1" y="1437"/>
                </a:lnTo>
                <a:lnTo>
                  <a:pt x="0" y="1429"/>
                </a:lnTo>
                <a:lnTo>
                  <a:pt x="1" y="1426"/>
                </a:lnTo>
                <a:lnTo>
                  <a:pt x="2" y="1423"/>
                </a:lnTo>
                <a:lnTo>
                  <a:pt x="4" y="1421"/>
                </a:lnTo>
                <a:lnTo>
                  <a:pt x="6" y="1418"/>
                </a:lnTo>
                <a:lnTo>
                  <a:pt x="13" y="1415"/>
                </a:lnTo>
                <a:lnTo>
                  <a:pt x="22" y="1413"/>
                </a:lnTo>
                <a:lnTo>
                  <a:pt x="39" y="1411"/>
                </a:lnTo>
                <a:lnTo>
                  <a:pt x="54" y="1411"/>
                </a:lnTo>
                <a:lnTo>
                  <a:pt x="58" y="1408"/>
                </a:lnTo>
                <a:lnTo>
                  <a:pt x="64" y="1404"/>
                </a:lnTo>
                <a:lnTo>
                  <a:pt x="68" y="1399"/>
                </a:lnTo>
                <a:lnTo>
                  <a:pt x="72" y="1393"/>
                </a:lnTo>
                <a:lnTo>
                  <a:pt x="82" y="1378"/>
                </a:lnTo>
                <a:lnTo>
                  <a:pt x="90" y="1361"/>
                </a:lnTo>
                <a:lnTo>
                  <a:pt x="97" y="1344"/>
                </a:lnTo>
                <a:lnTo>
                  <a:pt x="102" y="1325"/>
                </a:lnTo>
                <a:lnTo>
                  <a:pt x="105" y="1309"/>
                </a:lnTo>
                <a:lnTo>
                  <a:pt x="106" y="1294"/>
                </a:lnTo>
                <a:lnTo>
                  <a:pt x="106" y="1288"/>
                </a:lnTo>
                <a:lnTo>
                  <a:pt x="105" y="1284"/>
                </a:lnTo>
                <a:lnTo>
                  <a:pt x="103" y="1279"/>
                </a:lnTo>
                <a:lnTo>
                  <a:pt x="101" y="1275"/>
                </a:lnTo>
                <a:lnTo>
                  <a:pt x="95" y="1267"/>
                </a:lnTo>
                <a:lnTo>
                  <a:pt x="90" y="1260"/>
                </a:lnTo>
                <a:lnTo>
                  <a:pt x="83" y="1254"/>
                </a:lnTo>
                <a:lnTo>
                  <a:pt x="79" y="1248"/>
                </a:lnTo>
                <a:lnTo>
                  <a:pt x="77" y="1244"/>
                </a:lnTo>
                <a:lnTo>
                  <a:pt x="75" y="1241"/>
                </a:lnTo>
                <a:lnTo>
                  <a:pt x="73" y="1237"/>
                </a:lnTo>
                <a:lnTo>
                  <a:pt x="73" y="1232"/>
                </a:lnTo>
                <a:lnTo>
                  <a:pt x="73" y="1225"/>
                </a:lnTo>
                <a:lnTo>
                  <a:pt x="75" y="1218"/>
                </a:lnTo>
                <a:lnTo>
                  <a:pt x="77" y="1212"/>
                </a:lnTo>
                <a:lnTo>
                  <a:pt x="79" y="1207"/>
                </a:lnTo>
                <a:lnTo>
                  <a:pt x="86" y="1200"/>
                </a:lnTo>
                <a:lnTo>
                  <a:pt x="93" y="1193"/>
                </a:lnTo>
                <a:lnTo>
                  <a:pt x="101" y="1188"/>
                </a:lnTo>
                <a:lnTo>
                  <a:pt x="106" y="1182"/>
                </a:lnTo>
                <a:lnTo>
                  <a:pt x="110" y="1179"/>
                </a:lnTo>
                <a:lnTo>
                  <a:pt x="112" y="1175"/>
                </a:lnTo>
                <a:lnTo>
                  <a:pt x="113" y="1170"/>
                </a:lnTo>
                <a:lnTo>
                  <a:pt x="113" y="1165"/>
                </a:lnTo>
                <a:lnTo>
                  <a:pt x="113" y="1150"/>
                </a:lnTo>
                <a:lnTo>
                  <a:pt x="111" y="1137"/>
                </a:lnTo>
                <a:lnTo>
                  <a:pt x="109" y="1123"/>
                </a:lnTo>
                <a:lnTo>
                  <a:pt x="105" y="1110"/>
                </a:lnTo>
                <a:lnTo>
                  <a:pt x="98" y="1082"/>
                </a:lnTo>
                <a:lnTo>
                  <a:pt x="88" y="1056"/>
                </a:lnTo>
                <a:lnTo>
                  <a:pt x="78" y="1030"/>
                </a:lnTo>
                <a:lnTo>
                  <a:pt x="68" y="1006"/>
                </a:lnTo>
                <a:lnTo>
                  <a:pt x="59" y="982"/>
                </a:lnTo>
                <a:lnTo>
                  <a:pt x="54" y="961"/>
                </a:lnTo>
                <a:lnTo>
                  <a:pt x="54" y="930"/>
                </a:lnTo>
                <a:lnTo>
                  <a:pt x="58" y="943"/>
                </a:lnTo>
                <a:lnTo>
                  <a:pt x="64" y="954"/>
                </a:lnTo>
                <a:lnTo>
                  <a:pt x="71" y="964"/>
                </a:lnTo>
                <a:lnTo>
                  <a:pt x="80" y="973"/>
                </a:lnTo>
                <a:lnTo>
                  <a:pt x="80" y="949"/>
                </a:lnTo>
                <a:lnTo>
                  <a:pt x="80" y="954"/>
                </a:lnTo>
                <a:lnTo>
                  <a:pt x="82" y="958"/>
                </a:lnTo>
                <a:lnTo>
                  <a:pt x="84" y="962"/>
                </a:lnTo>
                <a:lnTo>
                  <a:pt x="88" y="966"/>
                </a:lnTo>
                <a:lnTo>
                  <a:pt x="92" y="969"/>
                </a:lnTo>
                <a:lnTo>
                  <a:pt x="97" y="971"/>
                </a:lnTo>
                <a:lnTo>
                  <a:pt x="102" y="973"/>
                </a:lnTo>
                <a:lnTo>
                  <a:pt x="106" y="973"/>
                </a:lnTo>
                <a:lnTo>
                  <a:pt x="113" y="964"/>
                </a:lnTo>
                <a:lnTo>
                  <a:pt x="122" y="955"/>
                </a:lnTo>
                <a:lnTo>
                  <a:pt x="126" y="951"/>
                </a:lnTo>
                <a:lnTo>
                  <a:pt x="129" y="946"/>
                </a:lnTo>
                <a:lnTo>
                  <a:pt x="132" y="940"/>
                </a:lnTo>
                <a:lnTo>
                  <a:pt x="133" y="936"/>
                </a:lnTo>
                <a:lnTo>
                  <a:pt x="132" y="923"/>
                </a:lnTo>
                <a:lnTo>
                  <a:pt x="128" y="913"/>
                </a:lnTo>
                <a:lnTo>
                  <a:pt x="125" y="903"/>
                </a:lnTo>
                <a:lnTo>
                  <a:pt x="120" y="895"/>
                </a:lnTo>
                <a:lnTo>
                  <a:pt x="115" y="887"/>
                </a:lnTo>
                <a:lnTo>
                  <a:pt x="111" y="879"/>
                </a:lnTo>
                <a:lnTo>
                  <a:pt x="107" y="871"/>
                </a:lnTo>
                <a:lnTo>
                  <a:pt x="106" y="862"/>
                </a:lnTo>
                <a:lnTo>
                  <a:pt x="107" y="855"/>
                </a:lnTo>
                <a:lnTo>
                  <a:pt x="111" y="847"/>
                </a:lnTo>
                <a:lnTo>
                  <a:pt x="115" y="839"/>
                </a:lnTo>
                <a:lnTo>
                  <a:pt x="121" y="831"/>
                </a:lnTo>
                <a:lnTo>
                  <a:pt x="126" y="823"/>
                </a:lnTo>
                <a:lnTo>
                  <a:pt x="132" y="818"/>
                </a:lnTo>
                <a:lnTo>
                  <a:pt x="136" y="814"/>
                </a:lnTo>
                <a:lnTo>
                  <a:pt x="139" y="813"/>
                </a:lnTo>
                <a:lnTo>
                  <a:pt x="139" y="807"/>
                </a:lnTo>
                <a:lnTo>
                  <a:pt x="140" y="800"/>
                </a:lnTo>
                <a:lnTo>
                  <a:pt x="143" y="792"/>
                </a:lnTo>
                <a:lnTo>
                  <a:pt x="146" y="783"/>
                </a:lnTo>
                <a:lnTo>
                  <a:pt x="147" y="765"/>
                </a:lnTo>
                <a:lnTo>
                  <a:pt x="149" y="751"/>
                </a:lnTo>
                <a:lnTo>
                  <a:pt x="151" y="737"/>
                </a:lnTo>
                <a:lnTo>
                  <a:pt x="153" y="721"/>
                </a:lnTo>
              </a:path>
            </a:pathLst>
          </a:custGeom>
          <a:solidFill>
            <a:srgbClr val="29713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41" name="Freeform 193"/>
          <p:cNvSpPr>
            <a:spLocks/>
          </p:cNvSpPr>
          <p:nvPr>
            <p:custDataLst>
              <p:tags r:id="rId120"/>
            </p:custDataLst>
          </p:nvPr>
        </p:nvSpPr>
        <p:spPr bwMode="auto">
          <a:xfrm>
            <a:off x="2735264" y="2643189"/>
            <a:ext cx="668337" cy="581025"/>
          </a:xfrm>
          <a:custGeom>
            <a:avLst/>
            <a:gdLst>
              <a:gd name="T0" fmla="*/ 1243 w 1535"/>
              <a:gd name="T1" fmla="*/ 925 h 1109"/>
              <a:gd name="T2" fmla="*/ 1299 w 1535"/>
              <a:gd name="T3" fmla="*/ 982 h 1109"/>
              <a:gd name="T4" fmla="*/ 1220 w 1535"/>
              <a:gd name="T5" fmla="*/ 999 h 1109"/>
              <a:gd name="T6" fmla="*/ 1177 w 1535"/>
              <a:gd name="T7" fmla="*/ 1095 h 1109"/>
              <a:gd name="T8" fmla="*/ 1065 w 1535"/>
              <a:gd name="T9" fmla="*/ 1006 h 1109"/>
              <a:gd name="T10" fmla="*/ 994 w 1535"/>
              <a:gd name="T11" fmla="*/ 1012 h 1109"/>
              <a:gd name="T12" fmla="*/ 913 w 1535"/>
              <a:gd name="T13" fmla="*/ 1039 h 1109"/>
              <a:gd name="T14" fmla="*/ 786 w 1535"/>
              <a:gd name="T15" fmla="*/ 971 h 1109"/>
              <a:gd name="T16" fmla="*/ 648 w 1535"/>
              <a:gd name="T17" fmla="*/ 917 h 1109"/>
              <a:gd name="T18" fmla="*/ 588 w 1535"/>
              <a:gd name="T19" fmla="*/ 883 h 1109"/>
              <a:gd name="T20" fmla="*/ 537 w 1535"/>
              <a:gd name="T21" fmla="*/ 835 h 1109"/>
              <a:gd name="T22" fmla="*/ 485 w 1535"/>
              <a:gd name="T23" fmla="*/ 826 h 1109"/>
              <a:gd name="T24" fmla="*/ 439 w 1535"/>
              <a:gd name="T25" fmla="*/ 757 h 1109"/>
              <a:gd name="T26" fmla="*/ 467 w 1535"/>
              <a:gd name="T27" fmla="*/ 705 h 1109"/>
              <a:gd name="T28" fmla="*/ 450 w 1535"/>
              <a:gd name="T29" fmla="*/ 601 h 1109"/>
              <a:gd name="T30" fmla="*/ 352 w 1535"/>
              <a:gd name="T31" fmla="*/ 468 h 1109"/>
              <a:gd name="T32" fmla="*/ 304 w 1535"/>
              <a:gd name="T33" fmla="*/ 426 h 1109"/>
              <a:gd name="T34" fmla="*/ 293 w 1535"/>
              <a:gd name="T35" fmla="*/ 369 h 1109"/>
              <a:gd name="T36" fmla="*/ 217 w 1535"/>
              <a:gd name="T37" fmla="*/ 248 h 1109"/>
              <a:gd name="T38" fmla="*/ 167 w 1535"/>
              <a:gd name="T39" fmla="*/ 74 h 1109"/>
              <a:gd name="T40" fmla="*/ 84 w 1535"/>
              <a:gd name="T41" fmla="*/ 104 h 1109"/>
              <a:gd name="T42" fmla="*/ 113 w 1535"/>
              <a:gd name="T43" fmla="*/ 222 h 1109"/>
              <a:gd name="T44" fmla="*/ 150 w 1535"/>
              <a:gd name="T45" fmla="*/ 326 h 1109"/>
              <a:gd name="T46" fmla="*/ 196 w 1535"/>
              <a:gd name="T47" fmla="*/ 402 h 1109"/>
              <a:gd name="T48" fmla="*/ 200 w 1535"/>
              <a:gd name="T49" fmla="*/ 465 h 1109"/>
              <a:gd name="T50" fmla="*/ 213 w 1535"/>
              <a:gd name="T51" fmla="*/ 524 h 1109"/>
              <a:gd name="T52" fmla="*/ 259 w 1535"/>
              <a:gd name="T53" fmla="*/ 571 h 1109"/>
              <a:gd name="T54" fmla="*/ 214 w 1535"/>
              <a:gd name="T55" fmla="*/ 596 h 1109"/>
              <a:gd name="T56" fmla="*/ 193 w 1535"/>
              <a:gd name="T57" fmla="*/ 542 h 1109"/>
              <a:gd name="T58" fmla="*/ 120 w 1535"/>
              <a:gd name="T59" fmla="*/ 474 h 1109"/>
              <a:gd name="T60" fmla="*/ 146 w 1535"/>
              <a:gd name="T61" fmla="*/ 420 h 1109"/>
              <a:gd name="T62" fmla="*/ 89 w 1535"/>
              <a:gd name="T63" fmla="*/ 366 h 1109"/>
              <a:gd name="T64" fmla="*/ 27 w 1535"/>
              <a:gd name="T65" fmla="*/ 307 h 1109"/>
              <a:gd name="T66" fmla="*/ 65 w 1535"/>
              <a:gd name="T67" fmla="*/ 289 h 1109"/>
              <a:gd name="T68" fmla="*/ 64 w 1535"/>
              <a:gd name="T69" fmla="*/ 225 h 1109"/>
              <a:gd name="T70" fmla="*/ 6 w 1535"/>
              <a:gd name="T71" fmla="*/ 117 h 1109"/>
              <a:gd name="T72" fmla="*/ 38 w 1535"/>
              <a:gd name="T73" fmla="*/ 5 h 1109"/>
              <a:gd name="T74" fmla="*/ 211 w 1535"/>
              <a:gd name="T75" fmla="*/ 18 h 1109"/>
              <a:gd name="T76" fmla="*/ 361 w 1535"/>
              <a:gd name="T77" fmla="*/ 76 h 1109"/>
              <a:gd name="T78" fmla="*/ 498 w 1535"/>
              <a:gd name="T79" fmla="*/ 55 h 1109"/>
              <a:gd name="T80" fmla="*/ 593 w 1535"/>
              <a:gd name="T81" fmla="*/ 54 h 1109"/>
              <a:gd name="T82" fmla="*/ 633 w 1535"/>
              <a:gd name="T83" fmla="*/ 110 h 1109"/>
              <a:gd name="T84" fmla="*/ 700 w 1535"/>
              <a:gd name="T85" fmla="*/ 215 h 1109"/>
              <a:gd name="T86" fmla="*/ 750 w 1535"/>
              <a:gd name="T87" fmla="*/ 192 h 1109"/>
              <a:gd name="T88" fmla="*/ 822 w 1535"/>
              <a:gd name="T89" fmla="*/ 176 h 1109"/>
              <a:gd name="T90" fmla="*/ 879 w 1535"/>
              <a:gd name="T91" fmla="*/ 244 h 1109"/>
              <a:gd name="T92" fmla="*/ 905 w 1535"/>
              <a:gd name="T93" fmla="*/ 362 h 1109"/>
              <a:gd name="T94" fmla="*/ 964 w 1535"/>
              <a:gd name="T95" fmla="*/ 405 h 1109"/>
              <a:gd name="T96" fmla="*/ 977 w 1535"/>
              <a:gd name="T97" fmla="*/ 456 h 1109"/>
              <a:gd name="T98" fmla="*/ 931 w 1535"/>
              <a:gd name="T99" fmla="*/ 492 h 1109"/>
              <a:gd name="T100" fmla="*/ 917 w 1535"/>
              <a:gd name="T101" fmla="*/ 634 h 1109"/>
              <a:gd name="T102" fmla="*/ 956 w 1535"/>
              <a:gd name="T103" fmla="*/ 791 h 1109"/>
              <a:gd name="T104" fmla="*/ 1054 w 1535"/>
              <a:gd name="T105" fmla="*/ 877 h 1109"/>
              <a:gd name="T106" fmla="*/ 1166 w 1535"/>
              <a:gd name="T107" fmla="*/ 849 h 1109"/>
              <a:gd name="T108" fmla="*/ 1249 w 1535"/>
              <a:gd name="T109" fmla="*/ 850 h 1109"/>
              <a:gd name="T110" fmla="*/ 1296 w 1535"/>
              <a:gd name="T111" fmla="*/ 742 h 1109"/>
              <a:gd name="T112" fmla="*/ 1336 w 1535"/>
              <a:gd name="T113" fmla="*/ 693 h 1109"/>
              <a:gd name="T114" fmla="*/ 1506 w 1535"/>
              <a:gd name="T115" fmla="*/ 678 h 1109"/>
              <a:gd name="T116" fmla="*/ 1503 w 1535"/>
              <a:gd name="T117" fmla="*/ 729 h 1109"/>
              <a:gd name="T118" fmla="*/ 1468 w 1535"/>
              <a:gd name="T119" fmla="*/ 821 h 1109"/>
              <a:gd name="T120" fmla="*/ 1369 w 1535"/>
              <a:gd name="T121" fmla="*/ 888 h 11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535" h="1109">
                <a:moveTo>
                  <a:pt x="1336" y="888"/>
                </a:moveTo>
                <a:lnTo>
                  <a:pt x="1319" y="891"/>
                </a:lnTo>
                <a:lnTo>
                  <a:pt x="1287" y="901"/>
                </a:lnTo>
                <a:lnTo>
                  <a:pt x="1270" y="907"/>
                </a:lnTo>
                <a:lnTo>
                  <a:pt x="1256" y="913"/>
                </a:lnTo>
                <a:lnTo>
                  <a:pt x="1251" y="916"/>
                </a:lnTo>
                <a:lnTo>
                  <a:pt x="1246" y="919"/>
                </a:lnTo>
                <a:lnTo>
                  <a:pt x="1244" y="922"/>
                </a:lnTo>
                <a:lnTo>
                  <a:pt x="1243" y="925"/>
                </a:lnTo>
                <a:lnTo>
                  <a:pt x="1243" y="929"/>
                </a:lnTo>
                <a:lnTo>
                  <a:pt x="1244" y="933"/>
                </a:lnTo>
                <a:lnTo>
                  <a:pt x="1246" y="937"/>
                </a:lnTo>
                <a:lnTo>
                  <a:pt x="1248" y="940"/>
                </a:lnTo>
                <a:lnTo>
                  <a:pt x="1255" y="946"/>
                </a:lnTo>
                <a:lnTo>
                  <a:pt x="1263" y="951"/>
                </a:lnTo>
                <a:lnTo>
                  <a:pt x="1282" y="961"/>
                </a:lnTo>
                <a:lnTo>
                  <a:pt x="1302" y="973"/>
                </a:lnTo>
                <a:lnTo>
                  <a:pt x="1299" y="982"/>
                </a:lnTo>
                <a:lnTo>
                  <a:pt x="1294" y="988"/>
                </a:lnTo>
                <a:lnTo>
                  <a:pt x="1289" y="993"/>
                </a:lnTo>
                <a:lnTo>
                  <a:pt x="1282" y="996"/>
                </a:lnTo>
                <a:lnTo>
                  <a:pt x="1275" y="998"/>
                </a:lnTo>
                <a:lnTo>
                  <a:pt x="1267" y="999"/>
                </a:lnTo>
                <a:lnTo>
                  <a:pt x="1258" y="999"/>
                </a:lnTo>
                <a:lnTo>
                  <a:pt x="1251" y="999"/>
                </a:lnTo>
                <a:lnTo>
                  <a:pt x="1234" y="999"/>
                </a:lnTo>
                <a:lnTo>
                  <a:pt x="1220" y="999"/>
                </a:lnTo>
                <a:lnTo>
                  <a:pt x="1213" y="1000"/>
                </a:lnTo>
                <a:lnTo>
                  <a:pt x="1209" y="1002"/>
                </a:lnTo>
                <a:lnTo>
                  <a:pt x="1204" y="1006"/>
                </a:lnTo>
                <a:lnTo>
                  <a:pt x="1203" y="1011"/>
                </a:lnTo>
                <a:lnTo>
                  <a:pt x="1193" y="1036"/>
                </a:lnTo>
                <a:lnTo>
                  <a:pt x="1185" y="1058"/>
                </a:lnTo>
                <a:lnTo>
                  <a:pt x="1181" y="1069"/>
                </a:lnTo>
                <a:lnTo>
                  <a:pt x="1178" y="1080"/>
                </a:lnTo>
                <a:lnTo>
                  <a:pt x="1177" y="1095"/>
                </a:lnTo>
                <a:lnTo>
                  <a:pt x="1176" y="1109"/>
                </a:lnTo>
                <a:lnTo>
                  <a:pt x="1165" y="1100"/>
                </a:lnTo>
                <a:lnTo>
                  <a:pt x="1153" y="1091"/>
                </a:lnTo>
                <a:lnTo>
                  <a:pt x="1141" y="1081"/>
                </a:lnTo>
                <a:lnTo>
                  <a:pt x="1130" y="1072"/>
                </a:lnTo>
                <a:lnTo>
                  <a:pt x="1112" y="1051"/>
                </a:lnTo>
                <a:lnTo>
                  <a:pt x="1090" y="1026"/>
                </a:lnTo>
                <a:lnTo>
                  <a:pt x="1078" y="1015"/>
                </a:lnTo>
                <a:lnTo>
                  <a:pt x="1065" y="1006"/>
                </a:lnTo>
                <a:lnTo>
                  <a:pt x="1058" y="1003"/>
                </a:lnTo>
                <a:lnTo>
                  <a:pt x="1052" y="1001"/>
                </a:lnTo>
                <a:lnTo>
                  <a:pt x="1044" y="999"/>
                </a:lnTo>
                <a:lnTo>
                  <a:pt x="1036" y="998"/>
                </a:lnTo>
                <a:lnTo>
                  <a:pt x="1028" y="999"/>
                </a:lnTo>
                <a:lnTo>
                  <a:pt x="1019" y="1000"/>
                </a:lnTo>
                <a:lnTo>
                  <a:pt x="1011" y="1002"/>
                </a:lnTo>
                <a:lnTo>
                  <a:pt x="1006" y="1005"/>
                </a:lnTo>
                <a:lnTo>
                  <a:pt x="994" y="1012"/>
                </a:lnTo>
                <a:lnTo>
                  <a:pt x="984" y="1020"/>
                </a:lnTo>
                <a:lnTo>
                  <a:pt x="974" y="1027"/>
                </a:lnTo>
                <a:lnTo>
                  <a:pt x="962" y="1035"/>
                </a:lnTo>
                <a:lnTo>
                  <a:pt x="955" y="1038"/>
                </a:lnTo>
                <a:lnTo>
                  <a:pt x="949" y="1040"/>
                </a:lnTo>
                <a:lnTo>
                  <a:pt x="940" y="1041"/>
                </a:lnTo>
                <a:lnTo>
                  <a:pt x="930" y="1042"/>
                </a:lnTo>
                <a:lnTo>
                  <a:pt x="922" y="1041"/>
                </a:lnTo>
                <a:lnTo>
                  <a:pt x="913" y="1039"/>
                </a:lnTo>
                <a:lnTo>
                  <a:pt x="902" y="1037"/>
                </a:lnTo>
                <a:lnTo>
                  <a:pt x="891" y="1032"/>
                </a:lnTo>
                <a:lnTo>
                  <a:pt x="868" y="1023"/>
                </a:lnTo>
                <a:lnTo>
                  <a:pt x="845" y="1011"/>
                </a:lnTo>
                <a:lnTo>
                  <a:pt x="823" y="999"/>
                </a:lnTo>
                <a:lnTo>
                  <a:pt x="805" y="987"/>
                </a:lnTo>
                <a:lnTo>
                  <a:pt x="797" y="982"/>
                </a:lnTo>
                <a:lnTo>
                  <a:pt x="790" y="976"/>
                </a:lnTo>
                <a:lnTo>
                  <a:pt x="786" y="971"/>
                </a:lnTo>
                <a:lnTo>
                  <a:pt x="784" y="967"/>
                </a:lnTo>
                <a:lnTo>
                  <a:pt x="731" y="973"/>
                </a:lnTo>
                <a:lnTo>
                  <a:pt x="714" y="962"/>
                </a:lnTo>
                <a:lnTo>
                  <a:pt x="697" y="953"/>
                </a:lnTo>
                <a:lnTo>
                  <a:pt x="680" y="945"/>
                </a:lnTo>
                <a:lnTo>
                  <a:pt x="658" y="937"/>
                </a:lnTo>
                <a:lnTo>
                  <a:pt x="653" y="932"/>
                </a:lnTo>
                <a:lnTo>
                  <a:pt x="650" y="925"/>
                </a:lnTo>
                <a:lnTo>
                  <a:pt x="648" y="917"/>
                </a:lnTo>
                <a:lnTo>
                  <a:pt x="644" y="910"/>
                </a:lnTo>
                <a:lnTo>
                  <a:pt x="642" y="904"/>
                </a:lnTo>
                <a:lnTo>
                  <a:pt x="639" y="898"/>
                </a:lnTo>
                <a:lnTo>
                  <a:pt x="638" y="896"/>
                </a:lnTo>
                <a:lnTo>
                  <a:pt x="636" y="895"/>
                </a:lnTo>
                <a:lnTo>
                  <a:pt x="633" y="894"/>
                </a:lnTo>
                <a:lnTo>
                  <a:pt x="631" y="894"/>
                </a:lnTo>
                <a:lnTo>
                  <a:pt x="607" y="887"/>
                </a:lnTo>
                <a:lnTo>
                  <a:pt x="588" y="883"/>
                </a:lnTo>
                <a:lnTo>
                  <a:pt x="575" y="882"/>
                </a:lnTo>
                <a:lnTo>
                  <a:pt x="565" y="880"/>
                </a:lnTo>
                <a:lnTo>
                  <a:pt x="561" y="879"/>
                </a:lnTo>
                <a:lnTo>
                  <a:pt x="558" y="877"/>
                </a:lnTo>
                <a:lnTo>
                  <a:pt x="554" y="874"/>
                </a:lnTo>
                <a:lnTo>
                  <a:pt x="551" y="870"/>
                </a:lnTo>
                <a:lnTo>
                  <a:pt x="546" y="857"/>
                </a:lnTo>
                <a:lnTo>
                  <a:pt x="538" y="838"/>
                </a:lnTo>
                <a:lnTo>
                  <a:pt x="537" y="835"/>
                </a:lnTo>
                <a:lnTo>
                  <a:pt x="535" y="833"/>
                </a:lnTo>
                <a:lnTo>
                  <a:pt x="532" y="831"/>
                </a:lnTo>
                <a:lnTo>
                  <a:pt x="530" y="829"/>
                </a:lnTo>
                <a:lnTo>
                  <a:pt x="524" y="828"/>
                </a:lnTo>
                <a:lnTo>
                  <a:pt x="517" y="828"/>
                </a:lnTo>
                <a:lnTo>
                  <a:pt x="509" y="828"/>
                </a:lnTo>
                <a:lnTo>
                  <a:pt x="501" y="828"/>
                </a:lnTo>
                <a:lnTo>
                  <a:pt x="493" y="828"/>
                </a:lnTo>
                <a:lnTo>
                  <a:pt x="485" y="826"/>
                </a:lnTo>
                <a:lnTo>
                  <a:pt x="480" y="822"/>
                </a:lnTo>
                <a:lnTo>
                  <a:pt x="472" y="816"/>
                </a:lnTo>
                <a:lnTo>
                  <a:pt x="464" y="806"/>
                </a:lnTo>
                <a:lnTo>
                  <a:pt x="457" y="796"/>
                </a:lnTo>
                <a:lnTo>
                  <a:pt x="450" y="784"/>
                </a:lnTo>
                <a:lnTo>
                  <a:pt x="445" y="773"/>
                </a:lnTo>
                <a:lnTo>
                  <a:pt x="442" y="768"/>
                </a:lnTo>
                <a:lnTo>
                  <a:pt x="440" y="762"/>
                </a:lnTo>
                <a:lnTo>
                  <a:pt x="439" y="757"/>
                </a:lnTo>
                <a:lnTo>
                  <a:pt x="439" y="751"/>
                </a:lnTo>
                <a:lnTo>
                  <a:pt x="439" y="747"/>
                </a:lnTo>
                <a:lnTo>
                  <a:pt x="440" y="743"/>
                </a:lnTo>
                <a:lnTo>
                  <a:pt x="441" y="739"/>
                </a:lnTo>
                <a:lnTo>
                  <a:pt x="443" y="735"/>
                </a:lnTo>
                <a:lnTo>
                  <a:pt x="449" y="728"/>
                </a:lnTo>
                <a:lnTo>
                  <a:pt x="456" y="720"/>
                </a:lnTo>
                <a:lnTo>
                  <a:pt x="461" y="713"/>
                </a:lnTo>
                <a:lnTo>
                  <a:pt x="467" y="705"/>
                </a:lnTo>
                <a:lnTo>
                  <a:pt x="469" y="700"/>
                </a:lnTo>
                <a:lnTo>
                  <a:pt x="471" y="694"/>
                </a:lnTo>
                <a:lnTo>
                  <a:pt x="472" y="689"/>
                </a:lnTo>
                <a:lnTo>
                  <a:pt x="472" y="684"/>
                </a:lnTo>
                <a:lnTo>
                  <a:pt x="471" y="664"/>
                </a:lnTo>
                <a:lnTo>
                  <a:pt x="468" y="647"/>
                </a:lnTo>
                <a:lnTo>
                  <a:pt x="463" y="630"/>
                </a:lnTo>
                <a:lnTo>
                  <a:pt x="457" y="615"/>
                </a:lnTo>
                <a:lnTo>
                  <a:pt x="450" y="601"/>
                </a:lnTo>
                <a:lnTo>
                  <a:pt x="441" y="589"/>
                </a:lnTo>
                <a:lnTo>
                  <a:pt x="431" y="576"/>
                </a:lnTo>
                <a:lnTo>
                  <a:pt x="423" y="565"/>
                </a:lnTo>
                <a:lnTo>
                  <a:pt x="402" y="543"/>
                </a:lnTo>
                <a:lnTo>
                  <a:pt x="382" y="520"/>
                </a:lnTo>
                <a:lnTo>
                  <a:pt x="373" y="509"/>
                </a:lnTo>
                <a:lnTo>
                  <a:pt x="366" y="496"/>
                </a:lnTo>
                <a:lnTo>
                  <a:pt x="358" y="483"/>
                </a:lnTo>
                <a:lnTo>
                  <a:pt x="352" y="468"/>
                </a:lnTo>
                <a:lnTo>
                  <a:pt x="350" y="464"/>
                </a:lnTo>
                <a:lnTo>
                  <a:pt x="348" y="460"/>
                </a:lnTo>
                <a:lnTo>
                  <a:pt x="345" y="456"/>
                </a:lnTo>
                <a:lnTo>
                  <a:pt x="341" y="453"/>
                </a:lnTo>
                <a:lnTo>
                  <a:pt x="333" y="447"/>
                </a:lnTo>
                <a:lnTo>
                  <a:pt x="324" y="441"/>
                </a:lnTo>
                <a:lnTo>
                  <a:pt x="314" y="435"/>
                </a:lnTo>
                <a:lnTo>
                  <a:pt x="306" y="429"/>
                </a:lnTo>
                <a:lnTo>
                  <a:pt x="304" y="426"/>
                </a:lnTo>
                <a:lnTo>
                  <a:pt x="301" y="422"/>
                </a:lnTo>
                <a:lnTo>
                  <a:pt x="300" y="417"/>
                </a:lnTo>
                <a:lnTo>
                  <a:pt x="300" y="413"/>
                </a:lnTo>
                <a:lnTo>
                  <a:pt x="306" y="404"/>
                </a:lnTo>
                <a:lnTo>
                  <a:pt x="313" y="394"/>
                </a:lnTo>
                <a:lnTo>
                  <a:pt x="306" y="391"/>
                </a:lnTo>
                <a:lnTo>
                  <a:pt x="300" y="388"/>
                </a:lnTo>
                <a:lnTo>
                  <a:pt x="297" y="380"/>
                </a:lnTo>
                <a:lnTo>
                  <a:pt x="293" y="369"/>
                </a:lnTo>
                <a:lnTo>
                  <a:pt x="286" y="356"/>
                </a:lnTo>
                <a:lnTo>
                  <a:pt x="279" y="344"/>
                </a:lnTo>
                <a:lnTo>
                  <a:pt x="262" y="321"/>
                </a:lnTo>
                <a:lnTo>
                  <a:pt x="252" y="308"/>
                </a:lnTo>
                <a:lnTo>
                  <a:pt x="245" y="291"/>
                </a:lnTo>
                <a:lnTo>
                  <a:pt x="238" y="278"/>
                </a:lnTo>
                <a:lnTo>
                  <a:pt x="230" y="267"/>
                </a:lnTo>
                <a:lnTo>
                  <a:pt x="224" y="258"/>
                </a:lnTo>
                <a:lnTo>
                  <a:pt x="217" y="248"/>
                </a:lnTo>
                <a:lnTo>
                  <a:pt x="211" y="239"/>
                </a:lnTo>
                <a:lnTo>
                  <a:pt x="205" y="228"/>
                </a:lnTo>
                <a:lnTo>
                  <a:pt x="200" y="216"/>
                </a:lnTo>
                <a:lnTo>
                  <a:pt x="193" y="195"/>
                </a:lnTo>
                <a:lnTo>
                  <a:pt x="187" y="176"/>
                </a:lnTo>
                <a:lnTo>
                  <a:pt x="182" y="158"/>
                </a:lnTo>
                <a:lnTo>
                  <a:pt x="178" y="140"/>
                </a:lnTo>
                <a:lnTo>
                  <a:pt x="171" y="107"/>
                </a:lnTo>
                <a:lnTo>
                  <a:pt x="167" y="74"/>
                </a:lnTo>
                <a:lnTo>
                  <a:pt x="155" y="74"/>
                </a:lnTo>
                <a:lnTo>
                  <a:pt x="146" y="73"/>
                </a:lnTo>
                <a:lnTo>
                  <a:pt x="138" y="71"/>
                </a:lnTo>
                <a:lnTo>
                  <a:pt x="132" y="69"/>
                </a:lnTo>
                <a:lnTo>
                  <a:pt x="120" y="64"/>
                </a:lnTo>
                <a:lnTo>
                  <a:pt x="106" y="56"/>
                </a:lnTo>
                <a:lnTo>
                  <a:pt x="97" y="74"/>
                </a:lnTo>
                <a:lnTo>
                  <a:pt x="89" y="94"/>
                </a:lnTo>
                <a:lnTo>
                  <a:pt x="84" y="104"/>
                </a:lnTo>
                <a:lnTo>
                  <a:pt x="82" y="114"/>
                </a:lnTo>
                <a:lnTo>
                  <a:pt x="80" y="124"/>
                </a:lnTo>
                <a:lnTo>
                  <a:pt x="80" y="135"/>
                </a:lnTo>
                <a:lnTo>
                  <a:pt x="81" y="148"/>
                </a:lnTo>
                <a:lnTo>
                  <a:pt x="83" y="160"/>
                </a:lnTo>
                <a:lnTo>
                  <a:pt x="87" y="171"/>
                </a:lnTo>
                <a:lnTo>
                  <a:pt x="90" y="182"/>
                </a:lnTo>
                <a:lnTo>
                  <a:pt x="101" y="203"/>
                </a:lnTo>
                <a:lnTo>
                  <a:pt x="113" y="222"/>
                </a:lnTo>
                <a:lnTo>
                  <a:pt x="125" y="241"/>
                </a:lnTo>
                <a:lnTo>
                  <a:pt x="136" y="263"/>
                </a:lnTo>
                <a:lnTo>
                  <a:pt x="140" y="273"/>
                </a:lnTo>
                <a:lnTo>
                  <a:pt x="144" y="284"/>
                </a:lnTo>
                <a:lnTo>
                  <a:pt x="146" y="296"/>
                </a:lnTo>
                <a:lnTo>
                  <a:pt x="146" y="308"/>
                </a:lnTo>
                <a:lnTo>
                  <a:pt x="147" y="314"/>
                </a:lnTo>
                <a:lnTo>
                  <a:pt x="148" y="320"/>
                </a:lnTo>
                <a:lnTo>
                  <a:pt x="150" y="326"/>
                </a:lnTo>
                <a:lnTo>
                  <a:pt x="154" y="332"/>
                </a:lnTo>
                <a:lnTo>
                  <a:pt x="161" y="344"/>
                </a:lnTo>
                <a:lnTo>
                  <a:pt x="170" y="355"/>
                </a:lnTo>
                <a:lnTo>
                  <a:pt x="178" y="366"/>
                </a:lnTo>
                <a:lnTo>
                  <a:pt x="185" y="375"/>
                </a:lnTo>
                <a:lnTo>
                  <a:pt x="191" y="383"/>
                </a:lnTo>
                <a:lnTo>
                  <a:pt x="193" y="388"/>
                </a:lnTo>
                <a:lnTo>
                  <a:pt x="195" y="395"/>
                </a:lnTo>
                <a:lnTo>
                  <a:pt x="196" y="402"/>
                </a:lnTo>
                <a:lnTo>
                  <a:pt x="196" y="409"/>
                </a:lnTo>
                <a:lnTo>
                  <a:pt x="198" y="415"/>
                </a:lnTo>
                <a:lnTo>
                  <a:pt x="196" y="429"/>
                </a:lnTo>
                <a:lnTo>
                  <a:pt x="195" y="441"/>
                </a:lnTo>
                <a:lnTo>
                  <a:pt x="195" y="446"/>
                </a:lnTo>
                <a:lnTo>
                  <a:pt x="195" y="452"/>
                </a:lnTo>
                <a:lnTo>
                  <a:pt x="196" y="456"/>
                </a:lnTo>
                <a:lnTo>
                  <a:pt x="198" y="461"/>
                </a:lnTo>
                <a:lnTo>
                  <a:pt x="200" y="465"/>
                </a:lnTo>
                <a:lnTo>
                  <a:pt x="203" y="469"/>
                </a:lnTo>
                <a:lnTo>
                  <a:pt x="207" y="472"/>
                </a:lnTo>
                <a:lnTo>
                  <a:pt x="213" y="474"/>
                </a:lnTo>
                <a:lnTo>
                  <a:pt x="211" y="483"/>
                </a:lnTo>
                <a:lnTo>
                  <a:pt x="210" y="489"/>
                </a:lnTo>
                <a:lnTo>
                  <a:pt x="210" y="495"/>
                </a:lnTo>
                <a:lnTo>
                  <a:pt x="211" y="499"/>
                </a:lnTo>
                <a:lnTo>
                  <a:pt x="212" y="509"/>
                </a:lnTo>
                <a:lnTo>
                  <a:pt x="213" y="524"/>
                </a:lnTo>
                <a:lnTo>
                  <a:pt x="221" y="525"/>
                </a:lnTo>
                <a:lnTo>
                  <a:pt x="228" y="528"/>
                </a:lnTo>
                <a:lnTo>
                  <a:pt x="236" y="533"/>
                </a:lnTo>
                <a:lnTo>
                  <a:pt x="244" y="539"/>
                </a:lnTo>
                <a:lnTo>
                  <a:pt x="250" y="546"/>
                </a:lnTo>
                <a:lnTo>
                  <a:pt x="255" y="553"/>
                </a:lnTo>
                <a:lnTo>
                  <a:pt x="258" y="560"/>
                </a:lnTo>
                <a:lnTo>
                  <a:pt x="259" y="567"/>
                </a:lnTo>
                <a:lnTo>
                  <a:pt x="259" y="571"/>
                </a:lnTo>
                <a:lnTo>
                  <a:pt x="258" y="575"/>
                </a:lnTo>
                <a:lnTo>
                  <a:pt x="257" y="579"/>
                </a:lnTo>
                <a:lnTo>
                  <a:pt x="255" y="583"/>
                </a:lnTo>
                <a:lnTo>
                  <a:pt x="250" y="590"/>
                </a:lnTo>
                <a:lnTo>
                  <a:pt x="245" y="596"/>
                </a:lnTo>
                <a:lnTo>
                  <a:pt x="232" y="604"/>
                </a:lnTo>
                <a:lnTo>
                  <a:pt x="219" y="610"/>
                </a:lnTo>
                <a:lnTo>
                  <a:pt x="216" y="603"/>
                </a:lnTo>
                <a:lnTo>
                  <a:pt x="214" y="596"/>
                </a:lnTo>
                <a:lnTo>
                  <a:pt x="213" y="587"/>
                </a:lnTo>
                <a:lnTo>
                  <a:pt x="213" y="580"/>
                </a:lnTo>
                <a:lnTo>
                  <a:pt x="213" y="573"/>
                </a:lnTo>
                <a:lnTo>
                  <a:pt x="212" y="566"/>
                </a:lnTo>
                <a:lnTo>
                  <a:pt x="210" y="560"/>
                </a:lnTo>
                <a:lnTo>
                  <a:pt x="206" y="555"/>
                </a:lnTo>
                <a:lnTo>
                  <a:pt x="203" y="550"/>
                </a:lnTo>
                <a:lnTo>
                  <a:pt x="199" y="546"/>
                </a:lnTo>
                <a:lnTo>
                  <a:pt x="193" y="542"/>
                </a:lnTo>
                <a:lnTo>
                  <a:pt x="188" y="537"/>
                </a:lnTo>
                <a:lnTo>
                  <a:pt x="173" y="528"/>
                </a:lnTo>
                <a:lnTo>
                  <a:pt x="158" y="519"/>
                </a:lnTo>
                <a:lnTo>
                  <a:pt x="144" y="510"/>
                </a:lnTo>
                <a:lnTo>
                  <a:pt x="132" y="499"/>
                </a:lnTo>
                <a:lnTo>
                  <a:pt x="126" y="494"/>
                </a:lnTo>
                <a:lnTo>
                  <a:pt x="123" y="488"/>
                </a:lnTo>
                <a:lnTo>
                  <a:pt x="121" y="482"/>
                </a:lnTo>
                <a:lnTo>
                  <a:pt x="120" y="474"/>
                </a:lnTo>
                <a:lnTo>
                  <a:pt x="121" y="468"/>
                </a:lnTo>
                <a:lnTo>
                  <a:pt x="124" y="461"/>
                </a:lnTo>
                <a:lnTo>
                  <a:pt x="128" y="456"/>
                </a:lnTo>
                <a:lnTo>
                  <a:pt x="133" y="450"/>
                </a:lnTo>
                <a:lnTo>
                  <a:pt x="138" y="444"/>
                </a:lnTo>
                <a:lnTo>
                  <a:pt x="143" y="438"/>
                </a:lnTo>
                <a:lnTo>
                  <a:pt x="145" y="432"/>
                </a:lnTo>
                <a:lnTo>
                  <a:pt x="146" y="426"/>
                </a:lnTo>
                <a:lnTo>
                  <a:pt x="146" y="420"/>
                </a:lnTo>
                <a:lnTo>
                  <a:pt x="145" y="415"/>
                </a:lnTo>
                <a:lnTo>
                  <a:pt x="144" y="411"/>
                </a:lnTo>
                <a:lnTo>
                  <a:pt x="142" y="406"/>
                </a:lnTo>
                <a:lnTo>
                  <a:pt x="136" y="399"/>
                </a:lnTo>
                <a:lnTo>
                  <a:pt x="128" y="391"/>
                </a:lnTo>
                <a:lnTo>
                  <a:pt x="120" y="385"/>
                </a:lnTo>
                <a:lnTo>
                  <a:pt x="111" y="378"/>
                </a:lnTo>
                <a:lnTo>
                  <a:pt x="100" y="372"/>
                </a:lnTo>
                <a:lnTo>
                  <a:pt x="89" y="366"/>
                </a:lnTo>
                <a:lnTo>
                  <a:pt x="78" y="359"/>
                </a:lnTo>
                <a:lnTo>
                  <a:pt x="68" y="353"/>
                </a:lnTo>
                <a:lnTo>
                  <a:pt x="57" y="347"/>
                </a:lnTo>
                <a:lnTo>
                  <a:pt x="48" y="339"/>
                </a:lnTo>
                <a:lnTo>
                  <a:pt x="41" y="332"/>
                </a:lnTo>
                <a:lnTo>
                  <a:pt x="34" y="323"/>
                </a:lnTo>
                <a:lnTo>
                  <a:pt x="32" y="318"/>
                </a:lnTo>
                <a:lnTo>
                  <a:pt x="30" y="313"/>
                </a:lnTo>
                <a:lnTo>
                  <a:pt x="27" y="307"/>
                </a:lnTo>
                <a:lnTo>
                  <a:pt x="27" y="302"/>
                </a:lnTo>
                <a:lnTo>
                  <a:pt x="34" y="302"/>
                </a:lnTo>
                <a:lnTo>
                  <a:pt x="41" y="301"/>
                </a:lnTo>
                <a:lnTo>
                  <a:pt x="46" y="300"/>
                </a:lnTo>
                <a:lnTo>
                  <a:pt x="50" y="298"/>
                </a:lnTo>
                <a:lnTo>
                  <a:pt x="55" y="297"/>
                </a:lnTo>
                <a:lnTo>
                  <a:pt x="59" y="294"/>
                </a:lnTo>
                <a:lnTo>
                  <a:pt x="62" y="292"/>
                </a:lnTo>
                <a:lnTo>
                  <a:pt x="65" y="289"/>
                </a:lnTo>
                <a:lnTo>
                  <a:pt x="69" y="282"/>
                </a:lnTo>
                <a:lnTo>
                  <a:pt x="71" y="274"/>
                </a:lnTo>
                <a:lnTo>
                  <a:pt x="73" y="264"/>
                </a:lnTo>
                <a:lnTo>
                  <a:pt x="73" y="252"/>
                </a:lnTo>
                <a:lnTo>
                  <a:pt x="73" y="247"/>
                </a:lnTo>
                <a:lnTo>
                  <a:pt x="72" y="242"/>
                </a:lnTo>
                <a:lnTo>
                  <a:pt x="71" y="237"/>
                </a:lnTo>
                <a:lnTo>
                  <a:pt x="69" y="233"/>
                </a:lnTo>
                <a:lnTo>
                  <a:pt x="64" y="225"/>
                </a:lnTo>
                <a:lnTo>
                  <a:pt x="58" y="217"/>
                </a:lnTo>
                <a:lnTo>
                  <a:pt x="43" y="205"/>
                </a:lnTo>
                <a:lnTo>
                  <a:pt x="27" y="191"/>
                </a:lnTo>
                <a:lnTo>
                  <a:pt x="19" y="176"/>
                </a:lnTo>
                <a:lnTo>
                  <a:pt x="13" y="163"/>
                </a:lnTo>
                <a:lnTo>
                  <a:pt x="10" y="151"/>
                </a:lnTo>
                <a:lnTo>
                  <a:pt x="9" y="139"/>
                </a:lnTo>
                <a:lnTo>
                  <a:pt x="8" y="128"/>
                </a:lnTo>
                <a:lnTo>
                  <a:pt x="6" y="117"/>
                </a:lnTo>
                <a:lnTo>
                  <a:pt x="4" y="106"/>
                </a:lnTo>
                <a:lnTo>
                  <a:pt x="0" y="93"/>
                </a:lnTo>
                <a:lnTo>
                  <a:pt x="0" y="50"/>
                </a:lnTo>
                <a:lnTo>
                  <a:pt x="1" y="36"/>
                </a:lnTo>
                <a:lnTo>
                  <a:pt x="3" y="22"/>
                </a:lnTo>
                <a:lnTo>
                  <a:pt x="5" y="10"/>
                </a:lnTo>
                <a:lnTo>
                  <a:pt x="6" y="0"/>
                </a:lnTo>
                <a:lnTo>
                  <a:pt x="23" y="4"/>
                </a:lnTo>
                <a:lnTo>
                  <a:pt x="38" y="5"/>
                </a:lnTo>
                <a:lnTo>
                  <a:pt x="53" y="6"/>
                </a:lnTo>
                <a:lnTo>
                  <a:pt x="66" y="5"/>
                </a:lnTo>
                <a:lnTo>
                  <a:pt x="92" y="2"/>
                </a:lnTo>
                <a:lnTo>
                  <a:pt x="120" y="0"/>
                </a:lnTo>
                <a:lnTo>
                  <a:pt x="140" y="1"/>
                </a:lnTo>
                <a:lnTo>
                  <a:pt x="159" y="4"/>
                </a:lnTo>
                <a:lnTo>
                  <a:pt x="178" y="7"/>
                </a:lnTo>
                <a:lnTo>
                  <a:pt x="194" y="13"/>
                </a:lnTo>
                <a:lnTo>
                  <a:pt x="211" y="18"/>
                </a:lnTo>
                <a:lnTo>
                  <a:pt x="226" y="25"/>
                </a:lnTo>
                <a:lnTo>
                  <a:pt x="243" y="33"/>
                </a:lnTo>
                <a:lnTo>
                  <a:pt x="258" y="41"/>
                </a:lnTo>
                <a:lnTo>
                  <a:pt x="273" y="48"/>
                </a:lnTo>
                <a:lnTo>
                  <a:pt x="290" y="55"/>
                </a:lnTo>
                <a:lnTo>
                  <a:pt x="306" y="62"/>
                </a:lnTo>
                <a:lnTo>
                  <a:pt x="324" y="68"/>
                </a:lnTo>
                <a:lnTo>
                  <a:pt x="342" y="73"/>
                </a:lnTo>
                <a:lnTo>
                  <a:pt x="361" y="76"/>
                </a:lnTo>
                <a:lnTo>
                  <a:pt x="383" y="79"/>
                </a:lnTo>
                <a:lnTo>
                  <a:pt x="405" y="80"/>
                </a:lnTo>
                <a:lnTo>
                  <a:pt x="419" y="79"/>
                </a:lnTo>
                <a:lnTo>
                  <a:pt x="432" y="78"/>
                </a:lnTo>
                <a:lnTo>
                  <a:pt x="443" y="77"/>
                </a:lnTo>
                <a:lnTo>
                  <a:pt x="452" y="74"/>
                </a:lnTo>
                <a:lnTo>
                  <a:pt x="470" y="68"/>
                </a:lnTo>
                <a:lnTo>
                  <a:pt x="484" y="62"/>
                </a:lnTo>
                <a:lnTo>
                  <a:pt x="498" y="55"/>
                </a:lnTo>
                <a:lnTo>
                  <a:pt x="515" y="49"/>
                </a:lnTo>
                <a:lnTo>
                  <a:pt x="524" y="47"/>
                </a:lnTo>
                <a:lnTo>
                  <a:pt x="534" y="45"/>
                </a:lnTo>
                <a:lnTo>
                  <a:pt x="546" y="44"/>
                </a:lnTo>
                <a:lnTo>
                  <a:pt x="559" y="44"/>
                </a:lnTo>
                <a:lnTo>
                  <a:pt x="569" y="44"/>
                </a:lnTo>
                <a:lnTo>
                  <a:pt x="577" y="46"/>
                </a:lnTo>
                <a:lnTo>
                  <a:pt x="585" y="50"/>
                </a:lnTo>
                <a:lnTo>
                  <a:pt x="593" y="54"/>
                </a:lnTo>
                <a:lnTo>
                  <a:pt x="598" y="59"/>
                </a:lnTo>
                <a:lnTo>
                  <a:pt x="603" y="65"/>
                </a:lnTo>
                <a:lnTo>
                  <a:pt x="607" y="71"/>
                </a:lnTo>
                <a:lnTo>
                  <a:pt x="610" y="77"/>
                </a:lnTo>
                <a:lnTo>
                  <a:pt x="617" y="90"/>
                </a:lnTo>
                <a:lnTo>
                  <a:pt x="622" y="101"/>
                </a:lnTo>
                <a:lnTo>
                  <a:pt x="626" y="105"/>
                </a:lnTo>
                <a:lnTo>
                  <a:pt x="629" y="108"/>
                </a:lnTo>
                <a:lnTo>
                  <a:pt x="633" y="110"/>
                </a:lnTo>
                <a:lnTo>
                  <a:pt x="638" y="111"/>
                </a:lnTo>
                <a:lnTo>
                  <a:pt x="642" y="121"/>
                </a:lnTo>
                <a:lnTo>
                  <a:pt x="649" y="134"/>
                </a:lnTo>
                <a:lnTo>
                  <a:pt x="658" y="151"/>
                </a:lnTo>
                <a:lnTo>
                  <a:pt x="667" y="169"/>
                </a:lnTo>
                <a:lnTo>
                  <a:pt x="678" y="186"/>
                </a:lnTo>
                <a:lnTo>
                  <a:pt x="689" y="202"/>
                </a:lnTo>
                <a:lnTo>
                  <a:pt x="695" y="209"/>
                </a:lnTo>
                <a:lnTo>
                  <a:pt x="700" y="215"/>
                </a:lnTo>
                <a:lnTo>
                  <a:pt x="706" y="219"/>
                </a:lnTo>
                <a:lnTo>
                  <a:pt x="711" y="222"/>
                </a:lnTo>
                <a:lnTo>
                  <a:pt x="738" y="222"/>
                </a:lnTo>
                <a:lnTo>
                  <a:pt x="738" y="217"/>
                </a:lnTo>
                <a:lnTo>
                  <a:pt x="739" y="211"/>
                </a:lnTo>
                <a:lnTo>
                  <a:pt x="741" y="206"/>
                </a:lnTo>
                <a:lnTo>
                  <a:pt x="743" y="202"/>
                </a:lnTo>
                <a:lnTo>
                  <a:pt x="747" y="196"/>
                </a:lnTo>
                <a:lnTo>
                  <a:pt x="750" y="192"/>
                </a:lnTo>
                <a:lnTo>
                  <a:pt x="754" y="189"/>
                </a:lnTo>
                <a:lnTo>
                  <a:pt x="759" y="185"/>
                </a:lnTo>
                <a:lnTo>
                  <a:pt x="768" y="180"/>
                </a:lnTo>
                <a:lnTo>
                  <a:pt x="779" y="176"/>
                </a:lnTo>
                <a:lnTo>
                  <a:pt x="792" y="173"/>
                </a:lnTo>
                <a:lnTo>
                  <a:pt x="805" y="173"/>
                </a:lnTo>
                <a:lnTo>
                  <a:pt x="810" y="173"/>
                </a:lnTo>
                <a:lnTo>
                  <a:pt x="816" y="174"/>
                </a:lnTo>
                <a:lnTo>
                  <a:pt x="822" y="176"/>
                </a:lnTo>
                <a:lnTo>
                  <a:pt x="828" y="178"/>
                </a:lnTo>
                <a:lnTo>
                  <a:pt x="833" y="181"/>
                </a:lnTo>
                <a:lnTo>
                  <a:pt x="838" y="185"/>
                </a:lnTo>
                <a:lnTo>
                  <a:pt x="843" y="189"/>
                </a:lnTo>
                <a:lnTo>
                  <a:pt x="848" y="193"/>
                </a:lnTo>
                <a:lnTo>
                  <a:pt x="856" y="205"/>
                </a:lnTo>
                <a:lnTo>
                  <a:pt x="865" y="217"/>
                </a:lnTo>
                <a:lnTo>
                  <a:pt x="872" y="230"/>
                </a:lnTo>
                <a:lnTo>
                  <a:pt x="879" y="244"/>
                </a:lnTo>
                <a:lnTo>
                  <a:pt x="885" y="260"/>
                </a:lnTo>
                <a:lnTo>
                  <a:pt x="889" y="275"/>
                </a:lnTo>
                <a:lnTo>
                  <a:pt x="894" y="290"/>
                </a:lnTo>
                <a:lnTo>
                  <a:pt x="898" y="305"/>
                </a:lnTo>
                <a:lnTo>
                  <a:pt x="900" y="320"/>
                </a:lnTo>
                <a:lnTo>
                  <a:pt x="902" y="334"/>
                </a:lnTo>
                <a:lnTo>
                  <a:pt x="904" y="346"/>
                </a:lnTo>
                <a:lnTo>
                  <a:pt x="904" y="357"/>
                </a:lnTo>
                <a:lnTo>
                  <a:pt x="905" y="362"/>
                </a:lnTo>
                <a:lnTo>
                  <a:pt x="906" y="367"/>
                </a:lnTo>
                <a:lnTo>
                  <a:pt x="908" y="372"/>
                </a:lnTo>
                <a:lnTo>
                  <a:pt x="910" y="376"/>
                </a:lnTo>
                <a:lnTo>
                  <a:pt x="918" y="384"/>
                </a:lnTo>
                <a:lnTo>
                  <a:pt x="928" y="391"/>
                </a:lnTo>
                <a:lnTo>
                  <a:pt x="939" y="398"/>
                </a:lnTo>
                <a:lnTo>
                  <a:pt x="952" y="402"/>
                </a:lnTo>
                <a:lnTo>
                  <a:pt x="957" y="404"/>
                </a:lnTo>
                <a:lnTo>
                  <a:pt x="964" y="405"/>
                </a:lnTo>
                <a:lnTo>
                  <a:pt x="971" y="406"/>
                </a:lnTo>
                <a:lnTo>
                  <a:pt x="977" y="407"/>
                </a:lnTo>
                <a:lnTo>
                  <a:pt x="977" y="394"/>
                </a:lnTo>
                <a:lnTo>
                  <a:pt x="976" y="414"/>
                </a:lnTo>
                <a:lnTo>
                  <a:pt x="975" y="430"/>
                </a:lnTo>
                <a:lnTo>
                  <a:pt x="974" y="437"/>
                </a:lnTo>
                <a:lnTo>
                  <a:pt x="974" y="443"/>
                </a:lnTo>
                <a:lnTo>
                  <a:pt x="975" y="449"/>
                </a:lnTo>
                <a:lnTo>
                  <a:pt x="977" y="456"/>
                </a:lnTo>
                <a:lnTo>
                  <a:pt x="971" y="457"/>
                </a:lnTo>
                <a:lnTo>
                  <a:pt x="964" y="458"/>
                </a:lnTo>
                <a:lnTo>
                  <a:pt x="958" y="461"/>
                </a:lnTo>
                <a:lnTo>
                  <a:pt x="953" y="464"/>
                </a:lnTo>
                <a:lnTo>
                  <a:pt x="949" y="467"/>
                </a:lnTo>
                <a:lnTo>
                  <a:pt x="944" y="471"/>
                </a:lnTo>
                <a:lnTo>
                  <a:pt x="940" y="475"/>
                </a:lnTo>
                <a:lnTo>
                  <a:pt x="936" y="481"/>
                </a:lnTo>
                <a:lnTo>
                  <a:pt x="931" y="492"/>
                </a:lnTo>
                <a:lnTo>
                  <a:pt x="926" y="504"/>
                </a:lnTo>
                <a:lnTo>
                  <a:pt x="922" y="517"/>
                </a:lnTo>
                <a:lnTo>
                  <a:pt x="920" y="531"/>
                </a:lnTo>
                <a:lnTo>
                  <a:pt x="918" y="546"/>
                </a:lnTo>
                <a:lnTo>
                  <a:pt x="917" y="561"/>
                </a:lnTo>
                <a:lnTo>
                  <a:pt x="917" y="575"/>
                </a:lnTo>
                <a:lnTo>
                  <a:pt x="917" y="590"/>
                </a:lnTo>
                <a:lnTo>
                  <a:pt x="917" y="615"/>
                </a:lnTo>
                <a:lnTo>
                  <a:pt x="917" y="634"/>
                </a:lnTo>
                <a:lnTo>
                  <a:pt x="917" y="654"/>
                </a:lnTo>
                <a:lnTo>
                  <a:pt x="918" y="685"/>
                </a:lnTo>
                <a:lnTo>
                  <a:pt x="919" y="702"/>
                </a:lnTo>
                <a:lnTo>
                  <a:pt x="920" y="717"/>
                </a:lnTo>
                <a:lnTo>
                  <a:pt x="921" y="730"/>
                </a:lnTo>
                <a:lnTo>
                  <a:pt x="923" y="739"/>
                </a:lnTo>
                <a:lnTo>
                  <a:pt x="933" y="758"/>
                </a:lnTo>
                <a:lnTo>
                  <a:pt x="947" y="780"/>
                </a:lnTo>
                <a:lnTo>
                  <a:pt x="956" y="791"/>
                </a:lnTo>
                <a:lnTo>
                  <a:pt x="965" y="803"/>
                </a:lnTo>
                <a:lnTo>
                  <a:pt x="975" y="816"/>
                </a:lnTo>
                <a:lnTo>
                  <a:pt x="985" y="827"/>
                </a:lnTo>
                <a:lnTo>
                  <a:pt x="996" y="838"/>
                </a:lnTo>
                <a:lnTo>
                  <a:pt x="1007" y="848"/>
                </a:lnTo>
                <a:lnTo>
                  <a:pt x="1019" y="857"/>
                </a:lnTo>
                <a:lnTo>
                  <a:pt x="1030" y="865"/>
                </a:lnTo>
                <a:lnTo>
                  <a:pt x="1042" y="872"/>
                </a:lnTo>
                <a:lnTo>
                  <a:pt x="1054" y="877"/>
                </a:lnTo>
                <a:lnTo>
                  <a:pt x="1065" y="880"/>
                </a:lnTo>
                <a:lnTo>
                  <a:pt x="1077" y="881"/>
                </a:lnTo>
                <a:lnTo>
                  <a:pt x="1090" y="877"/>
                </a:lnTo>
                <a:lnTo>
                  <a:pt x="1114" y="865"/>
                </a:lnTo>
                <a:lnTo>
                  <a:pt x="1126" y="860"/>
                </a:lnTo>
                <a:lnTo>
                  <a:pt x="1140" y="855"/>
                </a:lnTo>
                <a:lnTo>
                  <a:pt x="1149" y="852"/>
                </a:lnTo>
                <a:lnTo>
                  <a:pt x="1156" y="850"/>
                </a:lnTo>
                <a:lnTo>
                  <a:pt x="1166" y="849"/>
                </a:lnTo>
                <a:lnTo>
                  <a:pt x="1178" y="849"/>
                </a:lnTo>
                <a:lnTo>
                  <a:pt x="1192" y="851"/>
                </a:lnTo>
                <a:lnTo>
                  <a:pt x="1208" y="852"/>
                </a:lnTo>
                <a:lnTo>
                  <a:pt x="1222" y="854"/>
                </a:lnTo>
                <a:lnTo>
                  <a:pt x="1235" y="854"/>
                </a:lnTo>
                <a:lnTo>
                  <a:pt x="1240" y="854"/>
                </a:lnTo>
                <a:lnTo>
                  <a:pt x="1244" y="853"/>
                </a:lnTo>
                <a:lnTo>
                  <a:pt x="1247" y="852"/>
                </a:lnTo>
                <a:lnTo>
                  <a:pt x="1249" y="850"/>
                </a:lnTo>
                <a:lnTo>
                  <a:pt x="1257" y="842"/>
                </a:lnTo>
                <a:lnTo>
                  <a:pt x="1264" y="834"/>
                </a:lnTo>
                <a:lnTo>
                  <a:pt x="1269" y="826"/>
                </a:lnTo>
                <a:lnTo>
                  <a:pt x="1274" y="818"/>
                </a:lnTo>
                <a:lnTo>
                  <a:pt x="1280" y="801"/>
                </a:lnTo>
                <a:lnTo>
                  <a:pt x="1285" y="785"/>
                </a:lnTo>
                <a:lnTo>
                  <a:pt x="1288" y="768"/>
                </a:lnTo>
                <a:lnTo>
                  <a:pt x="1292" y="750"/>
                </a:lnTo>
                <a:lnTo>
                  <a:pt x="1296" y="742"/>
                </a:lnTo>
                <a:lnTo>
                  <a:pt x="1299" y="733"/>
                </a:lnTo>
                <a:lnTo>
                  <a:pt x="1303" y="724"/>
                </a:lnTo>
                <a:lnTo>
                  <a:pt x="1309" y="715"/>
                </a:lnTo>
                <a:lnTo>
                  <a:pt x="1311" y="712"/>
                </a:lnTo>
                <a:lnTo>
                  <a:pt x="1313" y="709"/>
                </a:lnTo>
                <a:lnTo>
                  <a:pt x="1315" y="706"/>
                </a:lnTo>
                <a:lnTo>
                  <a:pt x="1319" y="703"/>
                </a:lnTo>
                <a:lnTo>
                  <a:pt x="1326" y="697"/>
                </a:lnTo>
                <a:lnTo>
                  <a:pt x="1336" y="693"/>
                </a:lnTo>
                <a:lnTo>
                  <a:pt x="1347" y="690"/>
                </a:lnTo>
                <a:lnTo>
                  <a:pt x="1359" y="687"/>
                </a:lnTo>
                <a:lnTo>
                  <a:pt x="1373" y="684"/>
                </a:lnTo>
                <a:lnTo>
                  <a:pt x="1387" y="682"/>
                </a:lnTo>
                <a:lnTo>
                  <a:pt x="1416" y="680"/>
                </a:lnTo>
                <a:lnTo>
                  <a:pt x="1446" y="678"/>
                </a:lnTo>
                <a:lnTo>
                  <a:pt x="1472" y="678"/>
                </a:lnTo>
                <a:lnTo>
                  <a:pt x="1495" y="678"/>
                </a:lnTo>
                <a:lnTo>
                  <a:pt x="1506" y="678"/>
                </a:lnTo>
                <a:lnTo>
                  <a:pt x="1522" y="678"/>
                </a:lnTo>
                <a:lnTo>
                  <a:pt x="1524" y="684"/>
                </a:lnTo>
                <a:lnTo>
                  <a:pt x="1528" y="693"/>
                </a:lnTo>
                <a:lnTo>
                  <a:pt x="1533" y="703"/>
                </a:lnTo>
                <a:lnTo>
                  <a:pt x="1535" y="709"/>
                </a:lnTo>
                <a:lnTo>
                  <a:pt x="1526" y="714"/>
                </a:lnTo>
                <a:lnTo>
                  <a:pt x="1515" y="720"/>
                </a:lnTo>
                <a:lnTo>
                  <a:pt x="1510" y="724"/>
                </a:lnTo>
                <a:lnTo>
                  <a:pt x="1503" y="729"/>
                </a:lnTo>
                <a:lnTo>
                  <a:pt x="1498" y="735"/>
                </a:lnTo>
                <a:lnTo>
                  <a:pt x="1492" y="741"/>
                </a:lnTo>
                <a:lnTo>
                  <a:pt x="1487" y="748"/>
                </a:lnTo>
                <a:lnTo>
                  <a:pt x="1481" y="758"/>
                </a:lnTo>
                <a:lnTo>
                  <a:pt x="1477" y="767"/>
                </a:lnTo>
                <a:lnTo>
                  <a:pt x="1473" y="778"/>
                </a:lnTo>
                <a:lnTo>
                  <a:pt x="1470" y="791"/>
                </a:lnTo>
                <a:lnTo>
                  <a:pt x="1469" y="804"/>
                </a:lnTo>
                <a:lnTo>
                  <a:pt x="1468" y="821"/>
                </a:lnTo>
                <a:lnTo>
                  <a:pt x="1469" y="838"/>
                </a:lnTo>
                <a:lnTo>
                  <a:pt x="1455" y="854"/>
                </a:lnTo>
                <a:lnTo>
                  <a:pt x="1444" y="868"/>
                </a:lnTo>
                <a:lnTo>
                  <a:pt x="1435" y="878"/>
                </a:lnTo>
                <a:lnTo>
                  <a:pt x="1428" y="888"/>
                </a:lnTo>
                <a:lnTo>
                  <a:pt x="1414" y="888"/>
                </a:lnTo>
                <a:lnTo>
                  <a:pt x="1401" y="888"/>
                </a:lnTo>
                <a:lnTo>
                  <a:pt x="1387" y="888"/>
                </a:lnTo>
                <a:lnTo>
                  <a:pt x="1369" y="888"/>
                </a:lnTo>
                <a:lnTo>
                  <a:pt x="1367" y="888"/>
                </a:lnTo>
                <a:lnTo>
                  <a:pt x="1359" y="888"/>
                </a:lnTo>
                <a:lnTo>
                  <a:pt x="1349" y="888"/>
                </a:lnTo>
                <a:lnTo>
                  <a:pt x="1336" y="88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42" name="Freeform 194"/>
          <p:cNvSpPr>
            <a:spLocks/>
          </p:cNvSpPr>
          <p:nvPr>
            <p:custDataLst>
              <p:tags r:id="rId121"/>
            </p:custDataLst>
          </p:nvPr>
        </p:nvSpPr>
        <p:spPr bwMode="auto">
          <a:xfrm>
            <a:off x="4010025" y="4283076"/>
            <a:ext cx="211138" cy="265113"/>
          </a:xfrm>
          <a:custGeom>
            <a:avLst/>
            <a:gdLst>
              <a:gd name="T0" fmla="*/ 14 w 486"/>
              <a:gd name="T1" fmla="*/ 176 h 505"/>
              <a:gd name="T2" fmla="*/ 31 w 486"/>
              <a:gd name="T3" fmla="*/ 198 h 505"/>
              <a:gd name="T4" fmla="*/ 51 w 486"/>
              <a:gd name="T5" fmla="*/ 232 h 505"/>
              <a:gd name="T6" fmla="*/ 82 w 486"/>
              <a:gd name="T7" fmla="*/ 266 h 505"/>
              <a:gd name="T8" fmla="*/ 126 w 486"/>
              <a:gd name="T9" fmla="*/ 293 h 505"/>
              <a:gd name="T10" fmla="*/ 170 w 486"/>
              <a:gd name="T11" fmla="*/ 310 h 505"/>
              <a:gd name="T12" fmla="*/ 246 w 486"/>
              <a:gd name="T13" fmla="*/ 328 h 505"/>
              <a:gd name="T14" fmla="*/ 295 w 486"/>
              <a:gd name="T15" fmla="*/ 344 h 505"/>
              <a:gd name="T16" fmla="*/ 299 w 486"/>
              <a:gd name="T17" fmla="*/ 381 h 505"/>
              <a:gd name="T18" fmla="*/ 277 w 486"/>
              <a:gd name="T19" fmla="*/ 418 h 505"/>
              <a:gd name="T20" fmla="*/ 267 w 486"/>
              <a:gd name="T21" fmla="*/ 443 h 505"/>
              <a:gd name="T22" fmla="*/ 266 w 486"/>
              <a:gd name="T23" fmla="*/ 463 h 505"/>
              <a:gd name="T24" fmla="*/ 278 w 486"/>
              <a:gd name="T25" fmla="*/ 482 h 505"/>
              <a:gd name="T26" fmla="*/ 299 w 486"/>
              <a:gd name="T27" fmla="*/ 494 h 505"/>
              <a:gd name="T28" fmla="*/ 344 w 486"/>
              <a:gd name="T29" fmla="*/ 504 h 505"/>
              <a:gd name="T30" fmla="*/ 387 w 486"/>
              <a:gd name="T31" fmla="*/ 504 h 505"/>
              <a:gd name="T32" fmla="*/ 415 w 486"/>
              <a:gd name="T33" fmla="*/ 494 h 505"/>
              <a:gd name="T34" fmla="*/ 446 w 486"/>
              <a:gd name="T35" fmla="*/ 474 h 505"/>
              <a:gd name="T36" fmla="*/ 473 w 486"/>
              <a:gd name="T37" fmla="*/ 447 h 505"/>
              <a:gd name="T38" fmla="*/ 485 w 486"/>
              <a:gd name="T39" fmla="*/ 418 h 505"/>
              <a:gd name="T40" fmla="*/ 484 w 486"/>
              <a:gd name="T41" fmla="*/ 397 h 505"/>
              <a:gd name="T42" fmla="*/ 478 w 486"/>
              <a:gd name="T43" fmla="*/ 358 h 505"/>
              <a:gd name="T44" fmla="*/ 471 w 486"/>
              <a:gd name="T45" fmla="*/ 316 h 505"/>
              <a:gd name="T46" fmla="*/ 465 w 486"/>
              <a:gd name="T47" fmla="*/ 270 h 505"/>
              <a:gd name="T48" fmla="*/ 456 w 486"/>
              <a:gd name="T49" fmla="*/ 252 h 505"/>
              <a:gd name="T50" fmla="*/ 439 w 486"/>
              <a:gd name="T51" fmla="*/ 239 h 505"/>
              <a:gd name="T52" fmla="*/ 413 w 486"/>
              <a:gd name="T53" fmla="*/ 232 h 505"/>
              <a:gd name="T54" fmla="*/ 392 w 486"/>
              <a:gd name="T55" fmla="*/ 222 h 505"/>
              <a:gd name="T56" fmla="*/ 370 w 486"/>
              <a:gd name="T57" fmla="*/ 207 h 505"/>
              <a:gd name="T58" fmla="*/ 330 w 486"/>
              <a:gd name="T59" fmla="*/ 188 h 505"/>
              <a:gd name="T60" fmla="*/ 290 w 486"/>
              <a:gd name="T61" fmla="*/ 172 h 505"/>
              <a:gd name="T62" fmla="*/ 273 w 486"/>
              <a:gd name="T63" fmla="*/ 160 h 505"/>
              <a:gd name="T64" fmla="*/ 264 w 486"/>
              <a:gd name="T65" fmla="*/ 151 h 505"/>
              <a:gd name="T66" fmla="*/ 261 w 486"/>
              <a:gd name="T67" fmla="*/ 125 h 505"/>
              <a:gd name="T68" fmla="*/ 261 w 486"/>
              <a:gd name="T69" fmla="*/ 90 h 505"/>
              <a:gd name="T70" fmla="*/ 255 w 486"/>
              <a:gd name="T71" fmla="*/ 71 h 505"/>
              <a:gd name="T72" fmla="*/ 241 w 486"/>
              <a:gd name="T73" fmla="*/ 55 h 505"/>
              <a:gd name="T74" fmla="*/ 234 w 486"/>
              <a:gd name="T75" fmla="*/ 37 h 505"/>
              <a:gd name="T76" fmla="*/ 199 w 486"/>
              <a:gd name="T77" fmla="*/ 12 h 505"/>
              <a:gd name="T78" fmla="*/ 186 w 486"/>
              <a:gd name="T79" fmla="*/ 8 h 505"/>
              <a:gd name="T80" fmla="*/ 173 w 486"/>
              <a:gd name="T81" fmla="*/ 2 h 505"/>
              <a:gd name="T82" fmla="*/ 139 w 486"/>
              <a:gd name="T83" fmla="*/ 1 h 505"/>
              <a:gd name="T84" fmla="*/ 70 w 486"/>
              <a:gd name="T85" fmla="*/ 11 h 505"/>
              <a:gd name="T86" fmla="*/ 42 w 486"/>
              <a:gd name="T87" fmla="*/ 21 h 505"/>
              <a:gd name="T88" fmla="*/ 24 w 486"/>
              <a:gd name="T89" fmla="*/ 37 h 505"/>
              <a:gd name="T90" fmla="*/ 20 w 486"/>
              <a:gd name="T91" fmla="*/ 64 h 5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486" h="505">
                <a:moveTo>
                  <a:pt x="0" y="166"/>
                </a:moveTo>
                <a:lnTo>
                  <a:pt x="7" y="171"/>
                </a:lnTo>
                <a:lnTo>
                  <a:pt x="14" y="176"/>
                </a:lnTo>
                <a:lnTo>
                  <a:pt x="19" y="181"/>
                </a:lnTo>
                <a:lnTo>
                  <a:pt x="24" y="186"/>
                </a:lnTo>
                <a:lnTo>
                  <a:pt x="31" y="198"/>
                </a:lnTo>
                <a:lnTo>
                  <a:pt x="39" y="210"/>
                </a:lnTo>
                <a:lnTo>
                  <a:pt x="44" y="221"/>
                </a:lnTo>
                <a:lnTo>
                  <a:pt x="51" y="232"/>
                </a:lnTo>
                <a:lnTo>
                  <a:pt x="58" y="242"/>
                </a:lnTo>
                <a:lnTo>
                  <a:pt x="66" y="253"/>
                </a:lnTo>
                <a:lnTo>
                  <a:pt x="82" y="266"/>
                </a:lnTo>
                <a:lnTo>
                  <a:pt x="96" y="276"/>
                </a:lnTo>
                <a:lnTo>
                  <a:pt x="111" y="285"/>
                </a:lnTo>
                <a:lnTo>
                  <a:pt x="126" y="293"/>
                </a:lnTo>
                <a:lnTo>
                  <a:pt x="140" y="299"/>
                </a:lnTo>
                <a:lnTo>
                  <a:pt x="155" y="305"/>
                </a:lnTo>
                <a:lnTo>
                  <a:pt x="170" y="310"/>
                </a:lnTo>
                <a:lnTo>
                  <a:pt x="185" y="314"/>
                </a:lnTo>
                <a:lnTo>
                  <a:pt x="215" y="321"/>
                </a:lnTo>
                <a:lnTo>
                  <a:pt x="246" y="328"/>
                </a:lnTo>
                <a:lnTo>
                  <a:pt x="262" y="332"/>
                </a:lnTo>
                <a:lnTo>
                  <a:pt x="278" y="338"/>
                </a:lnTo>
                <a:lnTo>
                  <a:pt x="295" y="344"/>
                </a:lnTo>
                <a:lnTo>
                  <a:pt x="312" y="351"/>
                </a:lnTo>
                <a:lnTo>
                  <a:pt x="307" y="367"/>
                </a:lnTo>
                <a:lnTo>
                  <a:pt x="299" y="381"/>
                </a:lnTo>
                <a:lnTo>
                  <a:pt x="291" y="394"/>
                </a:lnTo>
                <a:lnTo>
                  <a:pt x="284" y="406"/>
                </a:lnTo>
                <a:lnTo>
                  <a:pt x="277" y="418"/>
                </a:lnTo>
                <a:lnTo>
                  <a:pt x="272" y="430"/>
                </a:lnTo>
                <a:lnTo>
                  <a:pt x="269" y="436"/>
                </a:lnTo>
                <a:lnTo>
                  <a:pt x="267" y="443"/>
                </a:lnTo>
                <a:lnTo>
                  <a:pt x="266" y="449"/>
                </a:lnTo>
                <a:lnTo>
                  <a:pt x="266" y="456"/>
                </a:lnTo>
                <a:lnTo>
                  <a:pt x="266" y="463"/>
                </a:lnTo>
                <a:lnTo>
                  <a:pt x="269" y="471"/>
                </a:lnTo>
                <a:lnTo>
                  <a:pt x="273" y="477"/>
                </a:lnTo>
                <a:lnTo>
                  <a:pt x="278" y="482"/>
                </a:lnTo>
                <a:lnTo>
                  <a:pt x="284" y="487"/>
                </a:lnTo>
                <a:lnTo>
                  <a:pt x="291" y="491"/>
                </a:lnTo>
                <a:lnTo>
                  <a:pt x="299" y="494"/>
                </a:lnTo>
                <a:lnTo>
                  <a:pt x="308" y="497"/>
                </a:lnTo>
                <a:lnTo>
                  <a:pt x="325" y="501"/>
                </a:lnTo>
                <a:lnTo>
                  <a:pt x="344" y="504"/>
                </a:lnTo>
                <a:lnTo>
                  <a:pt x="363" y="505"/>
                </a:lnTo>
                <a:lnTo>
                  <a:pt x="379" y="505"/>
                </a:lnTo>
                <a:lnTo>
                  <a:pt x="387" y="504"/>
                </a:lnTo>
                <a:lnTo>
                  <a:pt x="396" y="502"/>
                </a:lnTo>
                <a:lnTo>
                  <a:pt x="406" y="499"/>
                </a:lnTo>
                <a:lnTo>
                  <a:pt x="415" y="494"/>
                </a:lnTo>
                <a:lnTo>
                  <a:pt x="426" y="488"/>
                </a:lnTo>
                <a:lnTo>
                  <a:pt x="436" y="482"/>
                </a:lnTo>
                <a:lnTo>
                  <a:pt x="446" y="474"/>
                </a:lnTo>
                <a:lnTo>
                  <a:pt x="456" y="465"/>
                </a:lnTo>
                <a:lnTo>
                  <a:pt x="465" y="456"/>
                </a:lnTo>
                <a:lnTo>
                  <a:pt x="473" y="447"/>
                </a:lnTo>
                <a:lnTo>
                  <a:pt x="478" y="437"/>
                </a:lnTo>
                <a:lnTo>
                  <a:pt x="482" y="428"/>
                </a:lnTo>
                <a:lnTo>
                  <a:pt x="485" y="418"/>
                </a:lnTo>
                <a:lnTo>
                  <a:pt x="486" y="407"/>
                </a:lnTo>
                <a:lnTo>
                  <a:pt x="485" y="402"/>
                </a:lnTo>
                <a:lnTo>
                  <a:pt x="484" y="397"/>
                </a:lnTo>
                <a:lnTo>
                  <a:pt x="481" y="393"/>
                </a:lnTo>
                <a:lnTo>
                  <a:pt x="478" y="388"/>
                </a:lnTo>
                <a:lnTo>
                  <a:pt x="478" y="358"/>
                </a:lnTo>
                <a:lnTo>
                  <a:pt x="475" y="345"/>
                </a:lnTo>
                <a:lnTo>
                  <a:pt x="473" y="331"/>
                </a:lnTo>
                <a:lnTo>
                  <a:pt x="471" y="316"/>
                </a:lnTo>
                <a:lnTo>
                  <a:pt x="470" y="299"/>
                </a:lnTo>
                <a:lnTo>
                  <a:pt x="468" y="284"/>
                </a:lnTo>
                <a:lnTo>
                  <a:pt x="465" y="270"/>
                </a:lnTo>
                <a:lnTo>
                  <a:pt x="463" y="263"/>
                </a:lnTo>
                <a:lnTo>
                  <a:pt x="461" y="257"/>
                </a:lnTo>
                <a:lnTo>
                  <a:pt x="456" y="252"/>
                </a:lnTo>
                <a:lnTo>
                  <a:pt x="452" y="247"/>
                </a:lnTo>
                <a:lnTo>
                  <a:pt x="446" y="242"/>
                </a:lnTo>
                <a:lnTo>
                  <a:pt x="439" y="239"/>
                </a:lnTo>
                <a:lnTo>
                  <a:pt x="431" y="236"/>
                </a:lnTo>
                <a:lnTo>
                  <a:pt x="422" y="234"/>
                </a:lnTo>
                <a:lnTo>
                  <a:pt x="413" y="232"/>
                </a:lnTo>
                <a:lnTo>
                  <a:pt x="406" y="229"/>
                </a:lnTo>
                <a:lnTo>
                  <a:pt x="398" y="226"/>
                </a:lnTo>
                <a:lnTo>
                  <a:pt x="392" y="222"/>
                </a:lnTo>
                <a:lnTo>
                  <a:pt x="386" y="216"/>
                </a:lnTo>
                <a:lnTo>
                  <a:pt x="378" y="212"/>
                </a:lnTo>
                <a:lnTo>
                  <a:pt x="370" y="207"/>
                </a:lnTo>
                <a:lnTo>
                  <a:pt x="363" y="203"/>
                </a:lnTo>
                <a:lnTo>
                  <a:pt x="346" y="196"/>
                </a:lnTo>
                <a:lnTo>
                  <a:pt x="330" y="188"/>
                </a:lnTo>
                <a:lnTo>
                  <a:pt x="313" y="182"/>
                </a:lnTo>
                <a:lnTo>
                  <a:pt x="298" y="176"/>
                </a:lnTo>
                <a:lnTo>
                  <a:pt x="290" y="172"/>
                </a:lnTo>
                <a:lnTo>
                  <a:pt x="284" y="169"/>
                </a:lnTo>
                <a:lnTo>
                  <a:pt x="278" y="165"/>
                </a:lnTo>
                <a:lnTo>
                  <a:pt x="273" y="160"/>
                </a:lnTo>
                <a:lnTo>
                  <a:pt x="269" y="158"/>
                </a:lnTo>
                <a:lnTo>
                  <a:pt x="266" y="154"/>
                </a:lnTo>
                <a:lnTo>
                  <a:pt x="264" y="151"/>
                </a:lnTo>
                <a:lnTo>
                  <a:pt x="263" y="146"/>
                </a:lnTo>
                <a:lnTo>
                  <a:pt x="262" y="136"/>
                </a:lnTo>
                <a:lnTo>
                  <a:pt x="261" y="125"/>
                </a:lnTo>
                <a:lnTo>
                  <a:pt x="261" y="113"/>
                </a:lnTo>
                <a:lnTo>
                  <a:pt x="262" y="101"/>
                </a:lnTo>
                <a:lnTo>
                  <a:pt x="261" y="90"/>
                </a:lnTo>
                <a:lnTo>
                  <a:pt x="260" y="81"/>
                </a:lnTo>
                <a:lnTo>
                  <a:pt x="258" y="75"/>
                </a:lnTo>
                <a:lnTo>
                  <a:pt x="255" y="71"/>
                </a:lnTo>
                <a:lnTo>
                  <a:pt x="251" y="67"/>
                </a:lnTo>
                <a:lnTo>
                  <a:pt x="246" y="61"/>
                </a:lnTo>
                <a:lnTo>
                  <a:pt x="241" y="55"/>
                </a:lnTo>
                <a:lnTo>
                  <a:pt x="237" y="47"/>
                </a:lnTo>
                <a:lnTo>
                  <a:pt x="235" y="43"/>
                </a:lnTo>
                <a:lnTo>
                  <a:pt x="234" y="37"/>
                </a:lnTo>
                <a:lnTo>
                  <a:pt x="233" y="32"/>
                </a:lnTo>
                <a:lnTo>
                  <a:pt x="233" y="25"/>
                </a:lnTo>
                <a:lnTo>
                  <a:pt x="199" y="12"/>
                </a:lnTo>
                <a:lnTo>
                  <a:pt x="195" y="12"/>
                </a:lnTo>
                <a:lnTo>
                  <a:pt x="190" y="10"/>
                </a:lnTo>
                <a:lnTo>
                  <a:pt x="186" y="8"/>
                </a:lnTo>
                <a:lnTo>
                  <a:pt x="182" y="6"/>
                </a:lnTo>
                <a:lnTo>
                  <a:pt x="177" y="4"/>
                </a:lnTo>
                <a:lnTo>
                  <a:pt x="173" y="2"/>
                </a:lnTo>
                <a:lnTo>
                  <a:pt x="166" y="0"/>
                </a:lnTo>
                <a:lnTo>
                  <a:pt x="160" y="0"/>
                </a:lnTo>
                <a:lnTo>
                  <a:pt x="139" y="1"/>
                </a:lnTo>
                <a:lnTo>
                  <a:pt x="116" y="2"/>
                </a:lnTo>
                <a:lnTo>
                  <a:pt x="92" y="6"/>
                </a:lnTo>
                <a:lnTo>
                  <a:pt x="70" y="11"/>
                </a:lnTo>
                <a:lnTo>
                  <a:pt x="60" y="14"/>
                </a:lnTo>
                <a:lnTo>
                  <a:pt x="50" y="17"/>
                </a:lnTo>
                <a:lnTo>
                  <a:pt x="42" y="21"/>
                </a:lnTo>
                <a:lnTo>
                  <a:pt x="34" y="27"/>
                </a:lnTo>
                <a:lnTo>
                  <a:pt x="28" y="31"/>
                </a:lnTo>
                <a:lnTo>
                  <a:pt x="24" y="37"/>
                </a:lnTo>
                <a:lnTo>
                  <a:pt x="21" y="43"/>
                </a:lnTo>
                <a:lnTo>
                  <a:pt x="20" y="49"/>
                </a:lnTo>
                <a:lnTo>
                  <a:pt x="20" y="64"/>
                </a:lnTo>
                <a:lnTo>
                  <a:pt x="20" y="74"/>
                </a:lnTo>
                <a:lnTo>
                  <a:pt x="0" y="16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43" name="Freeform 195"/>
          <p:cNvSpPr>
            <a:spLocks/>
          </p:cNvSpPr>
          <p:nvPr>
            <p:custDataLst>
              <p:tags r:id="rId122"/>
            </p:custDataLst>
          </p:nvPr>
        </p:nvSpPr>
        <p:spPr bwMode="auto">
          <a:xfrm>
            <a:off x="4179889" y="3487739"/>
            <a:ext cx="73025" cy="109537"/>
          </a:xfrm>
          <a:custGeom>
            <a:avLst/>
            <a:gdLst>
              <a:gd name="T0" fmla="*/ 7 w 166"/>
              <a:gd name="T1" fmla="*/ 183 h 208"/>
              <a:gd name="T2" fmla="*/ 79 w 166"/>
              <a:gd name="T3" fmla="*/ 208 h 208"/>
              <a:gd name="T4" fmla="*/ 85 w 166"/>
              <a:gd name="T5" fmla="*/ 207 h 208"/>
              <a:gd name="T6" fmla="*/ 90 w 166"/>
              <a:gd name="T7" fmla="*/ 204 h 208"/>
              <a:gd name="T8" fmla="*/ 97 w 166"/>
              <a:gd name="T9" fmla="*/ 198 h 208"/>
              <a:gd name="T10" fmla="*/ 104 w 166"/>
              <a:gd name="T11" fmla="*/ 192 h 208"/>
              <a:gd name="T12" fmla="*/ 117 w 166"/>
              <a:gd name="T13" fmla="*/ 176 h 208"/>
              <a:gd name="T14" fmla="*/ 130 w 166"/>
              <a:gd name="T15" fmla="*/ 158 h 208"/>
              <a:gd name="T16" fmla="*/ 154 w 166"/>
              <a:gd name="T17" fmla="*/ 122 h 208"/>
              <a:gd name="T18" fmla="*/ 166 w 166"/>
              <a:gd name="T19" fmla="*/ 103 h 208"/>
              <a:gd name="T20" fmla="*/ 144 w 166"/>
              <a:gd name="T21" fmla="*/ 94 h 208"/>
              <a:gd name="T22" fmla="*/ 126 w 166"/>
              <a:gd name="T23" fmla="*/ 84 h 208"/>
              <a:gd name="T24" fmla="*/ 108 w 166"/>
              <a:gd name="T25" fmla="*/ 74 h 208"/>
              <a:gd name="T26" fmla="*/ 93 w 166"/>
              <a:gd name="T27" fmla="*/ 64 h 208"/>
              <a:gd name="T28" fmla="*/ 86 w 166"/>
              <a:gd name="T29" fmla="*/ 58 h 208"/>
              <a:gd name="T30" fmla="*/ 81 w 166"/>
              <a:gd name="T31" fmla="*/ 53 h 208"/>
              <a:gd name="T32" fmla="*/ 75 w 166"/>
              <a:gd name="T33" fmla="*/ 47 h 208"/>
              <a:gd name="T34" fmla="*/ 71 w 166"/>
              <a:gd name="T35" fmla="*/ 40 h 208"/>
              <a:gd name="T36" fmla="*/ 67 w 166"/>
              <a:gd name="T37" fmla="*/ 33 h 208"/>
              <a:gd name="T38" fmla="*/ 64 w 166"/>
              <a:gd name="T39" fmla="*/ 26 h 208"/>
              <a:gd name="T40" fmla="*/ 62 w 166"/>
              <a:gd name="T41" fmla="*/ 18 h 208"/>
              <a:gd name="T42" fmla="*/ 60 w 166"/>
              <a:gd name="T43" fmla="*/ 11 h 208"/>
              <a:gd name="T44" fmla="*/ 50 w 166"/>
              <a:gd name="T45" fmla="*/ 10 h 208"/>
              <a:gd name="T46" fmla="*/ 43 w 166"/>
              <a:gd name="T47" fmla="*/ 8 h 208"/>
              <a:gd name="T48" fmla="*/ 40 w 166"/>
              <a:gd name="T49" fmla="*/ 5 h 208"/>
              <a:gd name="T50" fmla="*/ 39 w 166"/>
              <a:gd name="T51" fmla="*/ 3 h 208"/>
              <a:gd name="T52" fmla="*/ 38 w 166"/>
              <a:gd name="T53" fmla="*/ 1 h 208"/>
              <a:gd name="T54" fmla="*/ 36 w 166"/>
              <a:gd name="T55" fmla="*/ 0 h 208"/>
              <a:gd name="T56" fmla="*/ 32 w 166"/>
              <a:gd name="T57" fmla="*/ 1 h 208"/>
              <a:gd name="T58" fmla="*/ 27 w 166"/>
              <a:gd name="T59" fmla="*/ 5 h 208"/>
              <a:gd name="T60" fmla="*/ 20 w 166"/>
              <a:gd name="T61" fmla="*/ 11 h 208"/>
              <a:gd name="T62" fmla="*/ 11 w 166"/>
              <a:gd name="T63" fmla="*/ 22 h 208"/>
              <a:gd name="T64" fmla="*/ 7 w 166"/>
              <a:gd name="T65" fmla="*/ 29 h 208"/>
              <a:gd name="T66" fmla="*/ 4 w 166"/>
              <a:gd name="T67" fmla="*/ 37 h 208"/>
              <a:gd name="T68" fmla="*/ 2 w 166"/>
              <a:gd name="T69" fmla="*/ 45 h 208"/>
              <a:gd name="T70" fmla="*/ 0 w 166"/>
              <a:gd name="T71" fmla="*/ 54 h 208"/>
              <a:gd name="T72" fmla="*/ 0 w 166"/>
              <a:gd name="T73" fmla="*/ 60 h 208"/>
              <a:gd name="T74" fmla="*/ 2 w 166"/>
              <a:gd name="T75" fmla="*/ 65 h 208"/>
              <a:gd name="T76" fmla="*/ 3 w 166"/>
              <a:gd name="T77" fmla="*/ 70 h 208"/>
              <a:gd name="T78" fmla="*/ 5 w 166"/>
              <a:gd name="T79" fmla="*/ 76 h 208"/>
              <a:gd name="T80" fmla="*/ 10 w 166"/>
              <a:gd name="T81" fmla="*/ 86 h 208"/>
              <a:gd name="T82" fmla="*/ 17 w 166"/>
              <a:gd name="T83" fmla="*/ 98 h 208"/>
              <a:gd name="T84" fmla="*/ 22 w 166"/>
              <a:gd name="T85" fmla="*/ 109 h 208"/>
              <a:gd name="T86" fmla="*/ 28 w 166"/>
              <a:gd name="T87" fmla="*/ 120 h 208"/>
              <a:gd name="T88" fmla="*/ 30 w 166"/>
              <a:gd name="T89" fmla="*/ 126 h 208"/>
              <a:gd name="T90" fmla="*/ 32 w 166"/>
              <a:gd name="T91" fmla="*/ 133 h 208"/>
              <a:gd name="T92" fmla="*/ 33 w 166"/>
              <a:gd name="T93" fmla="*/ 139 h 208"/>
              <a:gd name="T94" fmla="*/ 33 w 166"/>
              <a:gd name="T95" fmla="*/ 147 h 208"/>
              <a:gd name="T96" fmla="*/ 32 w 166"/>
              <a:gd name="T97" fmla="*/ 153 h 208"/>
              <a:gd name="T98" fmla="*/ 31 w 166"/>
              <a:gd name="T99" fmla="*/ 159 h 208"/>
              <a:gd name="T100" fmla="*/ 28 w 166"/>
              <a:gd name="T101" fmla="*/ 165 h 208"/>
              <a:gd name="T102" fmla="*/ 25 w 166"/>
              <a:gd name="T103" fmla="*/ 169 h 208"/>
              <a:gd name="T104" fmla="*/ 21 w 166"/>
              <a:gd name="T105" fmla="*/ 174 h 208"/>
              <a:gd name="T106" fmla="*/ 17 w 166"/>
              <a:gd name="T107" fmla="*/ 177 h 208"/>
              <a:gd name="T108" fmla="*/ 11 w 166"/>
              <a:gd name="T109" fmla="*/ 180 h 208"/>
              <a:gd name="T110" fmla="*/ 7 w 166"/>
              <a:gd name="T111" fmla="*/ 183 h 2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66" h="208">
                <a:moveTo>
                  <a:pt x="7" y="183"/>
                </a:moveTo>
                <a:lnTo>
                  <a:pt x="79" y="208"/>
                </a:lnTo>
                <a:lnTo>
                  <a:pt x="85" y="207"/>
                </a:lnTo>
                <a:lnTo>
                  <a:pt x="90" y="204"/>
                </a:lnTo>
                <a:lnTo>
                  <a:pt x="97" y="198"/>
                </a:lnTo>
                <a:lnTo>
                  <a:pt x="104" y="192"/>
                </a:lnTo>
                <a:lnTo>
                  <a:pt x="117" y="176"/>
                </a:lnTo>
                <a:lnTo>
                  <a:pt x="130" y="158"/>
                </a:lnTo>
                <a:lnTo>
                  <a:pt x="154" y="122"/>
                </a:lnTo>
                <a:lnTo>
                  <a:pt x="166" y="103"/>
                </a:lnTo>
                <a:lnTo>
                  <a:pt x="144" y="94"/>
                </a:lnTo>
                <a:lnTo>
                  <a:pt x="126" y="84"/>
                </a:lnTo>
                <a:lnTo>
                  <a:pt x="108" y="74"/>
                </a:lnTo>
                <a:lnTo>
                  <a:pt x="93" y="64"/>
                </a:lnTo>
                <a:lnTo>
                  <a:pt x="86" y="58"/>
                </a:lnTo>
                <a:lnTo>
                  <a:pt x="81" y="53"/>
                </a:lnTo>
                <a:lnTo>
                  <a:pt x="75" y="47"/>
                </a:lnTo>
                <a:lnTo>
                  <a:pt x="71" y="40"/>
                </a:lnTo>
                <a:lnTo>
                  <a:pt x="67" y="33"/>
                </a:lnTo>
                <a:lnTo>
                  <a:pt x="64" y="26"/>
                </a:lnTo>
                <a:lnTo>
                  <a:pt x="62" y="18"/>
                </a:lnTo>
                <a:lnTo>
                  <a:pt x="60" y="11"/>
                </a:lnTo>
                <a:lnTo>
                  <a:pt x="50" y="10"/>
                </a:lnTo>
                <a:lnTo>
                  <a:pt x="43" y="8"/>
                </a:lnTo>
                <a:lnTo>
                  <a:pt x="40" y="5"/>
                </a:lnTo>
                <a:lnTo>
                  <a:pt x="39" y="3"/>
                </a:lnTo>
                <a:lnTo>
                  <a:pt x="38" y="1"/>
                </a:lnTo>
                <a:lnTo>
                  <a:pt x="36" y="0"/>
                </a:lnTo>
                <a:lnTo>
                  <a:pt x="32" y="1"/>
                </a:lnTo>
                <a:lnTo>
                  <a:pt x="27" y="5"/>
                </a:lnTo>
                <a:lnTo>
                  <a:pt x="20" y="11"/>
                </a:lnTo>
                <a:lnTo>
                  <a:pt x="11" y="22"/>
                </a:lnTo>
                <a:lnTo>
                  <a:pt x="7" y="29"/>
                </a:lnTo>
                <a:lnTo>
                  <a:pt x="4" y="37"/>
                </a:lnTo>
                <a:lnTo>
                  <a:pt x="2" y="45"/>
                </a:lnTo>
                <a:lnTo>
                  <a:pt x="0" y="54"/>
                </a:lnTo>
                <a:lnTo>
                  <a:pt x="0" y="60"/>
                </a:lnTo>
                <a:lnTo>
                  <a:pt x="2" y="65"/>
                </a:lnTo>
                <a:lnTo>
                  <a:pt x="3" y="70"/>
                </a:lnTo>
                <a:lnTo>
                  <a:pt x="5" y="76"/>
                </a:lnTo>
                <a:lnTo>
                  <a:pt x="10" y="86"/>
                </a:lnTo>
                <a:lnTo>
                  <a:pt x="17" y="98"/>
                </a:lnTo>
                <a:lnTo>
                  <a:pt x="22" y="109"/>
                </a:lnTo>
                <a:lnTo>
                  <a:pt x="28" y="120"/>
                </a:lnTo>
                <a:lnTo>
                  <a:pt x="30" y="126"/>
                </a:lnTo>
                <a:lnTo>
                  <a:pt x="32" y="133"/>
                </a:lnTo>
                <a:lnTo>
                  <a:pt x="33" y="139"/>
                </a:lnTo>
                <a:lnTo>
                  <a:pt x="33" y="147"/>
                </a:lnTo>
                <a:lnTo>
                  <a:pt x="32" y="153"/>
                </a:lnTo>
                <a:lnTo>
                  <a:pt x="31" y="159"/>
                </a:lnTo>
                <a:lnTo>
                  <a:pt x="28" y="165"/>
                </a:lnTo>
                <a:lnTo>
                  <a:pt x="25" y="169"/>
                </a:lnTo>
                <a:lnTo>
                  <a:pt x="21" y="174"/>
                </a:lnTo>
                <a:lnTo>
                  <a:pt x="17" y="177"/>
                </a:lnTo>
                <a:lnTo>
                  <a:pt x="11" y="180"/>
                </a:lnTo>
                <a:lnTo>
                  <a:pt x="7" y="18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44" name="Freeform 196"/>
          <p:cNvSpPr>
            <a:spLocks/>
          </p:cNvSpPr>
          <p:nvPr>
            <p:custDataLst>
              <p:tags r:id="rId123"/>
            </p:custDataLst>
          </p:nvPr>
        </p:nvSpPr>
        <p:spPr bwMode="auto">
          <a:xfrm>
            <a:off x="3694113" y="3046414"/>
            <a:ext cx="69850" cy="58737"/>
          </a:xfrm>
          <a:custGeom>
            <a:avLst/>
            <a:gdLst>
              <a:gd name="T0" fmla="*/ 153 w 164"/>
              <a:gd name="T1" fmla="*/ 104 h 104"/>
              <a:gd name="T2" fmla="*/ 134 w 164"/>
              <a:gd name="T3" fmla="*/ 102 h 104"/>
              <a:gd name="T4" fmla="*/ 110 w 164"/>
              <a:gd name="T5" fmla="*/ 97 h 104"/>
              <a:gd name="T6" fmla="*/ 96 w 164"/>
              <a:gd name="T7" fmla="*/ 94 h 104"/>
              <a:gd name="T8" fmla="*/ 80 w 164"/>
              <a:gd name="T9" fmla="*/ 93 h 104"/>
              <a:gd name="T10" fmla="*/ 73 w 164"/>
              <a:gd name="T11" fmla="*/ 93 h 104"/>
              <a:gd name="T12" fmla="*/ 64 w 164"/>
              <a:gd name="T13" fmla="*/ 94 h 104"/>
              <a:gd name="T14" fmla="*/ 55 w 164"/>
              <a:gd name="T15" fmla="*/ 96 h 104"/>
              <a:gd name="T16" fmla="*/ 47 w 164"/>
              <a:gd name="T17" fmla="*/ 98 h 104"/>
              <a:gd name="T18" fmla="*/ 41 w 164"/>
              <a:gd name="T19" fmla="*/ 100 h 104"/>
              <a:gd name="T20" fmla="*/ 34 w 164"/>
              <a:gd name="T21" fmla="*/ 100 h 104"/>
              <a:gd name="T22" fmla="*/ 27 w 164"/>
              <a:gd name="T23" fmla="*/ 99 h 104"/>
              <a:gd name="T24" fmla="*/ 19 w 164"/>
              <a:gd name="T25" fmla="*/ 96 h 104"/>
              <a:gd name="T26" fmla="*/ 11 w 164"/>
              <a:gd name="T27" fmla="*/ 92 h 104"/>
              <a:gd name="T28" fmla="*/ 6 w 164"/>
              <a:gd name="T29" fmla="*/ 88 h 104"/>
              <a:gd name="T30" fmla="*/ 3 w 164"/>
              <a:gd name="T31" fmla="*/ 86 h 104"/>
              <a:gd name="T32" fmla="*/ 1 w 164"/>
              <a:gd name="T33" fmla="*/ 84 h 104"/>
              <a:gd name="T34" fmla="*/ 0 w 164"/>
              <a:gd name="T35" fmla="*/ 81 h 104"/>
              <a:gd name="T36" fmla="*/ 0 w 164"/>
              <a:gd name="T37" fmla="*/ 79 h 104"/>
              <a:gd name="T38" fmla="*/ 0 w 164"/>
              <a:gd name="T39" fmla="*/ 76 h 104"/>
              <a:gd name="T40" fmla="*/ 1 w 164"/>
              <a:gd name="T41" fmla="*/ 74 h 104"/>
              <a:gd name="T42" fmla="*/ 3 w 164"/>
              <a:gd name="T43" fmla="*/ 71 h 104"/>
              <a:gd name="T44" fmla="*/ 6 w 164"/>
              <a:gd name="T45" fmla="*/ 70 h 104"/>
              <a:gd name="T46" fmla="*/ 12 w 164"/>
              <a:gd name="T47" fmla="*/ 67 h 104"/>
              <a:gd name="T48" fmla="*/ 20 w 164"/>
              <a:gd name="T49" fmla="*/ 66 h 104"/>
              <a:gd name="T50" fmla="*/ 40 w 164"/>
              <a:gd name="T51" fmla="*/ 66 h 104"/>
              <a:gd name="T52" fmla="*/ 61 w 164"/>
              <a:gd name="T53" fmla="*/ 67 h 104"/>
              <a:gd name="T54" fmla="*/ 70 w 164"/>
              <a:gd name="T55" fmla="*/ 67 h 104"/>
              <a:gd name="T56" fmla="*/ 79 w 164"/>
              <a:gd name="T57" fmla="*/ 67 h 104"/>
              <a:gd name="T58" fmla="*/ 87 w 164"/>
              <a:gd name="T59" fmla="*/ 67 h 104"/>
              <a:gd name="T60" fmla="*/ 94 w 164"/>
              <a:gd name="T61" fmla="*/ 67 h 104"/>
              <a:gd name="T62" fmla="*/ 94 w 164"/>
              <a:gd name="T63" fmla="*/ 56 h 104"/>
              <a:gd name="T64" fmla="*/ 94 w 164"/>
              <a:gd name="T65" fmla="*/ 43 h 104"/>
              <a:gd name="T66" fmla="*/ 94 w 164"/>
              <a:gd name="T67" fmla="*/ 29 h 104"/>
              <a:gd name="T68" fmla="*/ 94 w 164"/>
              <a:gd name="T69" fmla="*/ 18 h 104"/>
              <a:gd name="T70" fmla="*/ 79 w 164"/>
              <a:gd name="T71" fmla="*/ 17 h 104"/>
              <a:gd name="T72" fmla="*/ 67 w 164"/>
              <a:gd name="T73" fmla="*/ 15 h 104"/>
              <a:gd name="T74" fmla="*/ 62 w 164"/>
              <a:gd name="T75" fmla="*/ 13 h 104"/>
              <a:gd name="T76" fmla="*/ 57 w 164"/>
              <a:gd name="T77" fmla="*/ 10 h 104"/>
              <a:gd name="T78" fmla="*/ 52 w 164"/>
              <a:gd name="T79" fmla="*/ 6 h 104"/>
              <a:gd name="T80" fmla="*/ 47 w 164"/>
              <a:gd name="T81" fmla="*/ 0 h 104"/>
              <a:gd name="T82" fmla="*/ 146 w 164"/>
              <a:gd name="T83" fmla="*/ 0 h 104"/>
              <a:gd name="T84" fmla="*/ 147 w 164"/>
              <a:gd name="T85" fmla="*/ 6 h 104"/>
              <a:gd name="T86" fmla="*/ 148 w 164"/>
              <a:gd name="T87" fmla="*/ 13 h 104"/>
              <a:gd name="T88" fmla="*/ 150 w 164"/>
              <a:gd name="T89" fmla="*/ 19 h 104"/>
              <a:gd name="T90" fmla="*/ 152 w 164"/>
              <a:gd name="T91" fmla="*/ 25 h 104"/>
              <a:gd name="T92" fmla="*/ 156 w 164"/>
              <a:gd name="T93" fmla="*/ 35 h 104"/>
              <a:gd name="T94" fmla="*/ 159 w 164"/>
              <a:gd name="T95" fmla="*/ 46 h 104"/>
              <a:gd name="T96" fmla="*/ 163 w 164"/>
              <a:gd name="T97" fmla="*/ 54 h 104"/>
              <a:gd name="T98" fmla="*/ 164 w 164"/>
              <a:gd name="T99" fmla="*/ 62 h 104"/>
              <a:gd name="T100" fmla="*/ 163 w 164"/>
              <a:gd name="T101" fmla="*/ 65 h 104"/>
              <a:gd name="T102" fmla="*/ 160 w 164"/>
              <a:gd name="T103" fmla="*/ 68 h 104"/>
              <a:gd name="T104" fmla="*/ 157 w 164"/>
              <a:gd name="T105" fmla="*/ 71 h 104"/>
              <a:gd name="T106" fmla="*/ 153 w 164"/>
              <a:gd name="T107" fmla="*/ 73 h 104"/>
              <a:gd name="T108" fmla="*/ 153 w 164"/>
              <a:gd name="T109" fmla="*/ 104 h 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64" h="104">
                <a:moveTo>
                  <a:pt x="153" y="104"/>
                </a:moveTo>
                <a:lnTo>
                  <a:pt x="134" y="102"/>
                </a:lnTo>
                <a:lnTo>
                  <a:pt x="110" y="97"/>
                </a:lnTo>
                <a:lnTo>
                  <a:pt x="96" y="94"/>
                </a:lnTo>
                <a:lnTo>
                  <a:pt x="80" y="93"/>
                </a:lnTo>
                <a:lnTo>
                  <a:pt x="73" y="93"/>
                </a:lnTo>
                <a:lnTo>
                  <a:pt x="64" y="94"/>
                </a:lnTo>
                <a:lnTo>
                  <a:pt x="55" y="96"/>
                </a:lnTo>
                <a:lnTo>
                  <a:pt x="47" y="98"/>
                </a:lnTo>
                <a:lnTo>
                  <a:pt x="41" y="100"/>
                </a:lnTo>
                <a:lnTo>
                  <a:pt x="34" y="100"/>
                </a:lnTo>
                <a:lnTo>
                  <a:pt x="27" y="99"/>
                </a:lnTo>
                <a:lnTo>
                  <a:pt x="19" y="96"/>
                </a:lnTo>
                <a:lnTo>
                  <a:pt x="11" y="92"/>
                </a:lnTo>
                <a:lnTo>
                  <a:pt x="6" y="88"/>
                </a:lnTo>
                <a:lnTo>
                  <a:pt x="3" y="86"/>
                </a:lnTo>
                <a:lnTo>
                  <a:pt x="1" y="84"/>
                </a:lnTo>
                <a:lnTo>
                  <a:pt x="0" y="81"/>
                </a:lnTo>
                <a:lnTo>
                  <a:pt x="0" y="79"/>
                </a:lnTo>
                <a:lnTo>
                  <a:pt x="0" y="76"/>
                </a:lnTo>
                <a:lnTo>
                  <a:pt x="1" y="74"/>
                </a:lnTo>
                <a:lnTo>
                  <a:pt x="3" y="71"/>
                </a:lnTo>
                <a:lnTo>
                  <a:pt x="6" y="70"/>
                </a:lnTo>
                <a:lnTo>
                  <a:pt x="12" y="67"/>
                </a:lnTo>
                <a:lnTo>
                  <a:pt x="20" y="66"/>
                </a:lnTo>
                <a:lnTo>
                  <a:pt x="40" y="66"/>
                </a:lnTo>
                <a:lnTo>
                  <a:pt x="61" y="67"/>
                </a:lnTo>
                <a:lnTo>
                  <a:pt x="70" y="67"/>
                </a:lnTo>
                <a:lnTo>
                  <a:pt x="79" y="67"/>
                </a:lnTo>
                <a:lnTo>
                  <a:pt x="87" y="67"/>
                </a:lnTo>
                <a:lnTo>
                  <a:pt x="94" y="67"/>
                </a:lnTo>
                <a:lnTo>
                  <a:pt x="94" y="56"/>
                </a:lnTo>
                <a:lnTo>
                  <a:pt x="94" y="43"/>
                </a:lnTo>
                <a:lnTo>
                  <a:pt x="94" y="29"/>
                </a:lnTo>
                <a:lnTo>
                  <a:pt x="94" y="18"/>
                </a:lnTo>
                <a:lnTo>
                  <a:pt x="79" y="17"/>
                </a:lnTo>
                <a:lnTo>
                  <a:pt x="67" y="15"/>
                </a:lnTo>
                <a:lnTo>
                  <a:pt x="62" y="13"/>
                </a:lnTo>
                <a:lnTo>
                  <a:pt x="57" y="10"/>
                </a:lnTo>
                <a:lnTo>
                  <a:pt x="52" y="6"/>
                </a:lnTo>
                <a:lnTo>
                  <a:pt x="47" y="0"/>
                </a:lnTo>
                <a:lnTo>
                  <a:pt x="146" y="0"/>
                </a:lnTo>
                <a:lnTo>
                  <a:pt x="147" y="6"/>
                </a:lnTo>
                <a:lnTo>
                  <a:pt x="148" y="13"/>
                </a:lnTo>
                <a:lnTo>
                  <a:pt x="150" y="19"/>
                </a:lnTo>
                <a:lnTo>
                  <a:pt x="152" y="25"/>
                </a:lnTo>
                <a:lnTo>
                  <a:pt x="156" y="35"/>
                </a:lnTo>
                <a:lnTo>
                  <a:pt x="159" y="46"/>
                </a:lnTo>
                <a:lnTo>
                  <a:pt x="163" y="54"/>
                </a:lnTo>
                <a:lnTo>
                  <a:pt x="164" y="62"/>
                </a:lnTo>
                <a:lnTo>
                  <a:pt x="163" y="65"/>
                </a:lnTo>
                <a:lnTo>
                  <a:pt x="160" y="68"/>
                </a:lnTo>
                <a:lnTo>
                  <a:pt x="157" y="71"/>
                </a:lnTo>
                <a:lnTo>
                  <a:pt x="153" y="73"/>
                </a:lnTo>
                <a:lnTo>
                  <a:pt x="153" y="104"/>
                </a:lnTo>
              </a:path>
            </a:pathLst>
          </a:custGeom>
          <a:solidFill>
            <a:srgbClr val="29713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45" name="Freeform 197"/>
          <p:cNvSpPr>
            <a:spLocks/>
          </p:cNvSpPr>
          <p:nvPr>
            <p:custDataLst>
              <p:tags r:id="rId124"/>
            </p:custDataLst>
          </p:nvPr>
        </p:nvSpPr>
        <p:spPr bwMode="auto">
          <a:xfrm>
            <a:off x="4060826" y="5400675"/>
            <a:ext cx="23813" cy="57150"/>
          </a:xfrm>
          <a:custGeom>
            <a:avLst/>
            <a:gdLst>
              <a:gd name="T0" fmla="*/ 0 w 53"/>
              <a:gd name="T1" fmla="*/ 8 h 19"/>
              <a:gd name="T2" fmla="*/ 7 w 53"/>
              <a:gd name="T3" fmla="*/ 13 h 19"/>
              <a:gd name="T4" fmla="*/ 14 w 53"/>
              <a:gd name="T5" fmla="*/ 17 h 19"/>
              <a:gd name="T6" fmla="*/ 22 w 53"/>
              <a:gd name="T7" fmla="*/ 19 h 19"/>
              <a:gd name="T8" fmla="*/ 29 w 53"/>
              <a:gd name="T9" fmla="*/ 19 h 19"/>
              <a:gd name="T10" fmla="*/ 35 w 53"/>
              <a:gd name="T11" fmla="*/ 18 h 19"/>
              <a:gd name="T12" fmla="*/ 42 w 53"/>
              <a:gd name="T13" fmla="*/ 15 h 19"/>
              <a:gd name="T14" fmla="*/ 47 w 53"/>
              <a:gd name="T15" fmla="*/ 12 h 19"/>
              <a:gd name="T16" fmla="*/ 53 w 53"/>
              <a:gd name="T17" fmla="*/ 8 h 19"/>
              <a:gd name="T18" fmla="*/ 47 w 53"/>
              <a:gd name="T19" fmla="*/ 5 h 19"/>
              <a:gd name="T20" fmla="*/ 42 w 53"/>
              <a:gd name="T21" fmla="*/ 2 h 19"/>
              <a:gd name="T22" fmla="*/ 35 w 53"/>
              <a:gd name="T23" fmla="*/ 1 h 19"/>
              <a:gd name="T24" fmla="*/ 29 w 53"/>
              <a:gd name="T25" fmla="*/ 0 h 19"/>
              <a:gd name="T26" fmla="*/ 22 w 53"/>
              <a:gd name="T27" fmla="*/ 0 h 19"/>
              <a:gd name="T28" fmla="*/ 14 w 53"/>
              <a:gd name="T29" fmla="*/ 1 h 19"/>
              <a:gd name="T30" fmla="*/ 7 w 53"/>
              <a:gd name="T31" fmla="*/ 3 h 19"/>
              <a:gd name="T32" fmla="*/ 0 w 53"/>
              <a:gd name="T33" fmla="*/ 8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46" name="Freeform 198"/>
          <p:cNvSpPr>
            <a:spLocks/>
          </p:cNvSpPr>
          <p:nvPr>
            <p:custDataLst>
              <p:tags r:id="rId125"/>
            </p:custDataLst>
          </p:nvPr>
        </p:nvSpPr>
        <p:spPr bwMode="auto">
          <a:xfrm>
            <a:off x="4025901" y="5380039"/>
            <a:ext cx="34925" cy="58737"/>
          </a:xfrm>
          <a:custGeom>
            <a:avLst/>
            <a:gdLst>
              <a:gd name="T0" fmla="*/ 0 w 80"/>
              <a:gd name="T1" fmla="*/ 0 h 18"/>
              <a:gd name="T2" fmla="*/ 1 w 80"/>
              <a:gd name="T3" fmla="*/ 6 h 18"/>
              <a:gd name="T4" fmla="*/ 5 w 80"/>
              <a:gd name="T5" fmla="*/ 12 h 18"/>
              <a:gd name="T6" fmla="*/ 8 w 80"/>
              <a:gd name="T7" fmla="*/ 14 h 18"/>
              <a:gd name="T8" fmla="*/ 11 w 80"/>
              <a:gd name="T9" fmla="*/ 16 h 18"/>
              <a:gd name="T10" fmla="*/ 15 w 80"/>
              <a:gd name="T11" fmla="*/ 18 h 18"/>
              <a:gd name="T12" fmla="*/ 20 w 80"/>
              <a:gd name="T13" fmla="*/ 18 h 18"/>
              <a:gd name="T14" fmla="*/ 22 w 80"/>
              <a:gd name="T15" fmla="*/ 15 h 18"/>
              <a:gd name="T16" fmla="*/ 24 w 80"/>
              <a:gd name="T17" fmla="*/ 13 h 18"/>
              <a:gd name="T18" fmla="*/ 26 w 80"/>
              <a:gd name="T19" fmla="*/ 11 h 18"/>
              <a:gd name="T20" fmla="*/ 31 w 80"/>
              <a:gd name="T21" fmla="*/ 10 h 18"/>
              <a:gd name="T22" fmla="*/ 38 w 80"/>
              <a:gd name="T23" fmla="*/ 8 h 18"/>
              <a:gd name="T24" fmla="*/ 47 w 80"/>
              <a:gd name="T25" fmla="*/ 7 h 18"/>
              <a:gd name="T26" fmla="*/ 57 w 80"/>
              <a:gd name="T27" fmla="*/ 7 h 18"/>
              <a:gd name="T28" fmla="*/ 66 w 80"/>
              <a:gd name="T29" fmla="*/ 6 h 18"/>
              <a:gd name="T30" fmla="*/ 70 w 80"/>
              <a:gd name="T31" fmla="*/ 5 h 18"/>
              <a:gd name="T32" fmla="*/ 74 w 80"/>
              <a:gd name="T33" fmla="*/ 4 h 18"/>
              <a:gd name="T34" fmla="*/ 77 w 80"/>
              <a:gd name="T35" fmla="*/ 2 h 18"/>
              <a:gd name="T36" fmla="*/ 80 w 80"/>
              <a:gd name="T37" fmla="*/ 0 h 18"/>
              <a:gd name="T38" fmla="*/ 0 w 80"/>
              <a:gd name="T39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80" h="18">
                <a:moveTo>
                  <a:pt x="0" y="0"/>
                </a:moveTo>
                <a:lnTo>
                  <a:pt x="1" y="6"/>
                </a:lnTo>
                <a:lnTo>
                  <a:pt x="5" y="12"/>
                </a:lnTo>
                <a:lnTo>
                  <a:pt x="8" y="14"/>
                </a:lnTo>
                <a:lnTo>
                  <a:pt x="11" y="16"/>
                </a:lnTo>
                <a:lnTo>
                  <a:pt x="15" y="18"/>
                </a:lnTo>
                <a:lnTo>
                  <a:pt x="20" y="18"/>
                </a:lnTo>
                <a:lnTo>
                  <a:pt x="22" y="15"/>
                </a:lnTo>
                <a:lnTo>
                  <a:pt x="24" y="13"/>
                </a:lnTo>
                <a:lnTo>
                  <a:pt x="26" y="11"/>
                </a:lnTo>
                <a:lnTo>
                  <a:pt x="31" y="10"/>
                </a:lnTo>
                <a:lnTo>
                  <a:pt x="38" y="8"/>
                </a:lnTo>
                <a:lnTo>
                  <a:pt x="47" y="7"/>
                </a:lnTo>
                <a:lnTo>
                  <a:pt x="57" y="7"/>
                </a:lnTo>
                <a:lnTo>
                  <a:pt x="66" y="6"/>
                </a:lnTo>
                <a:lnTo>
                  <a:pt x="70" y="5"/>
                </a:lnTo>
                <a:lnTo>
                  <a:pt x="74" y="4"/>
                </a:lnTo>
                <a:lnTo>
                  <a:pt x="77" y="2"/>
                </a:lnTo>
                <a:lnTo>
                  <a:pt x="8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47" name="Freeform 199"/>
          <p:cNvSpPr>
            <a:spLocks/>
          </p:cNvSpPr>
          <p:nvPr>
            <p:custDataLst>
              <p:tags r:id="rId126"/>
            </p:custDataLst>
          </p:nvPr>
        </p:nvSpPr>
        <p:spPr bwMode="auto">
          <a:xfrm>
            <a:off x="4025901" y="5359401"/>
            <a:ext cx="22225" cy="60325"/>
          </a:xfrm>
          <a:custGeom>
            <a:avLst/>
            <a:gdLst>
              <a:gd name="T0" fmla="*/ 20 w 46"/>
              <a:gd name="T1" fmla="*/ 0 h 27"/>
              <a:gd name="T2" fmla="*/ 0 w 46"/>
              <a:gd name="T3" fmla="*/ 18 h 27"/>
              <a:gd name="T4" fmla="*/ 9 w 46"/>
              <a:gd name="T5" fmla="*/ 22 h 27"/>
              <a:gd name="T6" fmla="*/ 16 w 46"/>
              <a:gd name="T7" fmla="*/ 25 h 27"/>
              <a:gd name="T8" fmla="*/ 23 w 46"/>
              <a:gd name="T9" fmla="*/ 27 h 27"/>
              <a:gd name="T10" fmla="*/ 29 w 46"/>
              <a:gd name="T11" fmla="*/ 27 h 27"/>
              <a:gd name="T12" fmla="*/ 33 w 46"/>
              <a:gd name="T13" fmla="*/ 27 h 27"/>
              <a:gd name="T14" fmla="*/ 37 w 46"/>
              <a:gd name="T15" fmla="*/ 25 h 27"/>
              <a:gd name="T16" fmla="*/ 42 w 46"/>
              <a:gd name="T17" fmla="*/ 22 h 27"/>
              <a:gd name="T18" fmla="*/ 46 w 46"/>
              <a:gd name="T19" fmla="*/ 18 h 27"/>
              <a:gd name="T20" fmla="*/ 41 w 46"/>
              <a:gd name="T21" fmla="*/ 16 h 27"/>
              <a:gd name="T22" fmla="*/ 33 w 46"/>
              <a:gd name="T23" fmla="*/ 11 h 27"/>
              <a:gd name="T24" fmla="*/ 26 w 46"/>
              <a:gd name="T25" fmla="*/ 5 h 27"/>
              <a:gd name="T26" fmla="*/ 20 w 46"/>
              <a:gd name="T27" fmla="*/ 0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46" h="27">
                <a:moveTo>
                  <a:pt x="20" y="0"/>
                </a:moveTo>
                <a:lnTo>
                  <a:pt x="0" y="18"/>
                </a:lnTo>
                <a:lnTo>
                  <a:pt x="9" y="22"/>
                </a:lnTo>
                <a:lnTo>
                  <a:pt x="16" y="25"/>
                </a:lnTo>
                <a:lnTo>
                  <a:pt x="23" y="27"/>
                </a:lnTo>
                <a:lnTo>
                  <a:pt x="29" y="27"/>
                </a:lnTo>
                <a:lnTo>
                  <a:pt x="33" y="27"/>
                </a:lnTo>
                <a:lnTo>
                  <a:pt x="37" y="25"/>
                </a:lnTo>
                <a:lnTo>
                  <a:pt x="42" y="22"/>
                </a:lnTo>
                <a:lnTo>
                  <a:pt x="46" y="18"/>
                </a:lnTo>
                <a:lnTo>
                  <a:pt x="41" y="16"/>
                </a:lnTo>
                <a:lnTo>
                  <a:pt x="33" y="11"/>
                </a:lnTo>
                <a:lnTo>
                  <a:pt x="26" y="5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48" name="Freeform 200"/>
          <p:cNvSpPr>
            <a:spLocks/>
          </p:cNvSpPr>
          <p:nvPr>
            <p:custDataLst>
              <p:tags r:id="rId127"/>
            </p:custDataLst>
          </p:nvPr>
        </p:nvSpPr>
        <p:spPr bwMode="auto">
          <a:xfrm>
            <a:off x="3995738" y="5353051"/>
            <a:ext cx="25400" cy="60325"/>
          </a:xfrm>
          <a:custGeom>
            <a:avLst/>
            <a:gdLst>
              <a:gd name="T0" fmla="*/ 34 w 54"/>
              <a:gd name="T1" fmla="*/ 0 h 39"/>
              <a:gd name="T2" fmla="*/ 20 w 54"/>
              <a:gd name="T3" fmla="*/ 4 h 39"/>
              <a:gd name="T4" fmla="*/ 10 w 54"/>
              <a:gd name="T5" fmla="*/ 10 h 39"/>
              <a:gd name="T6" fmla="*/ 6 w 54"/>
              <a:gd name="T7" fmla="*/ 13 h 39"/>
              <a:gd name="T8" fmla="*/ 4 w 54"/>
              <a:gd name="T9" fmla="*/ 16 h 39"/>
              <a:gd name="T10" fmla="*/ 2 w 54"/>
              <a:gd name="T11" fmla="*/ 20 h 39"/>
              <a:gd name="T12" fmla="*/ 0 w 54"/>
              <a:gd name="T13" fmla="*/ 24 h 39"/>
              <a:gd name="T14" fmla="*/ 2 w 54"/>
              <a:gd name="T15" fmla="*/ 28 h 39"/>
              <a:gd name="T16" fmla="*/ 3 w 54"/>
              <a:gd name="T17" fmla="*/ 32 h 39"/>
              <a:gd name="T18" fmla="*/ 5 w 54"/>
              <a:gd name="T19" fmla="*/ 35 h 39"/>
              <a:gd name="T20" fmla="*/ 8 w 54"/>
              <a:gd name="T21" fmla="*/ 37 h 39"/>
              <a:gd name="T22" fmla="*/ 11 w 54"/>
              <a:gd name="T23" fmla="*/ 38 h 39"/>
              <a:gd name="T24" fmla="*/ 16 w 54"/>
              <a:gd name="T25" fmla="*/ 39 h 39"/>
              <a:gd name="T26" fmla="*/ 20 w 54"/>
              <a:gd name="T27" fmla="*/ 39 h 39"/>
              <a:gd name="T28" fmla="*/ 25 w 54"/>
              <a:gd name="T29" fmla="*/ 39 h 39"/>
              <a:gd name="T30" fmla="*/ 30 w 54"/>
              <a:gd name="T31" fmla="*/ 38 h 39"/>
              <a:gd name="T32" fmla="*/ 34 w 54"/>
              <a:gd name="T33" fmla="*/ 37 h 39"/>
              <a:gd name="T34" fmla="*/ 39 w 54"/>
              <a:gd name="T35" fmla="*/ 35 h 39"/>
              <a:gd name="T36" fmla="*/ 43 w 54"/>
              <a:gd name="T37" fmla="*/ 33 h 39"/>
              <a:gd name="T38" fmla="*/ 47 w 54"/>
              <a:gd name="T39" fmla="*/ 30 h 39"/>
              <a:gd name="T40" fmla="*/ 50 w 54"/>
              <a:gd name="T41" fmla="*/ 26 h 39"/>
              <a:gd name="T42" fmla="*/ 52 w 54"/>
              <a:gd name="T43" fmla="*/ 22 h 39"/>
              <a:gd name="T44" fmla="*/ 54 w 54"/>
              <a:gd name="T45" fmla="*/ 18 h 39"/>
              <a:gd name="T46" fmla="*/ 51 w 54"/>
              <a:gd name="T47" fmla="*/ 17 h 39"/>
              <a:gd name="T48" fmla="*/ 48 w 54"/>
              <a:gd name="T49" fmla="*/ 16 h 39"/>
              <a:gd name="T50" fmla="*/ 44 w 54"/>
              <a:gd name="T51" fmla="*/ 14 h 39"/>
              <a:gd name="T52" fmla="*/ 42 w 54"/>
              <a:gd name="T53" fmla="*/ 11 h 39"/>
              <a:gd name="T54" fmla="*/ 39 w 54"/>
              <a:gd name="T55" fmla="*/ 8 h 39"/>
              <a:gd name="T56" fmla="*/ 37 w 54"/>
              <a:gd name="T57" fmla="*/ 5 h 39"/>
              <a:gd name="T58" fmla="*/ 34 w 54"/>
              <a:gd name="T59" fmla="*/ 2 h 39"/>
              <a:gd name="T60" fmla="*/ 34 w 54"/>
              <a:gd name="T61" fmla="*/ 0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54" h="39">
                <a:moveTo>
                  <a:pt x="34" y="0"/>
                </a:moveTo>
                <a:lnTo>
                  <a:pt x="20" y="4"/>
                </a:lnTo>
                <a:lnTo>
                  <a:pt x="10" y="10"/>
                </a:lnTo>
                <a:lnTo>
                  <a:pt x="6" y="13"/>
                </a:lnTo>
                <a:lnTo>
                  <a:pt x="4" y="16"/>
                </a:lnTo>
                <a:lnTo>
                  <a:pt x="2" y="20"/>
                </a:lnTo>
                <a:lnTo>
                  <a:pt x="0" y="24"/>
                </a:lnTo>
                <a:lnTo>
                  <a:pt x="2" y="28"/>
                </a:lnTo>
                <a:lnTo>
                  <a:pt x="3" y="32"/>
                </a:lnTo>
                <a:lnTo>
                  <a:pt x="5" y="35"/>
                </a:lnTo>
                <a:lnTo>
                  <a:pt x="8" y="37"/>
                </a:lnTo>
                <a:lnTo>
                  <a:pt x="11" y="38"/>
                </a:lnTo>
                <a:lnTo>
                  <a:pt x="16" y="39"/>
                </a:lnTo>
                <a:lnTo>
                  <a:pt x="20" y="39"/>
                </a:lnTo>
                <a:lnTo>
                  <a:pt x="25" y="39"/>
                </a:lnTo>
                <a:lnTo>
                  <a:pt x="30" y="38"/>
                </a:lnTo>
                <a:lnTo>
                  <a:pt x="34" y="37"/>
                </a:lnTo>
                <a:lnTo>
                  <a:pt x="39" y="35"/>
                </a:lnTo>
                <a:lnTo>
                  <a:pt x="43" y="33"/>
                </a:lnTo>
                <a:lnTo>
                  <a:pt x="47" y="30"/>
                </a:lnTo>
                <a:lnTo>
                  <a:pt x="50" y="26"/>
                </a:lnTo>
                <a:lnTo>
                  <a:pt x="52" y="22"/>
                </a:lnTo>
                <a:lnTo>
                  <a:pt x="54" y="18"/>
                </a:lnTo>
                <a:lnTo>
                  <a:pt x="51" y="17"/>
                </a:lnTo>
                <a:lnTo>
                  <a:pt x="48" y="16"/>
                </a:lnTo>
                <a:lnTo>
                  <a:pt x="44" y="14"/>
                </a:lnTo>
                <a:lnTo>
                  <a:pt x="42" y="11"/>
                </a:lnTo>
                <a:lnTo>
                  <a:pt x="39" y="8"/>
                </a:lnTo>
                <a:lnTo>
                  <a:pt x="37" y="5"/>
                </a:lnTo>
                <a:lnTo>
                  <a:pt x="34" y="2"/>
                </a:lnTo>
                <a:lnTo>
                  <a:pt x="3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49" name="Freeform 201"/>
          <p:cNvSpPr>
            <a:spLocks/>
          </p:cNvSpPr>
          <p:nvPr>
            <p:custDataLst>
              <p:tags r:id="rId128"/>
            </p:custDataLst>
          </p:nvPr>
        </p:nvSpPr>
        <p:spPr bwMode="auto">
          <a:xfrm>
            <a:off x="3970339" y="5343525"/>
            <a:ext cx="28575" cy="58738"/>
          </a:xfrm>
          <a:custGeom>
            <a:avLst/>
            <a:gdLst>
              <a:gd name="T0" fmla="*/ 0 w 60"/>
              <a:gd name="T1" fmla="*/ 11 h 15"/>
              <a:gd name="T2" fmla="*/ 10 w 60"/>
              <a:gd name="T3" fmla="*/ 13 h 15"/>
              <a:gd name="T4" fmla="*/ 18 w 60"/>
              <a:gd name="T5" fmla="*/ 14 h 15"/>
              <a:gd name="T6" fmla="*/ 27 w 60"/>
              <a:gd name="T7" fmla="*/ 15 h 15"/>
              <a:gd name="T8" fmla="*/ 35 w 60"/>
              <a:gd name="T9" fmla="*/ 15 h 15"/>
              <a:gd name="T10" fmla="*/ 41 w 60"/>
              <a:gd name="T11" fmla="*/ 14 h 15"/>
              <a:gd name="T12" fmla="*/ 48 w 60"/>
              <a:gd name="T13" fmla="*/ 12 h 15"/>
              <a:gd name="T14" fmla="*/ 55 w 60"/>
              <a:gd name="T15" fmla="*/ 9 h 15"/>
              <a:gd name="T16" fmla="*/ 60 w 60"/>
              <a:gd name="T17" fmla="*/ 5 h 15"/>
              <a:gd name="T18" fmla="*/ 57 w 60"/>
              <a:gd name="T19" fmla="*/ 3 h 15"/>
              <a:gd name="T20" fmla="*/ 54 w 60"/>
              <a:gd name="T21" fmla="*/ 0 h 15"/>
              <a:gd name="T22" fmla="*/ 51 w 60"/>
              <a:gd name="T23" fmla="*/ 0 h 15"/>
              <a:gd name="T24" fmla="*/ 47 w 60"/>
              <a:gd name="T25" fmla="*/ 0 h 15"/>
              <a:gd name="T26" fmla="*/ 40 w 60"/>
              <a:gd name="T27" fmla="*/ 0 h 15"/>
              <a:gd name="T28" fmla="*/ 33 w 60"/>
              <a:gd name="T29" fmla="*/ 3 h 15"/>
              <a:gd name="T30" fmla="*/ 24 w 60"/>
              <a:gd name="T31" fmla="*/ 6 h 15"/>
              <a:gd name="T32" fmla="*/ 16 w 60"/>
              <a:gd name="T33" fmla="*/ 8 h 15"/>
              <a:gd name="T34" fmla="*/ 7 w 60"/>
              <a:gd name="T35" fmla="*/ 10 h 15"/>
              <a:gd name="T36" fmla="*/ 0 w 60"/>
              <a:gd name="T37" fmla="*/ 11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0" h="15">
                <a:moveTo>
                  <a:pt x="0" y="11"/>
                </a:moveTo>
                <a:lnTo>
                  <a:pt x="10" y="13"/>
                </a:lnTo>
                <a:lnTo>
                  <a:pt x="18" y="14"/>
                </a:lnTo>
                <a:lnTo>
                  <a:pt x="27" y="15"/>
                </a:lnTo>
                <a:lnTo>
                  <a:pt x="35" y="15"/>
                </a:lnTo>
                <a:lnTo>
                  <a:pt x="41" y="14"/>
                </a:lnTo>
                <a:lnTo>
                  <a:pt x="48" y="12"/>
                </a:lnTo>
                <a:lnTo>
                  <a:pt x="55" y="9"/>
                </a:lnTo>
                <a:lnTo>
                  <a:pt x="60" y="5"/>
                </a:lnTo>
                <a:lnTo>
                  <a:pt x="57" y="3"/>
                </a:lnTo>
                <a:lnTo>
                  <a:pt x="54" y="0"/>
                </a:lnTo>
                <a:lnTo>
                  <a:pt x="51" y="0"/>
                </a:lnTo>
                <a:lnTo>
                  <a:pt x="47" y="0"/>
                </a:lnTo>
                <a:lnTo>
                  <a:pt x="40" y="0"/>
                </a:lnTo>
                <a:lnTo>
                  <a:pt x="33" y="3"/>
                </a:lnTo>
                <a:lnTo>
                  <a:pt x="24" y="6"/>
                </a:lnTo>
                <a:lnTo>
                  <a:pt x="16" y="8"/>
                </a:lnTo>
                <a:lnTo>
                  <a:pt x="7" y="10"/>
                </a:lnTo>
                <a:lnTo>
                  <a:pt x="0" y="1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50" name="Freeform 202"/>
          <p:cNvSpPr>
            <a:spLocks/>
          </p:cNvSpPr>
          <p:nvPr>
            <p:custDataLst>
              <p:tags r:id="rId129"/>
            </p:custDataLst>
          </p:nvPr>
        </p:nvSpPr>
        <p:spPr bwMode="auto">
          <a:xfrm>
            <a:off x="3946525" y="5330825"/>
            <a:ext cx="33338" cy="57150"/>
          </a:xfrm>
          <a:custGeom>
            <a:avLst/>
            <a:gdLst>
              <a:gd name="T0" fmla="*/ 40 w 79"/>
              <a:gd name="T1" fmla="*/ 0 h 32"/>
              <a:gd name="T2" fmla="*/ 34 w 79"/>
              <a:gd name="T3" fmla="*/ 1 h 32"/>
              <a:gd name="T4" fmla="*/ 30 w 79"/>
              <a:gd name="T5" fmla="*/ 2 h 32"/>
              <a:gd name="T6" fmla="*/ 25 w 79"/>
              <a:gd name="T7" fmla="*/ 4 h 32"/>
              <a:gd name="T8" fmla="*/ 20 w 79"/>
              <a:gd name="T9" fmla="*/ 6 h 32"/>
              <a:gd name="T10" fmla="*/ 15 w 79"/>
              <a:gd name="T11" fmla="*/ 9 h 32"/>
              <a:gd name="T12" fmla="*/ 10 w 79"/>
              <a:gd name="T13" fmla="*/ 11 h 32"/>
              <a:gd name="T14" fmla="*/ 5 w 79"/>
              <a:gd name="T15" fmla="*/ 12 h 32"/>
              <a:gd name="T16" fmla="*/ 0 w 79"/>
              <a:gd name="T17" fmla="*/ 13 h 32"/>
              <a:gd name="T18" fmla="*/ 5 w 79"/>
              <a:gd name="T19" fmla="*/ 21 h 32"/>
              <a:gd name="T20" fmla="*/ 10 w 79"/>
              <a:gd name="T21" fmla="*/ 26 h 32"/>
              <a:gd name="T22" fmla="*/ 12 w 79"/>
              <a:gd name="T23" fmla="*/ 29 h 32"/>
              <a:gd name="T24" fmla="*/ 15 w 79"/>
              <a:gd name="T25" fmla="*/ 31 h 32"/>
              <a:gd name="T26" fmla="*/ 18 w 79"/>
              <a:gd name="T27" fmla="*/ 31 h 32"/>
              <a:gd name="T28" fmla="*/ 20 w 79"/>
              <a:gd name="T29" fmla="*/ 32 h 32"/>
              <a:gd name="T30" fmla="*/ 27 w 79"/>
              <a:gd name="T31" fmla="*/ 31 h 32"/>
              <a:gd name="T32" fmla="*/ 34 w 79"/>
              <a:gd name="T33" fmla="*/ 30 h 32"/>
              <a:gd name="T34" fmla="*/ 41 w 79"/>
              <a:gd name="T35" fmla="*/ 27 h 32"/>
              <a:gd name="T36" fmla="*/ 48 w 79"/>
              <a:gd name="T37" fmla="*/ 24 h 32"/>
              <a:gd name="T38" fmla="*/ 62 w 79"/>
              <a:gd name="T39" fmla="*/ 18 h 32"/>
              <a:gd name="T40" fmla="*/ 79 w 79"/>
              <a:gd name="T41" fmla="*/ 13 h 32"/>
              <a:gd name="T42" fmla="*/ 67 w 79"/>
              <a:gd name="T43" fmla="*/ 6 h 32"/>
              <a:gd name="T44" fmla="*/ 58 w 79"/>
              <a:gd name="T45" fmla="*/ 2 h 32"/>
              <a:gd name="T46" fmla="*/ 49 w 79"/>
              <a:gd name="T47" fmla="*/ 1 h 32"/>
              <a:gd name="T48" fmla="*/ 40 w 79"/>
              <a:gd name="T49" fmla="*/ 0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79" h="32">
                <a:moveTo>
                  <a:pt x="40" y="0"/>
                </a:moveTo>
                <a:lnTo>
                  <a:pt x="34" y="1"/>
                </a:lnTo>
                <a:lnTo>
                  <a:pt x="30" y="2"/>
                </a:lnTo>
                <a:lnTo>
                  <a:pt x="25" y="4"/>
                </a:lnTo>
                <a:lnTo>
                  <a:pt x="20" y="6"/>
                </a:lnTo>
                <a:lnTo>
                  <a:pt x="15" y="9"/>
                </a:lnTo>
                <a:lnTo>
                  <a:pt x="10" y="11"/>
                </a:lnTo>
                <a:lnTo>
                  <a:pt x="5" y="12"/>
                </a:lnTo>
                <a:lnTo>
                  <a:pt x="0" y="13"/>
                </a:lnTo>
                <a:lnTo>
                  <a:pt x="5" y="21"/>
                </a:lnTo>
                <a:lnTo>
                  <a:pt x="10" y="26"/>
                </a:lnTo>
                <a:lnTo>
                  <a:pt x="12" y="29"/>
                </a:lnTo>
                <a:lnTo>
                  <a:pt x="15" y="31"/>
                </a:lnTo>
                <a:lnTo>
                  <a:pt x="18" y="31"/>
                </a:lnTo>
                <a:lnTo>
                  <a:pt x="20" y="32"/>
                </a:lnTo>
                <a:lnTo>
                  <a:pt x="27" y="31"/>
                </a:lnTo>
                <a:lnTo>
                  <a:pt x="34" y="30"/>
                </a:lnTo>
                <a:lnTo>
                  <a:pt x="41" y="27"/>
                </a:lnTo>
                <a:lnTo>
                  <a:pt x="48" y="24"/>
                </a:lnTo>
                <a:lnTo>
                  <a:pt x="62" y="18"/>
                </a:lnTo>
                <a:lnTo>
                  <a:pt x="79" y="13"/>
                </a:lnTo>
                <a:lnTo>
                  <a:pt x="67" y="6"/>
                </a:lnTo>
                <a:lnTo>
                  <a:pt x="58" y="2"/>
                </a:lnTo>
                <a:lnTo>
                  <a:pt x="49" y="1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51" name="Freeform 203"/>
          <p:cNvSpPr>
            <a:spLocks/>
          </p:cNvSpPr>
          <p:nvPr>
            <p:custDataLst>
              <p:tags r:id="rId130"/>
            </p:custDataLst>
          </p:nvPr>
        </p:nvSpPr>
        <p:spPr bwMode="auto">
          <a:xfrm>
            <a:off x="3940176" y="5311775"/>
            <a:ext cx="30163" cy="57150"/>
          </a:xfrm>
          <a:custGeom>
            <a:avLst/>
            <a:gdLst>
              <a:gd name="T0" fmla="*/ 33 w 66"/>
              <a:gd name="T1" fmla="*/ 0 h 19"/>
              <a:gd name="T2" fmla="*/ 25 w 66"/>
              <a:gd name="T3" fmla="*/ 1 h 19"/>
              <a:gd name="T4" fmla="*/ 19 w 66"/>
              <a:gd name="T5" fmla="*/ 2 h 19"/>
              <a:gd name="T6" fmla="*/ 13 w 66"/>
              <a:gd name="T7" fmla="*/ 4 h 19"/>
              <a:gd name="T8" fmla="*/ 9 w 66"/>
              <a:gd name="T9" fmla="*/ 7 h 19"/>
              <a:gd name="T10" fmla="*/ 5 w 66"/>
              <a:gd name="T11" fmla="*/ 11 h 19"/>
              <a:gd name="T12" fmla="*/ 2 w 66"/>
              <a:gd name="T13" fmla="*/ 14 h 19"/>
              <a:gd name="T14" fmla="*/ 0 w 66"/>
              <a:gd name="T15" fmla="*/ 17 h 19"/>
              <a:gd name="T16" fmla="*/ 0 w 66"/>
              <a:gd name="T17" fmla="*/ 19 h 19"/>
              <a:gd name="T18" fmla="*/ 19 w 66"/>
              <a:gd name="T19" fmla="*/ 19 h 19"/>
              <a:gd name="T20" fmla="*/ 38 w 66"/>
              <a:gd name="T21" fmla="*/ 19 h 19"/>
              <a:gd name="T22" fmla="*/ 46 w 66"/>
              <a:gd name="T23" fmla="*/ 18 h 19"/>
              <a:gd name="T24" fmla="*/ 54 w 66"/>
              <a:gd name="T25" fmla="*/ 17 h 19"/>
              <a:gd name="T26" fmla="*/ 61 w 66"/>
              <a:gd name="T27" fmla="*/ 15 h 19"/>
              <a:gd name="T28" fmla="*/ 66 w 66"/>
              <a:gd name="T29" fmla="*/ 13 h 19"/>
              <a:gd name="T30" fmla="*/ 57 w 66"/>
              <a:gd name="T31" fmla="*/ 8 h 19"/>
              <a:gd name="T32" fmla="*/ 50 w 66"/>
              <a:gd name="T33" fmla="*/ 4 h 19"/>
              <a:gd name="T34" fmla="*/ 42 w 66"/>
              <a:gd name="T35" fmla="*/ 1 h 19"/>
              <a:gd name="T36" fmla="*/ 33 w 66"/>
              <a:gd name="T37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6" h="19">
                <a:moveTo>
                  <a:pt x="33" y="0"/>
                </a:moveTo>
                <a:lnTo>
                  <a:pt x="25" y="1"/>
                </a:lnTo>
                <a:lnTo>
                  <a:pt x="19" y="2"/>
                </a:lnTo>
                <a:lnTo>
                  <a:pt x="13" y="4"/>
                </a:lnTo>
                <a:lnTo>
                  <a:pt x="9" y="7"/>
                </a:lnTo>
                <a:lnTo>
                  <a:pt x="5" y="11"/>
                </a:lnTo>
                <a:lnTo>
                  <a:pt x="2" y="14"/>
                </a:lnTo>
                <a:lnTo>
                  <a:pt x="0" y="17"/>
                </a:lnTo>
                <a:lnTo>
                  <a:pt x="0" y="19"/>
                </a:lnTo>
                <a:lnTo>
                  <a:pt x="19" y="19"/>
                </a:lnTo>
                <a:lnTo>
                  <a:pt x="38" y="19"/>
                </a:lnTo>
                <a:lnTo>
                  <a:pt x="46" y="18"/>
                </a:lnTo>
                <a:lnTo>
                  <a:pt x="54" y="17"/>
                </a:lnTo>
                <a:lnTo>
                  <a:pt x="61" y="15"/>
                </a:lnTo>
                <a:lnTo>
                  <a:pt x="66" y="13"/>
                </a:lnTo>
                <a:lnTo>
                  <a:pt x="57" y="8"/>
                </a:lnTo>
                <a:lnTo>
                  <a:pt x="50" y="4"/>
                </a:lnTo>
                <a:lnTo>
                  <a:pt x="42" y="1"/>
                </a:lnTo>
                <a:lnTo>
                  <a:pt x="3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52" name="Freeform 204"/>
          <p:cNvSpPr>
            <a:spLocks/>
          </p:cNvSpPr>
          <p:nvPr>
            <p:custDataLst>
              <p:tags r:id="rId131"/>
            </p:custDataLst>
          </p:nvPr>
        </p:nvSpPr>
        <p:spPr bwMode="auto">
          <a:xfrm>
            <a:off x="3840163" y="5002214"/>
            <a:ext cx="25400" cy="60325"/>
          </a:xfrm>
          <a:custGeom>
            <a:avLst/>
            <a:gdLst>
              <a:gd name="T0" fmla="*/ 13 w 53"/>
              <a:gd name="T1" fmla="*/ 0 h 80"/>
              <a:gd name="T2" fmla="*/ 8 w 53"/>
              <a:gd name="T3" fmla="*/ 5 h 80"/>
              <a:gd name="T4" fmla="*/ 4 w 53"/>
              <a:gd name="T5" fmla="*/ 10 h 80"/>
              <a:gd name="T6" fmla="*/ 2 w 53"/>
              <a:gd name="T7" fmla="*/ 13 h 80"/>
              <a:gd name="T8" fmla="*/ 1 w 53"/>
              <a:gd name="T9" fmla="*/ 16 h 80"/>
              <a:gd name="T10" fmla="*/ 0 w 53"/>
              <a:gd name="T11" fmla="*/ 20 h 80"/>
              <a:gd name="T12" fmla="*/ 0 w 53"/>
              <a:gd name="T13" fmla="*/ 25 h 80"/>
              <a:gd name="T14" fmla="*/ 0 w 53"/>
              <a:gd name="T15" fmla="*/ 30 h 80"/>
              <a:gd name="T16" fmla="*/ 2 w 53"/>
              <a:gd name="T17" fmla="*/ 39 h 80"/>
              <a:gd name="T18" fmla="*/ 6 w 53"/>
              <a:gd name="T19" fmla="*/ 48 h 80"/>
              <a:gd name="T20" fmla="*/ 9 w 53"/>
              <a:gd name="T21" fmla="*/ 57 h 80"/>
              <a:gd name="T22" fmla="*/ 13 w 53"/>
              <a:gd name="T23" fmla="*/ 66 h 80"/>
              <a:gd name="T24" fmla="*/ 20 w 53"/>
              <a:gd name="T25" fmla="*/ 73 h 80"/>
              <a:gd name="T26" fmla="*/ 22 w 53"/>
              <a:gd name="T27" fmla="*/ 76 h 80"/>
              <a:gd name="T28" fmla="*/ 26 w 53"/>
              <a:gd name="T29" fmla="*/ 78 h 80"/>
              <a:gd name="T30" fmla="*/ 30 w 53"/>
              <a:gd name="T31" fmla="*/ 80 h 80"/>
              <a:gd name="T32" fmla="*/ 33 w 53"/>
              <a:gd name="T33" fmla="*/ 80 h 80"/>
              <a:gd name="T34" fmla="*/ 36 w 53"/>
              <a:gd name="T35" fmla="*/ 79 h 80"/>
              <a:gd name="T36" fmla="*/ 38 w 53"/>
              <a:gd name="T37" fmla="*/ 78 h 80"/>
              <a:gd name="T38" fmla="*/ 42 w 53"/>
              <a:gd name="T39" fmla="*/ 76 h 80"/>
              <a:gd name="T40" fmla="*/ 45 w 53"/>
              <a:gd name="T41" fmla="*/ 73 h 80"/>
              <a:gd name="T42" fmla="*/ 48 w 53"/>
              <a:gd name="T43" fmla="*/ 70 h 80"/>
              <a:gd name="T44" fmla="*/ 51 w 53"/>
              <a:gd name="T45" fmla="*/ 67 h 80"/>
              <a:gd name="T46" fmla="*/ 53 w 53"/>
              <a:gd name="T47" fmla="*/ 64 h 80"/>
              <a:gd name="T48" fmla="*/ 53 w 53"/>
              <a:gd name="T49" fmla="*/ 62 h 80"/>
              <a:gd name="T50" fmla="*/ 52 w 53"/>
              <a:gd name="T51" fmla="*/ 54 h 80"/>
              <a:gd name="T52" fmla="*/ 49 w 53"/>
              <a:gd name="T53" fmla="*/ 47 h 80"/>
              <a:gd name="T54" fmla="*/ 46 w 53"/>
              <a:gd name="T55" fmla="*/ 42 h 80"/>
              <a:gd name="T56" fmla="*/ 43 w 53"/>
              <a:gd name="T57" fmla="*/ 37 h 80"/>
              <a:gd name="T58" fmla="*/ 40 w 53"/>
              <a:gd name="T59" fmla="*/ 32 h 80"/>
              <a:gd name="T60" fmla="*/ 36 w 53"/>
              <a:gd name="T61" fmla="*/ 27 h 80"/>
              <a:gd name="T62" fmla="*/ 34 w 53"/>
              <a:gd name="T63" fmla="*/ 20 h 80"/>
              <a:gd name="T64" fmla="*/ 33 w 53"/>
              <a:gd name="T65" fmla="*/ 12 h 80"/>
              <a:gd name="T66" fmla="*/ 33 w 53"/>
              <a:gd name="T67" fmla="*/ 10 h 80"/>
              <a:gd name="T68" fmla="*/ 31 w 53"/>
              <a:gd name="T69" fmla="*/ 8 h 80"/>
              <a:gd name="T70" fmla="*/ 29 w 53"/>
              <a:gd name="T71" fmla="*/ 6 h 80"/>
              <a:gd name="T72" fmla="*/ 25 w 53"/>
              <a:gd name="T73" fmla="*/ 4 h 80"/>
              <a:gd name="T74" fmla="*/ 19 w 53"/>
              <a:gd name="T75" fmla="*/ 1 h 80"/>
              <a:gd name="T76" fmla="*/ 13 w 53"/>
              <a:gd name="T77" fmla="*/ 0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53" h="80">
                <a:moveTo>
                  <a:pt x="13" y="0"/>
                </a:moveTo>
                <a:lnTo>
                  <a:pt x="8" y="5"/>
                </a:lnTo>
                <a:lnTo>
                  <a:pt x="4" y="10"/>
                </a:lnTo>
                <a:lnTo>
                  <a:pt x="2" y="13"/>
                </a:lnTo>
                <a:lnTo>
                  <a:pt x="1" y="16"/>
                </a:lnTo>
                <a:lnTo>
                  <a:pt x="0" y="20"/>
                </a:lnTo>
                <a:lnTo>
                  <a:pt x="0" y="25"/>
                </a:lnTo>
                <a:lnTo>
                  <a:pt x="0" y="30"/>
                </a:lnTo>
                <a:lnTo>
                  <a:pt x="2" y="39"/>
                </a:lnTo>
                <a:lnTo>
                  <a:pt x="6" y="48"/>
                </a:lnTo>
                <a:lnTo>
                  <a:pt x="9" y="57"/>
                </a:lnTo>
                <a:lnTo>
                  <a:pt x="13" y="66"/>
                </a:lnTo>
                <a:lnTo>
                  <a:pt x="20" y="73"/>
                </a:lnTo>
                <a:lnTo>
                  <a:pt x="22" y="76"/>
                </a:lnTo>
                <a:lnTo>
                  <a:pt x="26" y="78"/>
                </a:lnTo>
                <a:lnTo>
                  <a:pt x="30" y="80"/>
                </a:lnTo>
                <a:lnTo>
                  <a:pt x="33" y="80"/>
                </a:lnTo>
                <a:lnTo>
                  <a:pt x="36" y="79"/>
                </a:lnTo>
                <a:lnTo>
                  <a:pt x="38" y="78"/>
                </a:lnTo>
                <a:lnTo>
                  <a:pt x="42" y="76"/>
                </a:lnTo>
                <a:lnTo>
                  <a:pt x="45" y="73"/>
                </a:lnTo>
                <a:lnTo>
                  <a:pt x="48" y="70"/>
                </a:lnTo>
                <a:lnTo>
                  <a:pt x="51" y="67"/>
                </a:lnTo>
                <a:lnTo>
                  <a:pt x="53" y="64"/>
                </a:lnTo>
                <a:lnTo>
                  <a:pt x="53" y="62"/>
                </a:lnTo>
                <a:lnTo>
                  <a:pt x="52" y="54"/>
                </a:lnTo>
                <a:lnTo>
                  <a:pt x="49" y="47"/>
                </a:lnTo>
                <a:lnTo>
                  <a:pt x="46" y="42"/>
                </a:lnTo>
                <a:lnTo>
                  <a:pt x="43" y="37"/>
                </a:lnTo>
                <a:lnTo>
                  <a:pt x="40" y="32"/>
                </a:lnTo>
                <a:lnTo>
                  <a:pt x="36" y="27"/>
                </a:lnTo>
                <a:lnTo>
                  <a:pt x="34" y="20"/>
                </a:lnTo>
                <a:lnTo>
                  <a:pt x="33" y="12"/>
                </a:lnTo>
                <a:lnTo>
                  <a:pt x="33" y="10"/>
                </a:lnTo>
                <a:lnTo>
                  <a:pt x="31" y="8"/>
                </a:lnTo>
                <a:lnTo>
                  <a:pt x="29" y="6"/>
                </a:lnTo>
                <a:lnTo>
                  <a:pt x="25" y="4"/>
                </a:lnTo>
                <a:lnTo>
                  <a:pt x="19" y="1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53" name="Freeform 205"/>
          <p:cNvSpPr>
            <a:spLocks/>
          </p:cNvSpPr>
          <p:nvPr>
            <p:custDataLst>
              <p:tags r:id="rId132"/>
            </p:custDataLst>
          </p:nvPr>
        </p:nvSpPr>
        <p:spPr bwMode="auto">
          <a:xfrm>
            <a:off x="3870326" y="5097464"/>
            <a:ext cx="17463" cy="53975"/>
          </a:xfrm>
          <a:custGeom>
            <a:avLst/>
            <a:gdLst>
              <a:gd name="T0" fmla="*/ 0 w 41"/>
              <a:gd name="T1" fmla="*/ 43 h 43"/>
              <a:gd name="T2" fmla="*/ 27 w 41"/>
              <a:gd name="T3" fmla="*/ 43 h 43"/>
              <a:gd name="T4" fmla="*/ 41 w 41"/>
              <a:gd name="T5" fmla="*/ 24 h 43"/>
              <a:gd name="T6" fmla="*/ 38 w 41"/>
              <a:gd name="T7" fmla="*/ 12 h 43"/>
              <a:gd name="T8" fmla="*/ 34 w 41"/>
              <a:gd name="T9" fmla="*/ 0 h 43"/>
              <a:gd name="T10" fmla="*/ 27 w 41"/>
              <a:gd name="T11" fmla="*/ 4 h 43"/>
              <a:gd name="T12" fmla="*/ 20 w 41"/>
              <a:gd name="T13" fmla="*/ 9 h 43"/>
              <a:gd name="T14" fmla="*/ 15 w 41"/>
              <a:gd name="T15" fmla="*/ 14 h 43"/>
              <a:gd name="T16" fmla="*/ 10 w 41"/>
              <a:gd name="T17" fmla="*/ 19 h 43"/>
              <a:gd name="T18" fmla="*/ 6 w 41"/>
              <a:gd name="T19" fmla="*/ 24 h 43"/>
              <a:gd name="T20" fmla="*/ 3 w 41"/>
              <a:gd name="T21" fmla="*/ 30 h 43"/>
              <a:gd name="T22" fmla="*/ 1 w 41"/>
              <a:gd name="T23" fmla="*/ 37 h 43"/>
              <a:gd name="T24" fmla="*/ 0 w 41"/>
              <a:gd name="T25" fmla="*/ 43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1" h="43">
                <a:moveTo>
                  <a:pt x="0" y="43"/>
                </a:moveTo>
                <a:lnTo>
                  <a:pt x="27" y="43"/>
                </a:lnTo>
                <a:lnTo>
                  <a:pt x="41" y="24"/>
                </a:lnTo>
                <a:lnTo>
                  <a:pt x="38" y="12"/>
                </a:lnTo>
                <a:lnTo>
                  <a:pt x="34" y="0"/>
                </a:lnTo>
                <a:lnTo>
                  <a:pt x="27" y="4"/>
                </a:lnTo>
                <a:lnTo>
                  <a:pt x="20" y="9"/>
                </a:lnTo>
                <a:lnTo>
                  <a:pt x="15" y="14"/>
                </a:lnTo>
                <a:lnTo>
                  <a:pt x="10" y="19"/>
                </a:lnTo>
                <a:lnTo>
                  <a:pt x="6" y="24"/>
                </a:lnTo>
                <a:lnTo>
                  <a:pt x="3" y="30"/>
                </a:lnTo>
                <a:lnTo>
                  <a:pt x="1" y="37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54" name="Freeform 206"/>
          <p:cNvSpPr>
            <a:spLocks/>
          </p:cNvSpPr>
          <p:nvPr>
            <p:custDataLst>
              <p:tags r:id="rId133"/>
            </p:custDataLst>
          </p:nvPr>
        </p:nvSpPr>
        <p:spPr bwMode="auto">
          <a:xfrm>
            <a:off x="3875089" y="5119689"/>
            <a:ext cx="7937" cy="58737"/>
          </a:xfrm>
          <a:custGeom>
            <a:avLst/>
            <a:gdLst>
              <a:gd name="T0" fmla="*/ 20 w 20"/>
              <a:gd name="T1" fmla="*/ 0 h 24"/>
              <a:gd name="T2" fmla="*/ 0 w 20"/>
              <a:gd name="T3" fmla="*/ 0 h 24"/>
              <a:gd name="T4" fmla="*/ 1 w 20"/>
              <a:gd name="T5" fmla="*/ 5 h 24"/>
              <a:gd name="T6" fmla="*/ 2 w 20"/>
              <a:gd name="T7" fmla="*/ 9 h 24"/>
              <a:gd name="T8" fmla="*/ 4 w 20"/>
              <a:gd name="T9" fmla="*/ 13 h 24"/>
              <a:gd name="T10" fmla="*/ 7 w 20"/>
              <a:gd name="T11" fmla="*/ 17 h 24"/>
              <a:gd name="T12" fmla="*/ 10 w 20"/>
              <a:gd name="T13" fmla="*/ 20 h 24"/>
              <a:gd name="T14" fmla="*/ 14 w 20"/>
              <a:gd name="T15" fmla="*/ 22 h 24"/>
              <a:gd name="T16" fmla="*/ 17 w 20"/>
              <a:gd name="T17" fmla="*/ 24 h 24"/>
              <a:gd name="T18" fmla="*/ 20 w 20"/>
              <a:gd name="T19" fmla="*/ 24 h 24"/>
              <a:gd name="T20" fmla="*/ 20 w 20"/>
              <a:gd name="T21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0" h="24">
                <a:moveTo>
                  <a:pt x="20" y="0"/>
                </a:moveTo>
                <a:lnTo>
                  <a:pt x="0" y="0"/>
                </a:lnTo>
                <a:lnTo>
                  <a:pt x="1" y="5"/>
                </a:lnTo>
                <a:lnTo>
                  <a:pt x="2" y="9"/>
                </a:lnTo>
                <a:lnTo>
                  <a:pt x="4" y="13"/>
                </a:lnTo>
                <a:lnTo>
                  <a:pt x="7" y="17"/>
                </a:lnTo>
                <a:lnTo>
                  <a:pt x="10" y="20"/>
                </a:lnTo>
                <a:lnTo>
                  <a:pt x="14" y="22"/>
                </a:lnTo>
                <a:lnTo>
                  <a:pt x="17" y="24"/>
                </a:lnTo>
                <a:lnTo>
                  <a:pt x="20" y="24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55" name="Freeform 207"/>
          <p:cNvSpPr>
            <a:spLocks/>
          </p:cNvSpPr>
          <p:nvPr>
            <p:custDataLst>
              <p:tags r:id="rId134"/>
            </p:custDataLst>
          </p:nvPr>
        </p:nvSpPr>
        <p:spPr bwMode="auto">
          <a:xfrm>
            <a:off x="3889376" y="5181601"/>
            <a:ext cx="17463" cy="60325"/>
          </a:xfrm>
          <a:custGeom>
            <a:avLst/>
            <a:gdLst>
              <a:gd name="T0" fmla="*/ 0 w 39"/>
              <a:gd name="T1" fmla="*/ 12 h 43"/>
              <a:gd name="T2" fmla="*/ 2 w 39"/>
              <a:gd name="T3" fmla="*/ 17 h 43"/>
              <a:gd name="T4" fmla="*/ 6 w 39"/>
              <a:gd name="T5" fmla="*/ 22 h 43"/>
              <a:gd name="T6" fmla="*/ 12 w 39"/>
              <a:gd name="T7" fmla="*/ 27 h 43"/>
              <a:gd name="T8" fmla="*/ 16 w 39"/>
              <a:gd name="T9" fmla="*/ 32 h 43"/>
              <a:gd name="T10" fmla="*/ 23 w 39"/>
              <a:gd name="T11" fmla="*/ 37 h 43"/>
              <a:gd name="T12" fmla="*/ 28 w 39"/>
              <a:gd name="T13" fmla="*/ 40 h 43"/>
              <a:gd name="T14" fmla="*/ 34 w 39"/>
              <a:gd name="T15" fmla="*/ 43 h 43"/>
              <a:gd name="T16" fmla="*/ 39 w 39"/>
              <a:gd name="T17" fmla="*/ 43 h 43"/>
              <a:gd name="T18" fmla="*/ 38 w 39"/>
              <a:gd name="T19" fmla="*/ 32 h 43"/>
              <a:gd name="T20" fmla="*/ 36 w 39"/>
              <a:gd name="T21" fmla="*/ 19 h 43"/>
              <a:gd name="T22" fmla="*/ 34 w 39"/>
              <a:gd name="T23" fmla="*/ 8 h 43"/>
              <a:gd name="T24" fmla="*/ 32 w 39"/>
              <a:gd name="T25" fmla="*/ 0 h 43"/>
              <a:gd name="T26" fmla="*/ 19 w 39"/>
              <a:gd name="T27" fmla="*/ 3 h 43"/>
              <a:gd name="T28" fmla="*/ 6 w 39"/>
              <a:gd name="T29" fmla="*/ 6 h 43"/>
              <a:gd name="T30" fmla="*/ 0 w 39"/>
              <a:gd name="T31" fmla="*/ 12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9" h="43">
                <a:moveTo>
                  <a:pt x="0" y="12"/>
                </a:moveTo>
                <a:lnTo>
                  <a:pt x="2" y="17"/>
                </a:lnTo>
                <a:lnTo>
                  <a:pt x="6" y="22"/>
                </a:lnTo>
                <a:lnTo>
                  <a:pt x="12" y="27"/>
                </a:lnTo>
                <a:lnTo>
                  <a:pt x="16" y="32"/>
                </a:lnTo>
                <a:lnTo>
                  <a:pt x="23" y="37"/>
                </a:lnTo>
                <a:lnTo>
                  <a:pt x="28" y="40"/>
                </a:lnTo>
                <a:lnTo>
                  <a:pt x="34" y="43"/>
                </a:lnTo>
                <a:lnTo>
                  <a:pt x="39" y="43"/>
                </a:lnTo>
                <a:lnTo>
                  <a:pt x="38" y="32"/>
                </a:lnTo>
                <a:lnTo>
                  <a:pt x="36" y="19"/>
                </a:lnTo>
                <a:lnTo>
                  <a:pt x="34" y="8"/>
                </a:lnTo>
                <a:lnTo>
                  <a:pt x="32" y="0"/>
                </a:lnTo>
                <a:lnTo>
                  <a:pt x="19" y="3"/>
                </a:lnTo>
                <a:lnTo>
                  <a:pt x="6" y="6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56" name="Freeform 208"/>
          <p:cNvSpPr>
            <a:spLocks/>
          </p:cNvSpPr>
          <p:nvPr>
            <p:custDataLst>
              <p:tags r:id="rId135"/>
            </p:custDataLst>
          </p:nvPr>
        </p:nvSpPr>
        <p:spPr bwMode="auto">
          <a:xfrm>
            <a:off x="3876675" y="5194300"/>
            <a:ext cx="26988" cy="58738"/>
          </a:xfrm>
          <a:custGeom>
            <a:avLst/>
            <a:gdLst>
              <a:gd name="T0" fmla="*/ 29 w 55"/>
              <a:gd name="T1" fmla="*/ 26 h 62"/>
              <a:gd name="T2" fmla="*/ 8 w 55"/>
              <a:gd name="T3" fmla="*/ 0 h 62"/>
              <a:gd name="T4" fmla="*/ 4 w 55"/>
              <a:gd name="T5" fmla="*/ 5 h 62"/>
              <a:gd name="T6" fmla="*/ 1 w 55"/>
              <a:gd name="T7" fmla="*/ 11 h 62"/>
              <a:gd name="T8" fmla="*/ 0 w 55"/>
              <a:gd name="T9" fmla="*/ 16 h 62"/>
              <a:gd name="T10" fmla="*/ 0 w 55"/>
              <a:gd name="T11" fmla="*/ 21 h 62"/>
              <a:gd name="T12" fmla="*/ 2 w 55"/>
              <a:gd name="T13" fmla="*/ 26 h 62"/>
              <a:gd name="T14" fmla="*/ 4 w 55"/>
              <a:gd name="T15" fmla="*/ 31 h 62"/>
              <a:gd name="T16" fmla="*/ 8 w 55"/>
              <a:gd name="T17" fmla="*/ 36 h 62"/>
              <a:gd name="T18" fmla="*/ 11 w 55"/>
              <a:gd name="T19" fmla="*/ 41 h 62"/>
              <a:gd name="T20" fmla="*/ 16 w 55"/>
              <a:gd name="T21" fmla="*/ 45 h 62"/>
              <a:gd name="T22" fmla="*/ 21 w 55"/>
              <a:gd name="T23" fmla="*/ 49 h 62"/>
              <a:gd name="T24" fmla="*/ 26 w 55"/>
              <a:gd name="T25" fmla="*/ 53 h 62"/>
              <a:gd name="T26" fmla="*/ 33 w 55"/>
              <a:gd name="T27" fmla="*/ 56 h 62"/>
              <a:gd name="T28" fmla="*/ 38 w 55"/>
              <a:gd name="T29" fmla="*/ 58 h 62"/>
              <a:gd name="T30" fmla="*/ 44 w 55"/>
              <a:gd name="T31" fmla="*/ 60 h 62"/>
              <a:gd name="T32" fmla="*/ 49 w 55"/>
              <a:gd name="T33" fmla="*/ 61 h 62"/>
              <a:gd name="T34" fmla="*/ 55 w 55"/>
              <a:gd name="T35" fmla="*/ 62 h 62"/>
              <a:gd name="T36" fmla="*/ 54 w 55"/>
              <a:gd name="T37" fmla="*/ 53 h 62"/>
              <a:gd name="T38" fmla="*/ 53 w 55"/>
              <a:gd name="T39" fmla="*/ 46 h 62"/>
              <a:gd name="T40" fmla="*/ 49 w 55"/>
              <a:gd name="T41" fmla="*/ 40 h 62"/>
              <a:gd name="T42" fmla="*/ 46 w 55"/>
              <a:gd name="T43" fmla="*/ 35 h 62"/>
              <a:gd name="T44" fmla="*/ 43 w 55"/>
              <a:gd name="T45" fmla="*/ 31 h 62"/>
              <a:gd name="T46" fmla="*/ 38 w 55"/>
              <a:gd name="T47" fmla="*/ 28 h 62"/>
              <a:gd name="T48" fmla="*/ 33 w 55"/>
              <a:gd name="T49" fmla="*/ 26 h 62"/>
              <a:gd name="T50" fmla="*/ 29 w 55"/>
              <a:gd name="T51" fmla="*/ 26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55" h="62">
                <a:moveTo>
                  <a:pt x="29" y="26"/>
                </a:moveTo>
                <a:lnTo>
                  <a:pt x="8" y="0"/>
                </a:lnTo>
                <a:lnTo>
                  <a:pt x="4" y="5"/>
                </a:lnTo>
                <a:lnTo>
                  <a:pt x="1" y="11"/>
                </a:lnTo>
                <a:lnTo>
                  <a:pt x="0" y="16"/>
                </a:lnTo>
                <a:lnTo>
                  <a:pt x="0" y="21"/>
                </a:lnTo>
                <a:lnTo>
                  <a:pt x="2" y="26"/>
                </a:lnTo>
                <a:lnTo>
                  <a:pt x="4" y="31"/>
                </a:lnTo>
                <a:lnTo>
                  <a:pt x="8" y="36"/>
                </a:lnTo>
                <a:lnTo>
                  <a:pt x="11" y="41"/>
                </a:lnTo>
                <a:lnTo>
                  <a:pt x="16" y="45"/>
                </a:lnTo>
                <a:lnTo>
                  <a:pt x="21" y="49"/>
                </a:lnTo>
                <a:lnTo>
                  <a:pt x="26" y="53"/>
                </a:lnTo>
                <a:lnTo>
                  <a:pt x="33" y="56"/>
                </a:lnTo>
                <a:lnTo>
                  <a:pt x="38" y="58"/>
                </a:lnTo>
                <a:lnTo>
                  <a:pt x="44" y="60"/>
                </a:lnTo>
                <a:lnTo>
                  <a:pt x="49" y="61"/>
                </a:lnTo>
                <a:lnTo>
                  <a:pt x="55" y="62"/>
                </a:lnTo>
                <a:lnTo>
                  <a:pt x="54" y="53"/>
                </a:lnTo>
                <a:lnTo>
                  <a:pt x="53" y="46"/>
                </a:lnTo>
                <a:lnTo>
                  <a:pt x="49" y="40"/>
                </a:lnTo>
                <a:lnTo>
                  <a:pt x="46" y="35"/>
                </a:lnTo>
                <a:lnTo>
                  <a:pt x="43" y="31"/>
                </a:lnTo>
                <a:lnTo>
                  <a:pt x="38" y="28"/>
                </a:lnTo>
                <a:lnTo>
                  <a:pt x="33" y="26"/>
                </a:lnTo>
                <a:lnTo>
                  <a:pt x="29" y="2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57" name="Freeform 209"/>
          <p:cNvSpPr>
            <a:spLocks/>
          </p:cNvSpPr>
          <p:nvPr>
            <p:custDataLst>
              <p:tags r:id="rId136"/>
            </p:custDataLst>
          </p:nvPr>
        </p:nvSpPr>
        <p:spPr bwMode="auto">
          <a:xfrm>
            <a:off x="3906838" y="5227639"/>
            <a:ext cx="11112" cy="58737"/>
          </a:xfrm>
          <a:custGeom>
            <a:avLst/>
            <a:gdLst>
              <a:gd name="T0" fmla="*/ 33 w 35"/>
              <a:gd name="T1" fmla="*/ 13 h 43"/>
              <a:gd name="T2" fmla="*/ 7 w 35"/>
              <a:gd name="T3" fmla="*/ 0 h 43"/>
              <a:gd name="T4" fmla="*/ 4 w 35"/>
              <a:gd name="T5" fmla="*/ 8 h 43"/>
              <a:gd name="T6" fmla="*/ 0 w 35"/>
              <a:gd name="T7" fmla="*/ 19 h 43"/>
              <a:gd name="T8" fmla="*/ 2 w 35"/>
              <a:gd name="T9" fmla="*/ 28 h 43"/>
              <a:gd name="T10" fmla="*/ 5 w 35"/>
              <a:gd name="T11" fmla="*/ 36 h 43"/>
              <a:gd name="T12" fmla="*/ 6 w 35"/>
              <a:gd name="T13" fmla="*/ 39 h 43"/>
              <a:gd name="T14" fmla="*/ 8 w 35"/>
              <a:gd name="T15" fmla="*/ 41 h 43"/>
              <a:gd name="T16" fmla="*/ 11 w 35"/>
              <a:gd name="T17" fmla="*/ 43 h 43"/>
              <a:gd name="T18" fmla="*/ 14 w 35"/>
              <a:gd name="T19" fmla="*/ 43 h 43"/>
              <a:gd name="T20" fmla="*/ 18 w 35"/>
              <a:gd name="T21" fmla="*/ 43 h 43"/>
              <a:gd name="T22" fmla="*/ 22 w 35"/>
              <a:gd name="T23" fmla="*/ 42 h 43"/>
              <a:gd name="T24" fmla="*/ 26 w 35"/>
              <a:gd name="T25" fmla="*/ 41 h 43"/>
              <a:gd name="T26" fmla="*/ 28 w 35"/>
              <a:gd name="T27" fmla="*/ 39 h 43"/>
              <a:gd name="T28" fmla="*/ 31 w 35"/>
              <a:gd name="T29" fmla="*/ 35 h 43"/>
              <a:gd name="T30" fmla="*/ 33 w 35"/>
              <a:gd name="T31" fmla="*/ 30 h 43"/>
              <a:gd name="T32" fmla="*/ 35 w 35"/>
              <a:gd name="T33" fmla="*/ 20 h 43"/>
              <a:gd name="T34" fmla="*/ 33 w 35"/>
              <a:gd name="T35" fmla="*/ 13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35" h="43">
                <a:moveTo>
                  <a:pt x="33" y="13"/>
                </a:moveTo>
                <a:lnTo>
                  <a:pt x="7" y="0"/>
                </a:lnTo>
                <a:lnTo>
                  <a:pt x="4" y="8"/>
                </a:lnTo>
                <a:lnTo>
                  <a:pt x="0" y="19"/>
                </a:lnTo>
                <a:lnTo>
                  <a:pt x="2" y="28"/>
                </a:lnTo>
                <a:lnTo>
                  <a:pt x="5" y="36"/>
                </a:lnTo>
                <a:lnTo>
                  <a:pt x="6" y="39"/>
                </a:lnTo>
                <a:lnTo>
                  <a:pt x="8" y="41"/>
                </a:lnTo>
                <a:lnTo>
                  <a:pt x="11" y="43"/>
                </a:lnTo>
                <a:lnTo>
                  <a:pt x="14" y="43"/>
                </a:lnTo>
                <a:lnTo>
                  <a:pt x="18" y="43"/>
                </a:lnTo>
                <a:lnTo>
                  <a:pt x="22" y="42"/>
                </a:lnTo>
                <a:lnTo>
                  <a:pt x="26" y="41"/>
                </a:lnTo>
                <a:lnTo>
                  <a:pt x="28" y="39"/>
                </a:lnTo>
                <a:lnTo>
                  <a:pt x="31" y="35"/>
                </a:lnTo>
                <a:lnTo>
                  <a:pt x="33" y="30"/>
                </a:lnTo>
                <a:lnTo>
                  <a:pt x="35" y="20"/>
                </a:lnTo>
                <a:lnTo>
                  <a:pt x="33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58" name="Freeform 210"/>
          <p:cNvSpPr>
            <a:spLocks/>
          </p:cNvSpPr>
          <p:nvPr>
            <p:custDataLst>
              <p:tags r:id="rId137"/>
            </p:custDataLst>
          </p:nvPr>
        </p:nvSpPr>
        <p:spPr bwMode="auto">
          <a:xfrm>
            <a:off x="3903664" y="5260976"/>
            <a:ext cx="20637" cy="55563"/>
          </a:xfrm>
          <a:custGeom>
            <a:avLst/>
            <a:gdLst>
              <a:gd name="T0" fmla="*/ 53 w 53"/>
              <a:gd name="T1" fmla="*/ 0 h 21"/>
              <a:gd name="T2" fmla="*/ 41 w 53"/>
              <a:gd name="T3" fmla="*/ 1 h 21"/>
              <a:gd name="T4" fmla="*/ 32 w 53"/>
              <a:gd name="T5" fmla="*/ 2 h 21"/>
              <a:gd name="T6" fmla="*/ 25 w 53"/>
              <a:gd name="T7" fmla="*/ 5 h 21"/>
              <a:gd name="T8" fmla="*/ 21 w 53"/>
              <a:gd name="T9" fmla="*/ 7 h 21"/>
              <a:gd name="T10" fmla="*/ 17 w 53"/>
              <a:gd name="T11" fmla="*/ 10 h 21"/>
              <a:gd name="T12" fmla="*/ 13 w 53"/>
              <a:gd name="T13" fmla="*/ 13 h 21"/>
              <a:gd name="T14" fmla="*/ 8 w 53"/>
              <a:gd name="T15" fmla="*/ 16 h 21"/>
              <a:gd name="T16" fmla="*/ 0 w 53"/>
              <a:gd name="T17" fmla="*/ 18 h 21"/>
              <a:gd name="T18" fmla="*/ 5 w 53"/>
              <a:gd name="T19" fmla="*/ 20 h 21"/>
              <a:gd name="T20" fmla="*/ 11 w 53"/>
              <a:gd name="T21" fmla="*/ 21 h 21"/>
              <a:gd name="T22" fmla="*/ 17 w 53"/>
              <a:gd name="T23" fmla="*/ 21 h 21"/>
              <a:gd name="T24" fmla="*/ 24 w 53"/>
              <a:gd name="T25" fmla="*/ 21 h 21"/>
              <a:gd name="T26" fmla="*/ 38 w 53"/>
              <a:gd name="T27" fmla="*/ 19 h 21"/>
              <a:gd name="T28" fmla="*/ 53 w 53"/>
              <a:gd name="T29" fmla="*/ 18 h 21"/>
              <a:gd name="T30" fmla="*/ 53 w 53"/>
              <a:gd name="T31" fmla="*/ 0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3" h="21">
                <a:moveTo>
                  <a:pt x="53" y="0"/>
                </a:moveTo>
                <a:lnTo>
                  <a:pt x="41" y="1"/>
                </a:lnTo>
                <a:lnTo>
                  <a:pt x="32" y="2"/>
                </a:lnTo>
                <a:lnTo>
                  <a:pt x="25" y="5"/>
                </a:lnTo>
                <a:lnTo>
                  <a:pt x="21" y="7"/>
                </a:lnTo>
                <a:lnTo>
                  <a:pt x="17" y="10"/>
                </a:lnTo>
                <a:lnTo>
                  <a:pt x="13" y="13"/>
                </a:lnTo>
                <a:lnTo>
                  <a:pt x="8" y="16"/>
                </a:lnTo>
                <a:lnTo>
                  <a:pt x="0" y="18"/>
                </a:lnTo>
                <a:lnTo>
                  <a:pt x="5" y="20"/>
                </a:lnTo>
                <a:lnTo>
                  <a:pt x="11" y="21"/>
                </a:lnTo>
                <a:lnTo>
                  <a:pt x="17" y="21"/>
                </a:lnTo>
                <a:lnTo>
                  <a:pt x="24" y="21"/>
                </a:lnTo>
                <a:lnTo>
                  <a:pt x="38" y="19"/>
                </a:lnTo>
                <a:lnTo>
                  <a:pt x="53" y="18"/>
                </a:lnTo>
                <a:lnTo>
                  <a:pt x="5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59" name="Freeform 211"/>
          <p:cNvSpPr>
            <a:spLocks/>
          </p:cNvSpPr>
          <p:nvPr>
            <p:custDataLst>
              <p:tags r:id="rId138"/>
            </p:custDataLst>
          </p:nvPr>
        </p:nvSpPr>
        <p:spPr bwMode="auto">
          <a:xfrm>
            <a:off x="3927476" y="5275263"/>
            <a:ext cx="17463" cy="57150"/>
          </a:xfrm>
          <a:custGeom>
            <a:avLst/>
            <a:gdLst>
              <a:gd name="T0" fmla="*/ 22 w 43"/>
              <a:gd name="T1" fmla="*/ 0 h 38"/>
              <a:gd name="T2" fmla="*/ 12 w 43"/>
              <a:gd name="T3" fmla="*/ 0 h 38"/>
              <a:gd name="T4" fmla="*/ 2 w 43"/>
              <a:gd name="T5" fmla="*/ 0 h 38"/>
              <a:gd name="T6" fmla="*/ 1 w 43"/>
              <a:gd name="T7" fmla="*/ 0 h 38"/>
              <a:gd name="T8" fmla="*/ 0 w 43"/>
              <a:gd name="T9" fmla="*/ 1 h 38"/>
              <a:gd name="T10" fmla="*/ 0 w 43"/>
              <a:gd name="T11" fmla="*/ 3 h 38"/>
              <a:gd name="T12" fmla="*/ 0 w 43"/>
              <a:gd name="T13" fmla="*/ 6 h 38"/>
              <a:gd name="T14" fmla="*/ 1 w 43"/>
              <a:gd name="T15" fmla="*/ 10 h 38"/>
              <a:gd name="T16" fmla="*/ 2 w 43"/>
              <a:gd name="T17" fmla="*/ 12 h 38"/>
              <a:gd name="T18" fmla="*/ 3 w 43"/>
              <a:gd name="T19" fmla="*/ 18 h 38"/>
              <a:gd name="T20" fmla="*/ 5 w 43"/>
              <a:gd name="T21" fmla="*/ 25 h 38"/>
              <a:gd name="T22" fmla="*/ 10 w 43"/>
              <a:gd name="T23" fmla="*/ 30 h 38"/>
              <a:gd name="T24" fmla="*/ 15 w 43"/>
              <a:gd name="T25" fmla="*/ 34 h 38"/>
              <a:gd name="T26" fmla="*/ 21 w 43"/>
              <a:gd name="T27" fmla="*/ 37 h 38"/>
              <a:gd name="T28" fmla="*/ 27 w 43"/>
              <a:gd name="T29" fmla="*/ 38 h 38"/>
              <a:gd name="T30" fmla="*/ 35 w 43"/>
              <a:gd name="T31" fmla="*/ 38 h 38"/>
              <a:gd name="T32" fmla="*/ 43 w 43"/>
              <a:gd name="T33" fmla="*/ 37 h 38"/>
              <a:gd name="T34" fmla="*/ 40 w 43"/>
              <a:gd name="T35" fmla="*/ 29 h 38"/>
              <a:gd name="T36" fmla="*/ 36 w 43"/>
              <a:gd name="T37" fmla="*/ 23 h 38"/>
              <a:gd name="T38" fmla="*/ 33 w 43"/>
              <a:gd name="T39" fmla="*/ 17 h 38"/>
              <a:gd name="T40" fmla="*/ 30 w 43"/>
              <a:gd name="T41" fmla="*/ 13 h 38"/>
              <a:gd name="T42" fmla="*/ 27 w 43"/>
              <a:gd name="T43" fmla="*/ 10 h 38"/>
              <a:gd name="T44" fmla="*/ 24 w 43"/>
              <a:gd name="T45" fmla="*/ 7 h 38"/>
              <a:gd name="T46" fmla="*/ 23 w 43"/>
              <a:gd name="T47" fmla="*/ 4 h 38"/>
              <a:gd name="T48" fmla="*/ 22 w 43"/>
              <a:gd name="T49" fmla="*/ 0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3" h="38">
                <a:moveTo>
                  <a:pt x="22" y="0"/>
                </a:moveTo>
                <a:lnTo>
                  <a:pt x="12" y="0"/>
                </a:lnTo>
                <a:lnTo>
                  <a:pt x="2" y="0"/>
                </a:lnTo>
                <a:lnTo>
                  <a:pt x="1" y="0"/>
                </a:lnTo>
                <a:lnTo>
                  <a:pt x="0" y="1"/>
                </a:lnTo>
                <a:lnTo>
                  <a:pt x="0" y="3"/>
                </a:lnTo>
                <a:lnTo>
                  <a:pt x="0" y="6"/>
                </a:lnTo>
                <a:lnTo>
                  <a:pt x="1" y="10"/>
                </a:lnTo>
                <a:lnTo>
                  <a:pt x="2" y="12"/>
                </a:lnTo>
                <a:lnTo>
                  <a:pt x="3" y="18"/>
                </a:lnTo>
                <a:lnTo>
                  <a:pt x="5" y="25"/>
                </a:lnTo>
                <a:lnTo>
                  <a:pt x="10" y="30"/>
                </a:lnTo>
                <a:lnTo>
                  <a:pt x="15" y="34"/>
                </a:lnTo>
                <a:lnTo>
                  <a:pt x="21" y="37"/>
                </a:lnTo>
                <a:lnTo>
                  <a:pt x="27" y="38"/>
                </a:lnTo>
                <a:lnTo>
                  <a:pt x="35" y="38"/>
                </a:lnTo>
                <a:lnTo>
                  <a:pt x="43" y="37"/>
                </a:lnTo>
                <a:lnTo>
                  <a:pt x="40" y="29"/>
                </a:lnTo>
                <a:lnTo>
                  <a:pt x="36" y="23"/>
                </a:lnTo>
                <a:lnTo>
                  <a:pt x="33" y="17"/>
                </a:lnTo>
                <a:lnTo>
                  <a:pt x="30" y="13"/>
                </a:lnTo>
                <a:lnTo>
                  <a:pt x="27" y="10"/>
                </a:lnTo>
                <a:lnTo>
                  <a:pt x="24" y="7"/>
                </a:lnTo>
                <a:lnTo>
                  <a:pt x="23" y="4"/>
                </a:lnTo>
                <a:lnTo>
                  <a:pt x="22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60" name="Freeform 212"/>
          <p:cNvSpPr>
            <a:spLocks/>
          </p:cNvSpPr>
          <p:nvPr>
            <p:custDataLst>
              <p:tags r:id="rId139"/>
            </p:custDataLst>
          </p:nvPr>
        </p:nvSpPr>
        <p:spPr bwMode="auto">
          <a:xfrm>
            <a:off x="3929063" y="5303838"/>
            <a:ext cx="6350" cy="57150"/>
          </a:xfrm>
          <a:custGeom>
            <a:avLst/>
            <a:gdLst>
              <a:gd name="T0" fmla="*/ 0 w 20"/>
              <a:gd name="T1" fmla="*/ 0 h 5"/>
              <a:gd name="T2" fmla="*/ 1 w 20"/>
              <a:gd name="T3" fmla="*/ 2 h 5"/>
              <a:gd name="T4" fmla="*/ 2 w 20"/>
              <a:gd name="T5" fmla="*/ 3 h 5"/>
              <a:gd name="T6" fmla="*/ 4 w 20"/>
              <a:gd name="T7" fmla="*/ 4 h 5"/>
              <a:gd name="T8" fmla="*/ 7 w 20"/>
              <a:gd name="T9" fmla="*/ 5 h 5"/>
              <a:gd name="T10" fmla="*/ 11 w 20"/>
              <a:gd name="T11" fmla="*/ 4 h 5"/>
              <a:gd name="T12" fmla="*/ 14 w 20"/>
              <a:gd name="T13" fmla="*/ 3 h 5"/>
              <a:gd name="T14" fmla="*/ 17 w 20"/>
              <a:gd name="T15" fmla="*/ 2 h 5"/>
              <a:gd name="T16" fmla="*/ 20 w 20"/>
              <a:gd name="T17" fmla="*/ 0 h 5"/>
              <a:gd name="T18" fmla="*/ 0 w 20"/>
              <a:gd name="T19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0" h="5">
                <a:moveTo>
                  <a:pt x="0" y="0"/>
                </a:moveTo>
                <a:lnTo>
                  <a:pt x="1" y="2"/>
                </a:lnTo>
                <a:lnTo>
                  <a:pt x="2" y="3"/>
                </a:lnTo>
                <a:lnTo>
                  <a:pt x="4" y="4"/>
                </a:lnTo>
                <a:lnTo>
                  <a:pt x="7" y="5"/>
                </a:lnTo>
                <a:lnTo>
                  <a:pt x="11" y="4"/>
                </a:lnTo>
                <a:lnTo>
                  <a:pt x="14" y="3"/>
                </a:lnTo>
                <a:lnTo>
                  <a:pt x="17" y="2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61" name="Freeform 213"/>
          <p:cNvSpPr>
            <a:spLocks/>
          </p:cNvSpPr>
          <p:nvPr>
            <p:custDataLst>
              <p:tags r:id="rId140"/>
            </p:custDataLst>
          </p:nvPr>
        </p:nvSpPr>
        <p:spPr bwMode="auto">
          <a:xfrm>
            <a:off x="4003676" y="5373688"/>
            <a:ext cx="34925" cy="57150"/>
          </a:xfrm>
          <a:custGeom>
            <a:avLst/>
            <a:gdLst>
              <a:gd name="T0" fmla="*/ 40 w 73"/>
              <a:gd name="T1" fmla="*/ 0 h 22"/>
              <a:gd name="T2" fmla="*/ 32 w 73"/>
              <a:gd name="T3" fmla="*/ 1 h 22"/>
              <a:gd name="T4" fmla="*/ 26 w 73"/>
              <a:gd name="T5" fmla="*/ 2 h 22"/>
              <a:gd name="T6" fmla="*/ 20 w 73"/>
              <a:gd name="T7" fmla="*/ 5 h 22"/>
              <a:gd name="T8" fmla="*/ 15 w 73"/>
              <a:gd name="T9" fmla="*/ 8 h 22"/>
              <a:gd name="T10" fmla="*/ 6 w 73"/>
              <a:gd name="T11" fmla="*/ 14 h 22"/>
              <a:gd name="T12" fmla="*/ 0 w 73"/>
              <a:gd name="T13" fmla="*/ 19 h 22"/>
              <a:gd name="T14" fmla="*/ 20 w 73"/>
              <a:gd name="T15" fmla="*/ 20 h 22"/>
              <a:gd name="T16" fmla="*/ 39 w 73"/>
              <a:gd name="T17" fmla="*/ 22 h 22"/>
              <a:gd name="T18" fmla="*/ 49 w 73"/>
              <a:gd name="T19" fmla="*/ 22 h 22"/>
              <a:gd name="T20" fmla="*/ 57 w 73"/>
              <a:gd name="T21" fmla="*/ 22 h 22"/>
              <a:gd name="T22" fmla="*/ 65 w 73"/>
              <a:gd name="T23" fmla="*/ 21 h 22"/>
              <a:gd name="T24" fmla="*/ 73 w 73"/>
              <a:gd name="T25" fmla="*/ 19 h 22"/>
              <a:gd name="T26" fmla="*/ 64 w 73"/>
              <a:gd name="T27" fmla="*/ 14 h 22"/>
              <a:gd name="T28" fmla="*/ 56 w 73"/>
              <a:gd name="T29" fmla="*/ 8 h 22"/>
              <a:gd name="T30" fmla="*/ 53 w 73"/>
              <a:gd name="T31" fmla="*/ 5 h 22"/>
              <a:gd name="T32" fmla="*/ 49 w 73"/>
              <a:gd name="T33" fmla="*/ 2 h 22"/>
              <a:gd name="T34" fmla="*/ 44 w 73"/>
              <a:gd name="T35" fmla="*/ 1 h 22"/>
              <a:gd name="T36" fmla="*/ 40 w 73"/>
              <a:gd name="T37" fmla="*/ 0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73" h="22">
                <a:moveTo>
                  <a:pt x="40" y="0"/>
                </a:moveTo>
                <a:lnTo>
                  <a:pt x="32" y="1"/>
                </a:lnTo>
                <a:lnTo>
                  <a:pt x="26" y="2"/>
                </a:lnTo>
                <a:lnTo>
                  <a:pt x="20" y="5"/>
                </a:lnTo>
                <a:lnTo>
                  <a:pt x="15" y="8"/>
                </a:lnTo>
                <a:lnTo>
                  <a:pt x="6" y="14"/>
                </a:lnTo>
                <a:lnTo>
                  <a:pt x="0" y="19"/>
                </a:lnTo>
                <a:lnTo>
                  <a:pt x="20" y="20"/>
                </a:lnTo>
                <a:lnTo>
                  <a:pt x="39" y="22"/>
                </a:lnTo>
                <a:lnTo>
                  <a:pt x="49" y="22"/>
                </a:lnTo>
                <a:lnTo>
                  <a:pt x="57" y="22"/>
                </a:lnTo>
                <a:lnTo>
                  <a:pt x="65" y="21"/>
                </a:lnTo>
                <a:lnTo>
                  <a:pt x="73" y="19"/>
                </a:lnTo>
                <a:lnTo>
                  <a:pt x="64" y="14"/>
                </a:lnTo>
                <a:lnTo>
                  <a:pt x="56" y="8"/>
                </a:lnTo>
                <a:lnTo>
                  <a:pt x="53" y="5"/>
                </a:lnTo>
                <a:lnTo>
                  <a:pt x="49" y="2"/>
                </a:lnTo>
                <a:lnTo>
                  <a:pt x="44" y="1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62" name="Freeform 214"/>
          <p:cNvSpPr>
            <a:spLocks/>
          </p:cNvSpPr>
          <p:nvPr>
            <p:custDataLst>
              <p:tags r:id="rId141"/>
            </p:custDataLst>
          </p:nvPr>
        </p:nvSpPr>
        <p:spPr bwMode="auto">
          <a:xfrm>
            <a:off x="4041776" y="5314951"/>
            <a:ext cx="123825" cy="100013"/>
          </a:xfrm>
          <a:custGeom>
            <a:avLst/>
            <a:gdLst>
              <a:gd name="T0" fmla="*/ 235 w 281"/>
              <a:gd name="T1" fmla="*/ 168 h 193"/>
              <a:gd name="T2" fmla="*/ 188 w 281"/>
              <a:gd name="T3" fmla="*/ 171 h 193"/>
              <a:gd name="T4" fmla="*/ 168 w 281"/>
              <a:gd name="T5" fmla="*/ 168 h 193"/>
              <a:gd name="T6" fmla="*/ 155 w 281"/>
              <a:gd name="T7" fmla="*/ 164 h 193"/>
              <a:gd name="T8" fmla="*/ 130 w 281"/>
              <a:gd name="T9" fmla="*/ 135 h 193"/>
              <a:gd name="T10" fmla="*/ 104 w 281"/>
              <a:gd name="T11" fmla="*/ 94 h 193"/>
              <a:gd name="T12" fmla="*/ 94 w 281"/>
              <a:gd name="T13" fmla="*/ 74 h 193"/>
              <a:gd name="T14" fmla="*/ 87 w 281"/>
              <a:gd name="T15" fmla="*/ 51 h 193"/>
              <a:gd name="T16" fmla="*/ 83 w 281"/>
              <a:gd name="T17" fmla="*/ 27 h 193"/>
              <a:gd name="T18" fmla="*/ 43 w 281"/>
              <a:gd name="T19" fmla="*/ 0 h 193"/>
              <a:gd name="T20" fmla="*/ 28 w 281"/>
              <a:gd name="T21" fmla="*/ 52 h 193"/>
              <a:gd name="T22" fmla="*/ 18 w 281"/>
              <a:gd name="T23" fmla="*/ 61 h 193"/>
              <a:gd name="T24" fmla="*/ 6 w 281"/>
              <a:gd name="T25" fmla="*/ 69 h 193"/>
              <a:gd name="T26" fmla="*/ 0 w 281"/>
              <a:gd name="T27" fmla="*/ 73 h 193"/>
              <a:gd name="T28" fmla="*/ 1 w 281"/>
              <a:gd name="T29" fmla="*/ 75 h 193"/>
              <a:gd name="T30" fmla="*/ 9 w 281"/>
              <a:gd name="T31" fmla="*/ 81 h 193"/>
              <a:gd name="T32" fmla="*/ 37 w 281"/>
              <a:gd name="T33" fmla="*/ 111 h 193"/>
              <a:gd name="T34" fmla="*/ 45 w 281"/>
              <a:gd name="T35" fmla="*/ 122 h 193"/>
              <a:gd name="T36" fmla="*/ 53 w 281"/>
              <a:gd name="T37" fmla="*/ 129 h 193"/>
              <a:gd name="T38" fmla="*/ 62 w 281"/>
              <a:gd name="T39" fmla="*/ 134 h 193"/>
              <a:gd name="T40" fmla="*/ 71 w 281"/>
              <a:gd name="T41" fmla="*/ 136 h 193"/>
              <a:gd name="T42" fmla="*/ 76 w 281"/>
              <a:gd name="T43" fmla="*/ 141 h 193"/>
              <a:gd name="T44" fmla="*/ 79 w 281"/>
              <a:gd name="T45" fmla="*/ 148 h 193"/>
              <a:gd name="T46" fmla="*/ 86 w 281"/>
              <a:gd name="T47" fmla="*/ 153 h 193"/>
              <a:gd name="T48" fmla="*/ 99 w 281"/>
              <a:gd name="T49" fmla="*/ 154 h 193"/>
              <a:gd name="T50" fmla="*/ 106 w 281"/>
              <a:gd name="T51" fmla="*/ 157 h 193"/>
              <a:gd name="T52" fmla="*/ 109 w 281"/>
              <a:gd name="T53" fmla="*/ 163 h 193"/>
              <a:gd name="T54" fmla="*/ 109 w 281"/>
              <a:gd name="T55" fmla="*/ 179 h 193"/>
              <a:gd name="T56" fmla="*/ 111 w 281"/>
              <a:gd name="T57" fmla="*/ 189 h 193"/>
              <a:gd name="T58" fmla="*/ 115 w 281"/>
              <a:gd name="T59" fmla="*/ 193 h 193"/>
              <a:gd name="T60" fmla="*/ 129 w 281"/>
              <a:gd name="T61" fmla="*/ 193 h 193"/>
              <a:gd name="T62" fmla="*/ 164 w 281"/>
              <a:gd name="T63" fmla="*/ 191 h 193"/>
              <a:gd name="T64" fmla="*/ 180 w 281"/>
              <a:gd name="T65" fmla="*/ 189 h 193"/>
              <a:gd name="T66" fmla="*/ 192 w 281"/>
              <a:gd name="T67" fmla="*/ 186 h 193"/>
              <a:gd name="T68" fmla="*/ 212 w 281"/>
              <a:gd name="T69" fmla="*/ 188 h 193"/>
              <a:gd name="T70" fmla="*/ 281 w 281"/>
              <a:gd name="T71" fmla="*/ 167 h 1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81" h="193">
                <a:moveTo>
                  <a:pt x="275" y="167"/>
                </a:moveTo>
                <a:lnTo>
                  <a:pt x="235" y="168"/>
                </a:lnTo>
                <a:lnTo>
                  <a:pt x="202" y="171"/>
                </a:lnTo>
                <a:lnTo>
                  <a:pt x="188" y="171"/>
                </a:lnTo>
                <a:lnTo>
                  <a:pt x="175" y="169"/>
                </a:lnTo>
                <a:lnTo>
                  <a:pt x="168" y="168"/>
                </a:lnTo>
                <a:lnTo>
                  <a:pt x="162" y="166"/>
                </a:lnTo>
                <a:lnTo>
                  <a:pt x="155" y="164"/>
                </a:lnTo>
                <a:lnTo>
                  <a:pt x="149" y="161"/>
                </a:lnTo>
                <a:lnTo>
                  <a:pt x="130" y="135"/>
                </a:lnTo>
                <a:lnTo>
                  <a:pt x="108" y="103"/>
                </a:lnTo>
                <a:lnTo>
                  <a:pt x="104" y="94"/>
                </a:lnTo>
                <a:lnTo>
                  <a:pt x="98" y="84"/>
                </a:lnTo>
                <a:lnTo>
                  <a:pt x="94" y="74"/>
                </a:lnTo>
                <a:lnTo>
                  <a:pt x="90" y="63"/>
                </a:lnTo>
                <a:lnTo>
                  <a:pt x="87" y="51"/>
                </a:lnTo>
                <a:lnTo>
                  <a:pt x="85" y="39"/>
                </a:lnTo>
                <a:lnTo>
                  <a:pt x="83" y="27"/>
                </a:lnTo>
                <a:lnTo>
                  <a:pt x="83" y="13"/>
                </a:lnTo>
                <a:lnTo>
                  <a:pt x="43" y="0"/>
                </a:lnTo>
                <a:lnTo>
                  <a:pt x="30" y="50"/>
                </a:lnTo>
                <a:lnTo>
                  <a:pt x="28" y="52"/>
                </a:lnTo>
                <a:lnTo>
                  <a:pt x="23" y="56"/>
                </a:lnTo>
                <a:lnTo>
                  <a:pt x="18" y="61"/>
                </a:lnTo>
                <a:lnTo>
                  <a:pt x="11" y="65"/>
                </a:lnTo>
                <a:lnTo>
                  <a:pt x="6" y="69"/>
                </a:lnTo>
                <a:lnTo>
                  <a:pt x="1" y="72"/>
                </a:lnTo>
                <a:lnTo>
                  <a:pt x="0" y="73"/>
                </a:lnTo>
                <a:lnTo>
                  <a:pt x="0" y="74"/>
                </a:lnTo>
                <a:lnTo>
                  <a:pt x="1" y="75"/>
                </a:lnTo>
                <a:lnTo>
                  <a:pt x="3" y="75"/>
                </a:lnTo>
                <a:lnTo>
                  <a:pt x="9" y="81"/>
                </a:lnTo>
                <a:lnTo>
                  <a:pt x="23" y="96"/>
                </a:lnTo>
                <a:lnTo>
                  <a:pt x="37" y="111"/>
                </a:lnTo>
                <a:lnTo>
                  <a:pt x="43" y="118"/>
                </a:lnTo>
                <a:lnTo>
                  <a:pt x="45" y="122"/>
                </a:lnTo>
                <a:lnTo>
                  <a:pt x="49" y="126"/>
                </a:lnTo>
                <a:lnTo>
                  <a:pt x="53" y="129"/>
                </a:lnTo>
                <a:lnTo>
                  <a:pt x="57" y="132"/>
                </a:lnTo>
                <a:lnTo>
                  <a:pt x="62" y="134"/>
                </a:lnTo>
                <a:lnTo>
                  <a:pt x="66" y="135"/>
                </a:lnTo>
                <a:lnTo>
                  <a:pt x="71" y="136"/>
                </a:lnTo>
                <a:lnTo>
                  <a:pt x="76" y="136"/>
                </a:lnTo>
                <a:lnTo>
                  <a:pt x="76" y="141"/>
                </a:lnTo>
                <a:lnTo>
                  <a:pt x="77" y="145"/>
                </a:lnTo>
                <a:lnTo>
                  <a:pt x="79" y="148"/>
                </a:lnTo>
                <a:lnTo>
                  <a:pt x="82" y="150"/>
                </a:lnTo>
                <a:lnTo>
                  <a:pt x="86" y="153"/>
                </a:lnTo>
                <a:lnTo>
                  <a:pt x="93" y="154"/>
                </a:lnTo>
                <a:lnTo>
                  <a:pt x="99" y="154"/>
                </a:lnTo>
                <a:lnTo>
                  <a:pt x="104" y="156"/>
                </a:lnTo>
                <a:lnTo>
                  <a:pt x="106" y="157"/>
                </a:lnTo>
                <a:lnTo>
                  <a:pt x="108" y="160"/>
                </a:lnTo>
                <a:lnTo>
                  <a:pt x="109" y="163"/>
                </a:lnTo>
                <a:lnTo>
                  <a:pt x="109" y="167"/>
                </a:lnTo>
                <a:lnTo>
                  <a:pt x="109" y="179"/>
                </a:lnTo>
                <a:lnTo>
                  <a:pt x="111" y="187"/>
                </a:lnTo>
                <a:lnTo>
                  <a:pt x="111" y="189"/>
                </a:lnTo>
                <a:lnTo>
                  <a:pt x="113" y="191"/>
                </a:lnTo>
                <a:lnTo>
                  <a:pt x="115" y="193"/>
                </a:lnTo>
                <a:lnTo>
                  <a:pt x="117" y="193"/>
                </a:lnTo>
                <a:lnTo>
                  <a:pt x="129" y="193"/>
                </a:lnTo>
                <a:lnTo>
                  <a:pt x="149" y="192"/>
                </a:lnTo>
                <a:lnTo>
                  <a:pt x="164" y="191"/>
                </a:lnTo>
                <a:lnTo>
                  <a:pt x="174" y="190"/>
                </a:lnTo>
                <a:lnTo>
                  <a:pt x="180" y="189"/>
                </a:lnTo>
                <a:lnTo>
                  <a:pt x="186" y="187"/>
                </a:lnTo>
                <a:lnTo>
                  <a:pt x="192" y="186"/>
                </a:lnTo>
                <a:lnTo>
                  <a:pt x="200" y="187"/>
                </a:lnTo>
                <a:lnTo>
                  <a:pt x="212" y="188"/>
                </a:lnTo>
                <a:lnTo>
                  <a:pt x="229" y="192"/>
                </a:lnTo>
                <a:lnTo>
                  <a:pt x="281" y="167"/>
                </a:lnTo>
                <a:lnTo>
                  <a:pt x="275" y="16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63" name="Freeform 215"/>
          <p:cNvSpPr>
            <a:spLocks/>
          </p:cNvSpPr>
          <p:nvPr>
            <p:custDataLst>
              <p:tags r:id="rId142"/>
            </p:custDataLst>
          </p:nvPr>
        </p:nvSpPr>
        <p:spPr bwMode="auto">
          <a:xfrm>
            <a:off x="3594100" y="3081339"/>
            <a:ext cx="52388" cy="58737"/>
          </a:xfrm>
          <a:custGeom>
            <a:avLst/>
            <a:gdLst>
              <a:gd name="T0" fmla="*/ 0 w 120"/>
              <a:gd name="T1" fmla="*/ 18 h 56"/>
              <a:gd name="T2" fmla="*/ 4 w 120"/>
              <a:gd name="T3" fmla="*/ 26 h 56"/>
              <a:gd name="T4" fmla="*/ 10 w 120"/>
              <a:gd name="T5" fmla="*/ 33 h 56"/>
              <a:gd name="T6" fmla="*/ 15 w 120"/>
              <a:gd name="T7" fmla="*/ 37 h 56"/>
              <a:gd name="T8" fmla="*/ 21 w 120"/>
              <a:gd name="T9" fmla="*/ 41 h 56"/>
              <a:gd name="T10" fmla="*/ 27 w 120"/>
              <a:gd name="T11" fmla="*/ 44 h 56"/>
              <a:gd name="T12" fmla="*/ 35 w 120"/>
              <a:gd name="T13" fmla="*/ 46 h 56"/>
              <a:gd name="T14" fmla="*/ 43 w 120"/>
              <a:gd name="T15" fmla="*/ 48 h 56"/>
              <a:gd name="T16" fmla="*/ 51 w 120"/>
              <a:gd name="T17" fmla="*/ 49 h 56"/>
              <a:gd name="T18" fmla="*/ 67 w 120"/>
              <a:gd name="T19" fmla="*/ 50 h 56"/>
              <a:gd name="T20" fmla="*/ 85 w 120"/>
              <a:gd name="T21" fmla="*/ 51 h 56"/>
              <a:gd name="T22" fmla="*/ 102 w 120"/>
              <a:gd name="T23" fmla="*/ 52 h 56"/>
              <a:gd name="T24" fmla="*/ 120 w 120"/>
              <a:gd name="T25" fmla="*/ 56 h 56"/>
              <a:gd name="T26" fmla="*/ 120 w 120"/>
              <a:gd name="T27" fmla="*/ 37 h 56"/>
              <a:gd name="T28" fmla="*/ 111 w 120"/>
              <a:gd name="T29" fmla="*/ 34 h 56"/>
              <a:gd name="T30" fmla="*/ 102 w 120"/>
              <a:gd name="T31" fmla="*/ 30 h 56"/>
              <a:gd name="T32" fmla="*/ 94 w 120"/>
              <a:gd name="T33" fmla="*/ 24 h 56"/>
              <a:gd name="T34" fmla="*/ 88 w 120"/>
              <a:gd name="T35" fmla="*/ 18 h 56"/>
              <a:gd name="T36" fmla="*/ 81 w 120"/>
              <a:gd name="T37" fmla="*/ 13 h 56"/>
              <a:gd name="T38" fmla="*/ 75 w 120"/>
              <a:gd name="T39" fmla="*/ 7 h 56"/>
              <a:gd name="T40" fmla="*/ 67 w 120"/>
              <a:gd name="T41" fmla="*/ 3 h 56"/>
              <a:gd name="T42" fmla="*/ 60 w 120"/>
              <a:gd name="T43" fmla="*/ 0 h 56"/>
              <a:gd name="T44" fmla="*/ 55 w 120"/>
              <a:gd name="T45" fmla="*/ 1 h 56"/>
              <a:gd name="T46" fmla="*/ 48 w 120"/>
              <a:gd name="T47" fmla="*/ 3 h 56"/>
              <a:gd name="T48" fmla="*/ 41 w 120"/>
              <a:gd name="T49" fmla="*/ 6 h 56"/>
              <a:gd name="T50" fmla="*/ 33 w 120"/>
              <a:gd name="T51" fmla="*/ 9 h 56"/>
              <a:gd name="T52" fmla="*/ 24 w 120"/>
              <a:gd name="T53" fmla="*/ 13 h 56"/>
              <a:gd name="T54" fmla="*/ 16 w 120"/>
              <a:gd name="T55" fmla="*/ 15 h 56"/>
              <a:gd name="T56" fmla="*/ 8 w 120"/>
              <a:gd name="T57" fmla="*/ 18 h 56"/>
              <a:gd name="T58" fmla="*/ 0 w 120"/>
              <a:gd name="T59" fmla="*/ 18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20" h="56">
                <a:moveTo>
                  <a:pt x="0" y="18"/>
                </a:moveTo>
                <a:lnTo>
                  <a:pt x="4" y="26"/>
                </a:lnTo>
                <a:lnTo>
                  <a:pt x="10" y="33"/>
                </a:lnTo>
                <a:lnTo>
                  <a:pt x="15" y="37"/>
                </a:lnTo>
                <a:lnTo>
                  <a:pt x="21" y="41"/>
                </a:lnTo>
                <a:lnTo>
                  <a:pt x="27" y="44"/>
                </a:lnTo>
                <a:lnTo>
                  <a:pt x="35" y="46"/>
                </a:lnTo>
                <a:lnTo>
                  <a:pt x="43" y="48"/>
                </a:lnTo>
                <a:lnTo>
                  <a:pt x="51" y="49"/>
                </a:lnTo>
                <a:lnTo>
                  <a:pt x="67" y="50"/>
                </a:lnTo>
                <a:lnTo>
                  <a:pt x="85" y="51"/>
                </a:lnTo>
                <a:lnTo>
                  <a:pt x="102" y="52"/>
                </a:lnTo>
                <a:lnTo>
                  <a:pt x="120" y="56"/>
                </a:lnTo>
                <a:lnTo>
                  <a:pt x="120" y="37"/>
                </a:lnTo>
                <a:lnTo>
                  <a:pt x="111" y="34"/>
                </a:lnTo>
                <a:lnTo>
                  <a:pt x="102" y="30"/>
                </a:lnTo>
                <a:lnTo>
                  <a:pt x="94" y="24"/>
                </a:lnTo>
                <a:lnTo>
                  <a:pt x="88" y="18"/>
                </a:lnTo>
                <a:lnTo>
                  <a:pt x="81" y="13"/>
                </a:lnTo>
                <a:lnTo>
                  <a:pt x="75" y="7"/>
                </a:lnTo>
                <a:lnTo>
                  <a:pt x="67" y="3"/>
                </a:lnTo>
                <a:lnTo>
                  <a:pt x="60" y="0"/>
                </a:lnTo>
                <a:lnTo>
                  <a:pt x="55" y="1"/>
                </a:lnTo>
                <a:lnTo>
                  <a:pt x="48" y="3"/>
                </a:lnTo>
                <a:lnTo>
                  <a:pt x="41" y="6"/>
                </a:lnTo>
                <a:lnTo>
                  <a:pt x="33" y="9"/>
                </a:lnTo>
                <a:lnTo>
                  <a:pt x="24" y="13"/>
                </a:lnTo>
                <a:lnTo>
                  <a:pt x="16" y="15"/>
                </a:lnTo>
                <a:lnTo>
                  <a:pt x="8" y="18"/>
                </a:lnTo>
                <a:lnTo>
                  <a:pt x="0" y="18"/>
                </a:lnTo>
              </a:path>
            </a:pathLst>
          </a:custGeom>
          <a:solidFill>
            <a:srgbClr val="29713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64" name="Freeform 216"/>
          <p:cNvSpPr>
            <a:spLocks/>
          </p:cNvSpPr>
          <p:nvPr>
            <p:custDataLst>
              <p:tags r:id="rId143"/>
            </p:custDataLst>
          </p:nvPr>
        </p:nvSpPr>
        <p:spPr bwMode="auto">
          <a:xfrm>
            <a:off x="3451226" y="2943225"/>
            <a:ext cx="250825" cy="109538"/>
          </a:xfrm>
          <a:custGeom>
            <a:avLst/>
            <a:gdLst>
              <a:gd name="T0" fmla="*/ 127 w 574"/>
              <a:gd name="T1" fmla="*/ 1 h 204"/>
              <a:gd name="T2" fmla="*/ 95 w 574"/>
              <a:gd name="T3" fmla="*/ 6 h 204"/>
              <a:gd name="T4" fmla="*/ 66 w 574"/>
              <a:gd name="T5" fmla="*/ 16 h 204"/>
              <a:gd name="T6" fmla="*/ 43 w 574"/>
              <a:gd name="T7" fmla="*/ 26 h 204"/>
              <a:gd name="T8" fmla="*/ 30 w 574"/>
              <a:gd name="T9" fmla="*/ 35 h 204"/>
              <a:gd name="T10" fmla="*/ 16 w 574"/>
              <a:gd name="T11" fmla="*/ 51 h 204"/>
              <a:gd name="T12" fmla="*/ 4 w 574"/>
              <a:gd name="T13" fmla="*/ 71 h 204"/>
              <a:gd name="T14" fmla="*/ 0 w 574"/>
              <a:gd name="T15" fmla="*/ 82 h 204"/>
              <a:gd name="T16" fmla="*/ 1 w 574"/>
              <a:gd name="T17" fmla="*/ 86 h 204"/>
              <a:gd name="T18" fmla="*/ 13 w 574"/>
              <a:gd name="T19" fmla="*/ 86 h 204"/>
              <a:gd name="T20" fmla="*/ 29 w 574"/>
              <a:gd name="T21" fmla="*/ 83 h 204"/>
              <a:gd name="T22" fmla="*/ 52 w 574"/>
              <a:gd name="T23" fmla="*/ 75 h 204"/>
              <a:gd name="T24" fmla="*/ 80 w 574"/>
              <a:gd name="T25" fmla="*/ 58 h 204"/>
              <a:gd name="T26" fmla="*/ 102 w 574"/>
              <a:gd name="T27" fmla="*/ 46 h 204"/>
              <a:gd name="T28" fmla="*/ 119 w 574"/>
              <a:gd name="T29" fmla="*/ 40 h 204"/>
              <a:gd name="T30" fmla="*/ 175 w 574"/>
              <a:gd name="T31" fmla="*/ 37 h 204"/>
              <a:gd name="T32" fmla="*/ 176 w 574"/>
              <a:gd name="T33" fmla="*/ 48 h 204"/>
              <a:gd name="T34" fmla="*/ 180 w 574"/>
              <a:gd name="T35" fmla="*/ 55 h 204"/>
              <a:gd name="T36" fmla="*/ 184 w 574"/>
              <a:gd name="T37" fmla="*/ 59 h 204"/>
              <a:gd name="T38" fmla="*/ 190 w 574"/>
              <a:gd name="T39" fmla="*/ 61 h 204"/>
              <a:gd name="T40" fmla="*/ 229 w 574"/>
              <a:gd name="T41" fmla="*/ 61 h 204"/>
              <a:gd name="T42" fmla="*/ 269 w 574"/>
              <a:gd name="T43" fmla="*/ 78 h 204"/>
              <a:gd name="T44" fmla="*/ 302 w 574"/>
              <a:gd name="T45" fmla="*/ 95 h 204"/>
              <a:gd name="T46" fmla="*/ 336 w 574"/>
              <a:gd name="T47" fmla="*/ 111 h 204"/>
              <a:gd name="T48" fmla="*/ 375 w 574"/>
              <a:gd name="T49" fmla="*/ 123 h 204"/>
              <a:gd name="T50" fmla="*/ 376 w 574"/>
              <a:gd name="T51" fmla="*/ 134 h 204"/>
              <a:gd name="T52" fmla="*/ 382 w 574"/>
              <a:gd name="T53" fmla="*/ 142 h 204"/>
              <a:gd name="T54" fmla="*/ 396 w 574"/>
              <a:gd name="T55" fmla="*/ 152 h 204"/>
              <a:gd name="T56" fmla="*/ 428 w 574"/>
              <a:gd name="T57" fmla="*/ 166 h 204"/>
              <a:gd name="T58" fmla="*/ 402 w 574"/>
              <a:gd name="T59" fmla="*/ 191 h 204"/>
              <a:gd name="T60" fmla="*/ 407 w 574"/>
              <a:gd name="T61" fmla="*/ 197 h 204"/>
              <a:gd name="T62" fmla="*/ 414 w 574"/>
              <a:gd name="T63" fmla="*/ 201 h 204"/>
              <a:gd name="T64" fmla="*/ 429 w 574"/>
              <a:gd name="T65" fmla="*/ 204 h 204"/>
              <a:gd name="T66" fmla="*/ 461 w 574"/>
              <a:gd name="T67" fmla="*/ 204 h 204"/>
              <a:gd name="T68" fmla="*/ 555 w 574"/>
              <a:gd name="T69" fmla="*/ 189 h 204"/>
              <a:gd name="T70" fmla="*/ 559 w 574"/>
              <a:gd name="T71" fmla="*/ 183 h 204"/>
              <a:gd name="T72" fmla="*/ 565 w 574"/>
              <a:gd name="T73" fmla="*/ 177 h 204"/>
              <a:gd name="T74" fmla="*/ 572 w 574"/>
              <a:gd name="T75" fmla="*/ 173 h 204"/>
              <a:gd name="T76" fmla="*/ 574 w 574"/>
              <a:gd name="T77" fmla="*/ 161 h 204"/>
              <a:gd name="T78" fmla="*/ 561 w 574"/>
              <a:gd name="T79" fmla="*/ 153 h 204"/>
              <a:gd name="T80" fmla="*/ 532 w 574"/>
              <a:gd name="T81" fmla="*/ 148 h 204"/>
              <a:gd name="T82" fmla="*/ 504 w 574"/>
              <a:gd name="T83" fmla="*/ 138 h 204"/>
              <a:gd name="T84" fmla="*/ 475 w 574"/>
              <a:gd name="T85" fmla="*/ 124 h 204"/>
              <a:gd name="T86" fmla="*/ 433 w 574"/>
              <a:gd name="T87" fmla="*/ 100 h 204"/>
              <a:gd name="T88" fmla="*/ 383 w 574"/>
              <a:gd name="T89" fmla="*/ 68 h 204"/>
              <a:gd name="T90" fmla="*/ 358 w 574"/>
              <a:gd name="T91" fmla="*/ 54 h 204"/>
              <a:gd name="T92" fmla="*/ 348 w 574"/>
              <a:gd name="T93" fmla="*/ 52 h 204"/>
              <a:gd name="T94" fmla="*/ 330 w 574"/>
              <a:gd name="T95" fmla="*/ 52 h 204"/>
              <a:gd name="T96" fmla="*/ 312 w 574"/>
              <a:gd name="T97" fmla="*/ 51 h 204"/>
              <a:gd name="T98" fmla="*/ 302 w 574"/>
              <a:gd name="T99" fmla="*/ 49 h 204"/>
              <a:gd name="T100" fmla="*/ 294 w 574"/>
              <a:gd name="T101" fmla="*/ 43 h 204"/>
              <a:gd name="T102" fmla="*/ 290 w 574"/>
              <a:gd name="T103" fmla="*/ 32 h 204"/>
              <a:gd name="T104" fmla="*/ 142 w 574"/>
              <a:gd name="T105" fmla="*/ 0 h 2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574" h="204">
                <a:moveTo>
                  <a:pt x="142" y="0"/>
                </a:moveTo>
                <a:lnTo>
                  <a:pt x="127" y="1"/>
                </a:lnTo>
                <a:lnTo>
                  <a:pt x="111" y="3"/>
                </a:lnTo>
                <a:lnTo>
                  <a:pt x="95" y="6"/>
                </a:lnTo>
                <a:lnTo>
                  <a:pt x="80" y="11"/>
                </a:lnTo>
                <a:lnTo>
                  <a:pt x="66" y="16"/>
                </a:lnTo>
                <a:lnTo>
                  <a:pt x="52" y="21"/>
                </a:lnTo>
                <a:lnTo>
                  <a:pt x="43" y="26"/>
                </a:lnTo>
                <a:lnTo>
                  <a:pt x="36" y="31"/>
                </a:lnTo>
                <a:lnTo>
                  <a:pt x="30" y="35"/>
                </a:lnTo>
                <a:lnTo>
                  <a:pt x="24" y="42"/>
                </a:lnTo>
                <a:lnTo>
                  <a:pt x="16" y="51"/>
                </a:lnTo>
                <a:lnTo>
                  <a:pt x="10" y="61"/>
                </a:lnTo>
                <a:lnTo>
                  <a:pt x="4" y="71"/>
                </a:lnTo>
                <a:lnTo>
                  <a:pt x="1" y="79"/>
                </a:lnTo>
                <a:lnTo>
                  <a:pt x="0" y="82"/>
                </a:lnTo>
                <a:lnTo>
                  <a:pt x="0" y="85"/>
                </a:lnTo>
                <a:lnTo>
                  <a:pt x="1" y="86"/>
                </a:lnTo>
                <a:lnTo>
                  <a:pt x="3" y="87"/>
                </a:lnTo>
                <a:lnTo>
                  <a:pt x="13" y="86"/>
                </a:lnTo>
                <a:lnTo>
                  <a:pt x="22" y="85"/>
                </a:lnTo>
                <a:lnTo>
                  <a:pt x="29" y="83"/>
                </a:lnTo>
                <a:lnTo>
                  <a:pt x="38" y="81"/>
                </a:lnTo>
                <a:lnTo>
                  <a:pt x="52" y="75"/>
                </a:lnTo>
                <a:lnTo>
                  <a:pt x="66" y="66"/>
                </a:lnTo>
                <a:lnTo>
                  <a:pt x="80" y="58"/>
                </a:lnTo>
                <a:lnTo>
                  <a:pt x="94" y="50"/>
                </a:lnTo>
                <a:lnTo>
                  <a:pt x="102" y="46"/>
                </a:lnTo>
                <a:lnTo>
                  <a:pt x="111" y="43"/>
                </a:lnTo>
                <a:lnTo>
                  <a:pt x="119" y="40"/>
                </a:lnTo>
                <a:lnTo>
                  <a:pt x="129" y="37"/>
                </a:lnTo>
                <a:lnTo>
                  <a:pt x="175" y="37"/>
                </a:lnTo>
                <a:lnTo>
                  <a:pt x="175" y="43"/>
                </a:lnTo>
                <a:lnTo>
                  <a:pt x="176" y="48"/>
                </a:lnTo>
                <a:lnTo>
                  <a:pt x="178" y="52"/>
                </a:lnTo>
                <a:lnTo>
                  <a:pt x="180" y="55"/>
                </a:lnTo>
                <a:lnTo>
                  <a:pt x="181" y="58"/>
                </a:lnTo>
                <a:lnTo>
                  <a:pt x="184" y="59"/>
                </a:lnTo>
                <a:lnTo>
                  <a:pt x="186" y="60"/>
                </a:lnTo>
                <a:lnTo>
                  <a:pt x="190" y="61"/>
                </a:lnTo>
                <a:lnTo>
                  <a:pt x="206" y="60"/>
                </a:lnTo>
                <a:lnTo>
                  <a:pt x="229" y="61"/>
                </a:lnTo>
                <a:lnTo>
                  <a:pt x="250" y="69"/>
                </a:lnTo>
                <a:lnTo>
                  <a:pt x="269" y="78"/>
                </a:lnTo>
                <a:lnTo>
                  <a:pt x="285" y="86"/>
                </a:lnTo>
                <a:lnTo>
                  <a:pt x="302" y="95"/>
                </a:lnTo>
                <a:lnTo>
                  <a:pt x="318" y="103"/>
                </a:lnTo>
                <a:lnTo>
                  <a:pt x="336" y="111"/>
                </a:lnTo>
                <a:lnTo>
                  <a:pt x="354" y="118"/>
                </a:lnTo>
                <a:lnTo>
                  <a:pt x="375" y="123"/>
                </a:lnTo>
                <a:lnTo>
                  <a:pt x="375" y="129"/>
                </a:lnTo>
                <a:lnTo>
                  <a:pt x="376" y="134"/>
                </a:lnTo>
                <a:lnTo>
                  <a:pt x="379" y="138"/>
                </a:lnTo>
                <a:lnTo>
                  <a:pt x="382" y="142"/>
                </a:lnTo>
                <a:lnTo>
                  <a:pt x="388" y="147"/>
                </a:lnTo>
                <a:lnTo>
                  <a:pt x="396" y="152"/>
                </a:lnTo>
                <a:lnTo>
                  <a:pt x="415" y="159"/>
                </a:lnTo>
                <a:lnTo>
                  <a:pt x="428" y="166"/>
                </a:lnTo>
                <a:lnTo>
                  <a:pt x="417" y="176"/>
                </a:lnTo>
                <a:lnTo>
                  <a:pt x="402" y="191"/>
                </a:lnTo>
                <a:lnTo>
                  <a:pt x="404" y="195"/>
                </a:lnTo>
                <a:lnTo>
                  <a:pt x="407" y="197"/>
                </a:lnTo>
                <a:lnTo>
                  <a:pt x="410" y="199"/>
                </a:lnTo>
                <a:lnTo>
                  <a:pt x="414" y="201"/>
                </a:lnTo>
                <a:lnTo>
                  <a:pt x="421" y="203"/>
                </a:lnTo>
                <a:lnTo>
                  <a:pt x="429" y="204"/>
                </a:lnTo>
                <a:lnTo>
                  <a:pt x="445" y="204"/>
                </a:lnTo>
                <a:lnTo>
                  <a:pt x="461" y="204"/>
                </a:lnTo>
                <a:lnTo>
                  <a:pt x="554" y="191"/>
                </a:lnTo>
                <a:lnTo>
                  <a:pt x="555" y="189"/>
                </a:lnTo>
                <a:lnTo>
                  <a:pt x="556" y="186"/>
                </a:lnTo>
                <a:lnTo>
                  <a:pt x="559" y="183"/>
                </a:lnTo>
                <a:lnTo>
                  <a:pt x="562" y="179"/>
                </a:lnTo>
                <a:lnTo>
                  <a:pt x="565" y="177"/>
                </a:lnTo>
                <a:lnTo>
                  <a:pt x="568" y="174"/>
                </a:lnTo>
                <a:lnTo>
                  <a:pt x="572" y="173"/>
                </a:lnTo>
                <a:lnTo>
                  <a:pt x="574" y="172"/>
                </a:lnTo>
                <a:lnTo>
                  <a:pt x="574" y="161"/>
                </a:lnTo>
                <a:lnTo>
                  <a:pt x="574" y="154"/>
                </a:lnTo>
                <a:lnTo>
                  <a:pt x="561" y="153"/>
                </a:lnTo>
                <a:lnTo>
                  <a:pt x="546" y="151"/>
                </a:lnTo>
                <a:lnTo>
                  <a:pt x="532" y="148"/>
                </a:lnTo>
                <a:lnTo>
                  <a:pt x="518" y="143"/>
                </a:lnTo>
                <a:lnTo>
                  <a:pt x="504" y="138"/>
                </a:lnTo>
                <a:lnTo>
                  <a:pt x="489" y="132"/>
                </a:lnTo>
                <a:lnTo>
                  <a:pt x="475" y="124"/>
                </a:lnTo>
                <a:lnTo>
                  <a:pt x="461" y="116"/>
                </a:lnTo>
                <a:lnTo>
                  <a:pt x="433" y="100"/>
                </a:lnTo>
                <a:lnTo>
                  <a:pt x="407" y="84"/>
                </a:lnTo>
                <a:lnTo>
                  <a:pt x="383" y="68"/>
                </a:lnTo>
                <a:lnTo>
                  <a:pt x="362" y="55"/>
                </a:lnTo>
                <a:lnTo>
                  <a:pt x="358" y="54"/>
                </a:lnTo>
                <a:lnTo>
                  <a:pt x="353" y="52"/>
                </a:lnTo>
                <a:lnTo>
                  <a:pt x="348" y="52"/>
                </a:lnTo>
                <a:lnTo>
                  <a:pt x="342" y="52"/>
                </a:lnTo>
                <a:lnTo>
                  <a:pt x="330" y="52"/>
                </a:lnTo>
                <a:lnTo>
                  <a:pt x="318" y="52"/>
                </a:lnTo>
                <a:lnTo>
                  <a:pt x="312" y="51"/>
                </a:lnTo>
                <a:lnTo>
                  <a:pt x="306" y="50"/>
                </a:lnTo>
                <a:lnTo>
                  <a:pt x="302" y="49"/>
                </a:lnTo>
                <a:lnTo>
                  <a:pt x="297" y="46"/>
                </a:lnTo>
                <a:lnTo>
                  <a:pt x="294" y="43"/>
                </a:lnTo>
                <a:lnTo>
                  <a:pt x="291" y="38"/>
                </a:lnTo>
                <a:lnTo>
                  <a:pt x="290" y="32"/>
                </a:lnTo>
                <a:lnTo>
                  <a:pt x="288" y="25"/>
                </a:lnTo>
                <a:lnTo>
                  <a:pt x="142" y="0"/>
                </a:lnTo>
              </a:path>
            </a:pathLst>
          </a:custGeom>
          <a:solidFill>
            <a:srgbClr val="29713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65" name="Freeform 217"/>
          <p:cNvSpPr>
            <a:spLocks/>
          </p:cNvSpPr>
          <p:nvPr>
            <p:custDataLst>
              <p:tags r:id="rId144"/>
            </p:custDataLst>
          </p:nvPr>
        </p:nvSpPr>
        <p:spPr bwMode="auto">
          <a:xfrm>
            <a:off x="3756025" y="3046413"/>
            <a:ext cx="88900" cy="69850"/>
          </a:xfrm>
          <a:custGeom>
            <a:avLst/>
            <a:gdLst>
              <a:gd name="T0" fmla="*/ 41 w 207"/>
              <a:gd name="T1" fmla="*/ 129 h 129"/>
              <a:gd name="T2" fmla="*/ 50 w 207"/>
              <a:gd name="T3" fmla="*/ 121 h 129"/>
              <a:gd name="T4" fmla="*/ 60 w 207"/>
              <a:gd name="T5" fmla="*/ 115 h 129"/>
              <a:gd name="T6" fmla="*/ 70 w 207"/>
              <a:gd name="T7" fmla="*/ 110 h 129"/>
              <a:gd name="T8" fmla="*/ 81 w 207"/>
              <a:gd name="T9" fmla="*/ 105 h 129"/>
              <a:gd name="T10" fmla="*/ 105 w 207"/>
              <a:gd name="T11" fmla="*/ 99 h 129"/>
              <a:gd name="T12" fmla="*/ 129 w 207"/>
              <a:gd name="T13" fmla="*/ 92 h 129"/>
              <a:gd name="T14" fmla="*/ 152 w 207"/>
              <a:gd name="T15" fmla="*/ 87 h 129"/>
              <a:gd name="T16" fmla="*/ 173 w 207"/>
              <a:gd name="T17" fmla="*/ 81 h 129"/>
              <a:gd name="T18" fmla="*/ 182 w 207"/>
              <a:gd name="T19" fmla="*/ 77 h 129"/>
              <a:gd name="T20" fmla="*/ 191 w 207"/>
              <a:gd name="T21" fmla="*/ 73 h 129"/>
              <a:gd name="T22" fmla="*/ 200 w 207"/>
              <a:gd name="T23" fmla="*/ 67 h 129"/>
              <a:gd name="T24" fmla="*/ 207 w 207"/>
              <a:gd name="T25" fmla="*/ 61 h 129"/>
              <a:gd name="T26" fmla="*/ 198 w 207"/>
              <a:gd name="T27" fmla="*/ 54 h 129"/>
              <a:gd name="T28" fmla="*/ 188 w 207"/>
              <a:gd name="T29" fmla="*/ 47 h 129"/>
              <a:gd name="T30" fmla="*/ 179 w 207"/>
              <a:gd name="T31" fmla="*/ 42 h 129"/>
              <a:gd name="T32" fmla="*/ 169 w 207"/>
              <a:gd name="T33" fmla="*/ 36 h 129"/>
              <a:gd name="T34" fmla="*/ 150 w 207"/>
              <a:gd name="T35" fmla="*/ 29 h 129"/>
              <a:gd name="T36" fmla="*/ 129 w 207"/>
              <a:gd name="T37" fmla="*/ 23 h 129"/>
              <a:gd name="T38" fmla="*/ 107 w 207"/>
              <a:gd name="T39" fmla="*/ 18 h 129"/>
              <a:gd name="T40" fmla="*/ 85 w 207"/>
              <a:gd name="T41" fmla="*/ 13 h 129"/>
              <a:gd name="T42" fmla="*/ 63 w 207"/>
              <a:gd name="T43" fmla="*/ 7 h 129"/>
              <a:gd name="T44" fmla="*/ 41 w 207"/>
              <a:gd name="T45" fmla="*/ 0 h 129"/>
              <a:gd name="T46" fmla="*/ 0 w 207"/>
              <a:gd name="T47" fmla="*/ 0 h 129"/>
              <a:gd name="T48" fmla="*/ 1 w 207"/>
              <a:gd name="T49" fmla="*/ 6 h 129"/>
              <a:gd name="T50" fmla="*/ 2 w 207"/>
              <a:gd name="T51" fmla="*/ 13 h 129"/>
              <a:gd name="T52" fmla="*/ 4 w 207"/>
              <a:gd name="T53" fmla="*/ 19 h 129"/>
              <a:gd name="T54" fmla="*/ 6 w 207"/>
              <a:gd name="T55" fmla="*/ 25 h 129"/>
              <a:gd name="T56" fmla="*/ 10 w 207"/>
              <a:gd name="T57" fmla="*/ 35 h 129"/>
              <a:gd name="T58" fmla="*/ 13 w 207"/>
              <a:gd name="T59" fmla="*/ 46 h 129"/>
              <a:gd name="T60" fmla="*/ 17 w 207"/>
              <a:gd name="T61" fmla="*/ 54 h 129"/>
              <a:gd name="T62" fmla="*/ 18 w 207"/>
              <a:gd name="T63" fmla="*/ 62 h 129"/>
              <a:gd name="T64" fmla="*/ 17 w 207"/>
              <a:gd name="T65" fmla="*/ 65 h 129"/>
              <a:gd name="T66" fmla="*/ 14 w 207"/>
              <a:gd name="T67" fmla="*/ 68 h 129"/>
              <a:gd name="T68" fmla="*/ 11 w 207"/>
              <a:gd name="T69" fmla="*/ 71 h 129"/>
              <a:gd name="T70" fmla="*/ 7 w 207"/>
              <a:gd name="T71" fmla="*/ 73 h 129"/>
              <a:gd name="T72" fmla="*/ 0 w 207"/>
              <a:gd name="T73" fmla="*/ 104 h 129"/>
              <a:gd name="T74" fmla="*/ 4 w 207"/>
              <a:gd name="T75" fmla="*/ 106 h 129"/>
              <a:gd name="T76" fmla="*/ 13 w 207"/>
              <a:gd name="T77" fmla="*/ 110 h 129"/>
              <a:gd name="T78" fmla="*/ 19 w 207"/>
              <a:gd name="T79" fmla="*/ 113 h 129"/>
              <a:gd name="T80" fmla="*/ 25 w 207"/>
              <a:gd name="T81" fmla="*/ 117 h 129"/>
              <a:gd name="T82" fmla="*/ 33 w 207"/>
              <a:gd name="T83" fmla="*/ 122 h 129"/>
              <a:gd name="T84" fmla="*/ 41 w 207"/>
              <a:gd name="T85" fmla="*/ 129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07" h="129">
                <a:moveTo>
                  <a:pt x="41" y="129"/>
                </a:moveTo>
                <a:lnTo>
                  <a:pt x="50" y="121"/>
                </a:lnTo>
                <a:lnTo>
                  <a:pt x="60" y="115"/>
                </a:lnTo>
                <a:lnTo>
                  <a:pt x="70" y="110"/>
                </a:lnTo>
                <a:lnTo>
                  <a:pt x="81" y="105"/>
                </a:lnTo>
                <a:lnTo>
                  <a:pt x="105" y="99"/>
                </a:lnTo>
                <a:lnTo>
                  <a:pt x="129" y="92"/>
                </a:lnTo>
                <a:lnTo>
                  <a:pt x="152" y="87"/>
                </a:lnTo>
                <a:lnTo>
                  <a:pt x="173" y="81"/>
                </a:lnTo>
                <a:lnTo>
                  <a:pt x="182" y="77"/>
                </a:lnTo>
                <a:lnTo>
                  <a:pt x="191" y="73"/>
                </a:lnTo>
                <a:lnTo>
                  <a:pt x="200" y="67"/>
                </a:lnTo>
                <a:lnTo>
                  <a:pt x="207" y="61"/>
                </a:lnTo>
                <a:lnTo>
                  <a:pt x="198" y="54"/>
                </a:lnTo>
                <a:lnTo>
                  <a:pt x="188" y="47"/>
                </a:lnTo>
                <a:lnTo>
                  <a:pt x="179" y="42"/>
                </a:lnTo>
                <a:lnTo>
                  <a:pt x="169" y="36"/>
                </a:lnTo>
                <a:lnTo>
                  <a:pt x="150" y="29"/>
                </a:lnTo>
                <a:lnTo>
                  <a:pt x="129" y="23"/>
                </a:lnTo>
                <a:lnTo>
                  <a:pt x="107" y="18"/>
                </a:lnTo>
                <a:lnTo>
                  <a:pt x="85" y="13"/>
                </a:lnTo>
                <a:lnTo>
                  <a:pt x="63" y="7"/>
                </a:lnTo>
                <a:lnTo>
                  <a:pt x="41" y="0"/>
                </a:lnTo>
                <a:lnTo>
                  <a:pt x="0" y="0"/>
                </a:lnTo>
                <a:lnTo>
                  <a:pt x="1" y="6"/>
                </a:lnTo>
                <a:lnTo>
                  <a:pt x="2" y="13"/>
                </a:lnTo>
                <a:lnTo>
                  <a:pt x="4" y="19"/>
                </a:lnTo>
                <a:lnTo>
                  <a:pt x="6" y="25"/>
                </a:lnTo>
                <a:lnTo>
                  <a:pt x="10" y="35"/>
                </a:lnTo>
                <a:lnTo>
                  <a:pt x="13" y="46"/>
                </a:lnTo>
                <a:lnTo>
                  <a:pt x="17" y="54"/>
                </a:lnTo>
                <a:lnTo>
                  <a:pt x="18" y="62"/>
                </a:lnTo>
                <a:lnTo>
                  <a:pt x="17" y="65"/>
                </a:lnTo>
                <a:lnTo>
                  <a:pt x="14" y="68"/>
                </a:lnTo>
                <a:lnTo>
                  <a:pt x="11" y="71"/>
                </a:lnTo>
                <a:lnTo>
                  <a:pt x="7" y="73"/>
                </a:lnTo>
                <a:lnTo>
                  <a:pt x="0" y="104"/>
                </a:lnTo>
                <a:lnTo>
                  <a:pt x="4" y="106"/>
                </a:lnTo>
                <a:lnTo>
                  <a:pt x="13" y="110"/>
                </a:lnTo>
                <a:lnTo>
                  <a:pt x="19" y="113"/>
                </a:lnTo>
                <a:lnTo>
                  <a:pt x="25" y="117"/>
                </a:lnTo>
                <a:lnTo>
                  <a:pt x="33" y="122"/>
                </a:lnTo>
                <a:lnTo>
                  <a:pt x="41" y="129"/>
                </a:lnTo>
              </a:path>
            </a:pathLst>
          </a:custGeom>
          <a:solidFill>
            <a:srgbClr val="29713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66" name="Freeform 218"/>
          <p:cNvSpPr>
            <a:spLocks/>
          </p:cNvSpPr>
          <p:nvPr>
            <p:custDataLst>
              <p:tags r:id="rId145"/>
            </p:custDataLst>
          </p:nvPr>
        </p:nvSpPr>
        <p:spPr bwMode="auto">
          <a:xfrm>
            <a:off x="3324225" y="3106739"/>
            <a:ext cx="33338" cy="84137"/>
          </a:xfrm>
          <a:custGeom>
            <a:avLst/>
            <a:gdLst>
              <a:gd name="T0" fmla="*/ 72 w 72"/>
              <a:gd name="T1" fmla="*/ 0 h 154"/>
              <a:gd name="T2" fmla="*/ 69 w 72"/>
              <a:gd name="T3" fmla="*/ 4 h 154"/>
              <a:gd name="T4" fmla="*/ 67 w 72"/>
              <a:gd name="T5" fmla="*/ 9 h 154"/>
              <a:gd name="T6" fmla="*/ 66 w 72"/>
              <a:gd name="T7" fmla="*/ 13 h 154"/>
              <a:gd name="T8" fmla="*/ 66 w 72"/>
              <a:gd name="T9" fmla="*/ 18 h 154"/>
              <a:gd name="T10" fmla="*/ 66 w 72"/>
              <a:gd name="T11" fmla="*/ 27 h 154"/>
              <a:gd name="T12" fmla="*/ 66 w 72"/>
              <a:gd name="T13" fmla="*/ 37 h 154"/>
              <a:gd name="T14" fmla="*/ 69 w 72"/>
              <a:gd name="T15" fmla="*/ 43 h 154"/>
              <a:gd name="T16" fmla="*/ 71 w 72"/>
              <a:gd name="T17" fmla="*/ 50 h 154"/>
              <a:gd name="T18" fmla="*/ 71 w 72"/>
              <a:gd name="T19" fmla="*/ 57 h 154"/>
              <a:gd name="T20" fmla="*/ 71 w 72"/>
              <a:gd name="T21" fmla="*/ 65 h 154"/>
              <a:gd name="T22" fmla="*/ 69 w 72"/>
              <a:gd name="T23" fmla="*/ 73 h 154"/>
              <a:gd name="T24" fmla="*/ 67 w 72"/>
              <a:gd name="T25" fmla="*/ 82 h 154"/>
              <a:gd name="T26" fmla="*/ 65 w 72"/>
              <a:gd name="T27" fmla="*/ 91 h 154"/>
              <a:gd name="T28" fmla="*/ 61 w 72"/>
              <a:gd name="T29" fmla="*/ 100 h 154"/>
              <a:gd name="T30" fmla="*/ 53 w 72"/>
              <a:gd name="T31" fmla="*/ 116 h 154"/>
              <a:gd name="T32" fmla="*/ 44 w 72"/>
              <a:gd name="T33" fmla="*/ 131 h 154"/>
              <a:gd name="T34" fmla="*/ 34 w 72"/>
              <a:gd name="T35" fmla="*/ 144 h 154"/>
              <a:gd name="T36" fmla="*/ 26 w 72"/>
              <a:gd name="T37" fmla="*/ 154 h 154"/>
              <a:gd name="T38" fmla="*/ 26 w 72"/>
              <a:gd name="T39" fmla="*/ 141 h 154"/>
              <a:gd name="T40" fmla="*/ 15 w 72"/>
              <a:gd name="T41" fmla="*/ 144 h 154"/>
              <a:gd name="T42" fmla="*/ 0 w 72"/>
              <a:gd name="T43" fmla="*/ 148 h 154"/>
              <a:gd name="T44" fmla="*/ 3 w 72"/>
              <a:gd name="T45" fmla="*/ 129 h 154"/>
              <a:gd name="T46" fmla="*/ 8 w 72"/>
              <a:gd name="T47" fmla="*/ 105 h 154"/>
              <a:gd name="T48" fmla="*/ 9 w 72"/>
              <a:gd name="T49" fmla="*/ 92 h 154"/>
              <a:gd name="T50" fmla="*/ 12 w 72"/>
              <a:gd name="T51" fmla="*/ 77 h 154"/>
              <a:gd name="T52" fmla="*/ 15 w 72"/>
              <a:gd name="T53" fmla="*/ 63 h 154"/>
              <a:gd name="T54" fmla="*/ 20 w 72"/>
              <a:gd name="T55" fmla="*/ 49 h 154"/>
              <a:gd name="T56" fmla="*/ 20 w 72"/>
              <a:gd name="T57" fmla="*/ 0 h 154"/>
              <a:gd name="T58" fmla="*/ 25 w 72"/>
              <a:gd name="T59" fmla="*/ 0 h 154"/>
              <a:gd name="T60" fmla="*/ 38 w 72"/>
              <a:gd name="T61" fmla="*/ 0 h 154"/>
              <a:gd name="T62" fmla="*/ 56 w 72"/>
              <a:gd name="T63" fmla="*/ 0 h 154"/>
              <a:gd name="T64" fmla="*/ 72 w 72"/>
              <a:gd name="T65" fmla="*/ 0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72" h="154">
                <a:moveTo>
                  <a:pt x="72" y="0"/>
                </a:moveTo>
                <a:lnTo>
                  <a:pt x="69" y="4"/>
                </a:lnTo>
                <a:lnTo>
                  <a:pt x="67" y="9"/>
                </a:lnTo>
                <a:lnTo>
                  <a:pt x="66" y="13"/>
                </a:lnTo>
                <a:lnTo>
                  <a:pt x="66" y="18"/>
                </a:lnTo>
                <a:lnTo>
                  <a:pt x="66" y="27"/>
                </a:lnTo>
                <a:lnTo>
                  <a:pt x="66" y="37"/>
                </a:lnTo>
                <a:lnTo>
                  <a:pt x="69" y="43"/>
                </a:lnTo>
                <a:lnTo>
                  <a:pt x="71" y="50"/>
                </a:lnTo>
                <a:lnTo>
                  <a:pt x="71" y="57"/>
                </a:lnTo>
                <a:lnTo>
                  <a:pt x="71" y="65"/>
                </a:lnTo>
                <a:lnTo>
                  <a:pt x="69" y="73"/>
                </a:lnTo>
                <a:lnTo>
                  <a:pt x="67" y="82"/>
                </a:lnTo>
                <a:lnTo>
                  <a:pt x="65" y="91"/>
                </a:lnTo>
                <a:lnTo>
                  <a:pt x="61" y="100"/>
                </a:lnTo>
                <a:lnTo>
                  <a:pt x="53" y="116"/>
                </a:lnTo>
                <a:lnTo>
                  <a:pt x="44" y="131"/>
                </a:lnTo>
                <a:lnTo>
                  <a:pt x="34" y="144"/>
                </a:lnTo>
                <a:lnTo>
                  <a:pt x="26" y="154"/>
                </a:lnTo>
                <a:lnTo>
                  <a:pt x="26" y="141"/>
                </a:lnTo>
                <a:lnTo>
                  <a:pt x="15" y="144"/>
                </a:lnTo>
                <a:lnTo>
                  <a:pt x="0" y="148"/>
                </a:lnTo>
                <a:lnTo>
                  <a:pt x="3" y="129"/>
                </a:lnTo>
                <a:lnTo>
                  <a:pt x="8" y="105"/>
                </a:lnTo>
                <a:lnTo>
                  <a:pt x="9" y="92"/>
                </a:lnTo>
                <a:lnTo>
                  <a:pt x="12" y="77"/>
                </a:lnTo>
                <a:lnTo>
                  <a:pt x="15" y="63"/>
                </a:lnTo>
                <a:lnTo>
                  <a:pt x="20" y="49"/>
                </a:lnTo>
                <a:lnTo>
                  <a:pt x="20" y="0"/>
                </a:lnTo>
                <a:lnTo>
                  <a:pt x="25" y="0"/>
                </a:lnTo>
                <a:lnTo>
                  <a:pt x="38" y="0"/>
                </a:lnTo>
                <a:lnTo>
                  <a:pt x="56" y="0"/>
                </a:lnTo>
                <a:lnTo>
                  <a:pt x="72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67" name="Freeform 219"/>
          <p:cNvSpPr>
            <a:spLocks/>
          </p:cNvSpPr>
          <p:nvPr>
            <p:custDataLst>
              <p:tags r:id="rId146"/>
            </p:custDataLst>
          </p:nvPr>
        </p:nvSpPr>
        <p:spPr bwMode="auto">
          <a:xfrm>
            <a:off x="3244851" y="3106738"/>
            <a:ext cx="93663" cy="146050"/>
          </a:xfrm>
          <a:custGeom>
            <a:avLst/>
            <a:gdLst>
              <a:gd name="T0" fmla="*/ 8 w 214"/>
              <a:gd name="T1" fmla="*/ 207 h 271"/>
              <a:gd name="T2" fmla="*/ 12 w 214"/>
              <a:gd name="T3" fmla="*/ 181 h 271"/>
              <a:gd name="T4" fmla="*/ 24 w 214"/>
              <a:gd name="T5" fmla="*/ 148 h 271"/>
              <a:gd name="T6" fmla="*/ 35 w 214"/>
              <a:gd name="T7" fmla="*/ 118 h 271"/>
              <a:gd name="T8" fmla="*/ 44 w 214"/>
              <a:gd name="T9" fmla="*/ 112 h 271"/>
              <a:gd name="T10" fmla="*/ 65 w 214"/>
              <a:gd name="T11" fmla="*/ 111 h 271"/>
              <a:gd name="T12" fmla="*/ 89 w 214"/>
              <a:gd name="T13" fmla="*/ 111 h 271"/>
              <a:gd name="T14" fmla="*/ 106 w 214"/>
              <a:gd name="T15" fmla="*/ 110 h 271"/>
              <a:gd name="T16" fmla="*/ 120 w 214"/>
              <a:gd name="T17" fmla="*/ 105 h 271"/>
              <a:gd name="T18" fmla="*/ 130 w 214"/>
              <a:gd name="T19" fmla="*/ 94 h 271"/>
              <a:gd name="T20" fmla="*/ 113 w 214"/>
              <a:gd name="T21" fmla="*/ 73 h 271"/>
              <a:gd name="T22" fmla="*/ 86 w 214"/>
              <a:gd name="T23" fmla="*/ 58 h 271"/>
              <a:gd name="T24" fmla="*/ 77 w 214"/>
              <a:gd name="T25" fmla="*/ 49 h 271"/>
              <a:gd name="T26" fmla="*/ 74 w 214"/>
              <a:gd name="T27" fmla="*/ 41 h 271"/>
              <a:gd name="T28" fmla="*/ 75 w 214"/>
              <a:gd name="T29" fmla="*/ 34 h 271"/>
              <a:gd name="T30" fmla="*/ 82 w 214"/>
              <a:gd name="T31" fmla="*/ 28 h 271"/>
              <a:gd name="T32" fmla="*/ 101 w 214"/>
              <a:gd name="T33" fmla="*/ 19 h 271"/>
              <a:gd name="T34" fmla="*/ 150 w 214"/>
              <a:gd name="T35" fmla="*/ 3 h 271"/>
              <a:gd name="T36" fmla="*/ 180 w 214"/>
              <a:gd name="T37" fmla="*/ 0 h 271"/>
              <a:gd name="T38" fmla="*/ 198 w 214"/>
              <a:gd name="T39" fmla="*/ 0 h 271"/>
              <a:gd name="T40" fmla="*/ 207 w 214"/>
              <a:gd name="T41" fmla="*/ 49 h 271"/>
              <a:gd name="T42" fmla="*/ 199 w 214"/>
              <a:gd name="T43" fmla="*/ 77 h 271"/>
              <a:gd name="T44" fmla="*/ 195 w 214"/>
              <a:gd name="T45" fmla="*/ 105 h 271"/>
              <a:gd name="T46" fmla="*/ 187 w 214"/>
              <a:gd name="T47" fmla="*/ 148 h 271"/>
              <a:gd name="T48" fmla="*/ 213 w 214"/>
              <a:gd name="T49" fmla="*/ 154 h 271"/>
              <a:gd name="T50" fmla="*/ 214 w 214"/>
              <a:gd name="T51" fmla="*/ 166 h 271"/>
              <a:gd name="T52" fmla="*/ 210 w 214"/>
              <a:gd name="T53" fmla="*/ 174 h 271"/>
              <a:gd name="T54" fmla="*/ 207 w 214"/>
              <a:gd name="T55" fmla="*/ 177 h 271"/>
              <a:gd name="T56" fmla="*/ 200 w 214"/>
              <a:gd name="T57" fmla="*/ 178 h 271"/>
              <a:gd name="T58" fmla="*/ 192 w 214"/>
              <a:gd name="T59" fmla="*/ 196 h 271"/>
              <a:gd name="T60" fmla="*/ 181 w 214"/>
              <a:gd name="T61" fmla="*/ 214 h 271"/>
              <a:gd name="T62" fmla="*/ 155 w 214"/>
              <a:gd name="T63" fmla="*/ 243 h 271"/>
              <a:gd name="T64" fmla="*/ 120 w 214"/>
              <a:gd name="T65" fmla="*/ 271 h 271"/>
              <a:gd name="T66" fmla="*/ 87 w 214"/>
              <a:gd name="T67" fmla="*/ 261 h 271"/>
              <a:gd name="T68" fmla="*/ 55 w 214"/>
              <a:gd name="T69" fmla="*/ 248 h 271"/>
              <a:gd name="T70" fmla="*/ 0 w 214"/>
              <a:gd name="T71" fmla="*/ 221 h 2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14" h="271">
                <a:moveTo>
                  <a:pt x="7" y="221"/>
                </a:moveTo>
                <a:lnTo>
                  <a:pt x="8" y="207"/>
                </a:lnTo>
                <a:lnTo>
                  <a:pt x="9" y="192"/>
                </a:lnTo>
                <a:lnTo>
                  <a:pt x="12" y="181"/>
                </a:lnTo>
                <a:lnTo>
                  <a:pt x="16" y="170"/>
                </a:lnTo>
                <a:lnTo>
                  <a:pt x="24" y="148"/>
                </a:lnTo>
                <a:lnTo>
                  <a:pt x="34" y="123"/>
                </a:lnTo>
                <a:lnTo>
                  <a:pt x="35" y="118"/>
                </a:lnTo>
                <a:lnTo>
                  <a:pt x="40" y="114"/>
                </a:lnTo>
                <a:lnTo>
                  <a:pt x="44" y="112"/>
                </a:lnTo>
                <a:lnTo>
                  <a:pt x="51" y="111"/>
                </a:lnTo>
                <a:lnTo>
                  <a:pt x="65" y="111"/>
                </a:lnTo>
                <a:lnTo>
                  <a:pt x="82" y="111"/>
                </a:lnTo>
                <a:lnTo>
                  <a:pt x="89" y="111"/>
                </a:lnTo>
                <a:lnTo>
                  <a:pt x="98" y="111"/>
                </a:lnTo>
                <a:lnTo>
                  <a:pt x="106" y="110"/>
                </a:lnTo>
                <a:lnTo>
                  <a:pt x="113" y="108"/>
                </a:lnTo>
                <a:lnTo>
                  <a:pt x="120" y="105"/>
                </a:lnTo>
                <a:lnTo>
                  <a:pt x="125" y="100"/>
                </a:lnTo>
                <a:lnTo>
                  <a:pt x="130" y="94"/>
                </a:lnTo>
                <a:lnTo>
                  <a:pt x="133" y="85"/>
                </a:lnTo>
                <a:lnTo>
                  <a:pt x="113" y="73"/>
                </a:lnTo>
                <a:lnTo>
                  <a:pt x="94" y="63"/>
                </a:lnTo>
                <a:lnTo>
                  <a:pt x="86" y="58"/>
                </a:lnTo>
                <a:lnTo>
                  <a:pt x="79" y="52"/>
                </a:lnTo>
                <a:lnTo>
                  <a:pt x="77" y="49"/>
                </a:lnTo>
                <a:lnTo>
                  <a:pt x="75" y="45"/>
                </a:lnTo>
                <a:lnTo>
                  <a:pt x="74" y="41"/>
                </a:lnTo>
                <a:lnTo>
                  <a:pt x="74" y="37"/>
                </a:lnTo>
                <a:lnTo>
                  <a:pt x="75" y="34"/>
                </a:lnTo>
                <a:lnTo>
                  <a:pt x="77" y="31"/>
                </a:lnTo>
                <a:lnTo>
                  <a:pt x="82" y="28"/>
                </a:lnTo>
                <a:lnTo>
                  <a:pt x="87" y="25"/>
                </a:lnTo>
                <a:lnTo>
                  <a:pt x="101" y="19"/>
                </a:lnTo>
                <a:lnTo>
                  <a:pt x="118" y="13"/>
                </a:lnTo>
                <a:lnTo>
                  <a:pt x="150" y="3"/>
                </a:lnTo>
                <a:lnTo>
                  <a:pt x="167" y="0"/>
                </a:lnTo>
                <a:lnTo>
                  <a:pt x="180" y="0"/>
                </a:lnTo>
                <a:lnTo>
                  <a:pt x="190" y="0"/>
                </a:lnTo>
                <a:lnTo>
                  <a:pt x="198" y="0"/>
                </a:lnTo>
                <a:lnTo>
                  <a:pt x="200" y="0"/>
                </a:lnTo>
                <a:lnTo>
                  <a:pt x="207" y="49"/>
                </a:lnTo>
                <a:lnTo>
                  <a:pt x="202" y="63"/>
                </a:lnTo>
                <a:lnTo>
                  <a:pt x="199" y="77"/>
                </a:lnTo>
                <a:lnTo>
                  <a:pt x="196" y="92"/>
                </a:lnTo>
                <a:lnTo>
                  <a:pt x="195" y="105"/>
                </a:lnTo>
                <a:lnTo>
                  <a:pt x="190" y="129"/>
                </a:lnTo>
                <a:lnTo>
                  <a:pt x="187" y="148"/>
                </a:lnTo>
                <a:lnTo>
                  <a:pt x="202" y="151"/>
                </a:lnTo>
                <a:lnTo>
                  <a:pt x="213" y="154"/>
                </a:lnTo>
                <a:lnTo>
                  <a:pt x="214" y="158"/>
                </a:lnTo>
                <a:lnTo>
                  <a:pt x="214" y="166"/>
                </a:lnTo>
                <a:lnTo>
                  <a:pt x="213" y="170"/>
                </a:lnTo>
                <a:lnTo>
                  <a:pt x="210" y="174"/>
                </a:lnTo>
                <a:lnTo>
                  <a:pt x="209" y="176"/>
                </a:lnTo>
                <a:lnTo>
                  <a:pt x="207" y="177"/>
                </a:lnTo>
                <a:lnTo>
                  <a:pt x="203" y="178"/>
                </a:lnTo>
                <a:lnTo>
                  <a:pt x="200" y="178"/>
                </a:lnTo>
                <a:lnTo>
                  <a:pt x="197" y="187"/>
                </a:lnTo>
                <a:lnTo>
                  <a:pt x="192" y="196"/>
                </a:lnTo>
                <a:lnTo>
                  <a:pt x="188" y="205"/>
                </a:lnTo>
                <a:lnTo>
                  <a:pt x="181" y="214"/>
                </a:lnTo>
                <a:lnTo>
                  <a:pt x="169" y="229"/>
                </a:lnTo>
                <a:lnTo>
                  <a:pt x="155" y="243"/>
                </a:lnTo>
                <a:lnTo>
                  <a:pt x="131" y="263"/>
                </a:lnTo>
                <a:lnTo>
                  <a:pt x="120" y="271"/>
                </a:lnTo>
                <a:lnTo>
                  <a:pt x="103" y="266"/>
                </a:lnTo>
                <a:lnTo>
                  <a:pt x="87" y="261"/>
                </a:lnTo>
                <a:lnTo>
                  <a:pt x="71" y="254"/>
                </a:lnTo>
                <a:lnTo>
                  <a:pt x="55" y="248"/>
                </a:lnTo>
                <a:lnTo>
                  <a:pt x="27" y="235"/>
                </a:lnTo>
                <a:lnTo>
                  <a:pt x="0" y="221"/>
                </a:lnTo>
                <a:lnTo>
                  <a:pt x="7" y="2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68" name="Freeform 220"/>
          <p:cNvSpPr>
            <a:spLocks/>
          </p:cNvSpPr>
          <p:nvPr>
            <p:custDataLst>
              <p:tags r:id="rId147"/>
            </p:custDataLst>
          </p:nvPr>
        </p:nvSpPr>
        <p:spPr bwMode="auto">
          <a:xfrm>
            <a:off x="3292475" y="3217863"/>
            <a:ext cx="71438" cy="57150"/>
          </a:xfrm>
          <a:custGeom>
            <a:avLst/>
            <a:gdLst>
              <a:gd name="T0" fmla="*/ 60 w 153"/>
              <a:gd name="T1" fmla="*/ 0 h 80"/>
              <a:gd name="T2" fmla="*/ 83 w 153"/>
              <a:gd name="T3" fmla="*/ 14 h 80"/>
              <a:gd name="T4" fmla="*/ 104 w 153"/>
              <a:gd name="T5" fmla="*/ 24 h 80"/>
              <a:gd name="T6" fmla="*/ 115 w 153"/>
              <a:gd name="T7" fmla="*/ 28 h 80"/>
              <a:gd name="T8" fmla="*/ 126 w 153"/>
              <a:gd name="T9" fmla="*/ 31 h 80"/>
              <a:gd name="T10" fmla="*/ 133 w 153"/>
              <a:gd name="T11" fmla="*/ 32 h 80"/>
              <a:gd name="T12" fmla="*/ 139 w 153"/>
              <a:gd name="T13" fmla="*/ 32 h 80"/>
              <a:gd name="T14" fmla="*/ 146 w 153"/>
              <a:gd name="T15" fmla="*/ 31 h 80"/>
              <a:gd name="T16" fmla="*/ 153 w 153"/>
              <a:gd name="T17" fmla="*/ 30 h 80"/>
              <a:gd name="T18" fmla="*/ 153 w 153"/>
              <a:gd name="T19" fmla="*/ 56 h 80"/>
              <a:gd name="T20" fmla="*/ 149 w 153"/>
              <a:gd name="T21" fmla="*/ 60 h 80"/>
              <a:gd name="T22" fmla="*/ 145 w 153"/>
              <a:gd name="T23" fmla="*/ 65 h 80"/>
              <a:gd name="T24" fmla="*/ 138 w 153"/>
              <a:gd name="T25" fmla="*/ 69 h 80"/>
              <a:gd name="T26" fmla="*/ 132 w 153"/>
              <a:gd name="T27" fmla="*/ 72 h 80"/>
              <a:gd name="T28" fmla="*/ 125 w 153"/>
              <a:gd name="T29" fmla="*/ 75 h 80"/>
              <a:gd name="T30" fmla="*/ 119 w 153"/>
              <a:gd name="T31" fmla="*/ 78 h 80"/>
              <a:gd name="T32" fmla="*/ 112 w 153"/>
              <a:gd name="T33" fmla="*/ 79 h 80"/>
              <a:gd name="T34" fmla="*/ 106 w 153"/>
              <a:gd name="T35" fmla="*/ 80 h 80"/>
              <a:gd name="T36" fmla="*/ 90 w 153"/>
              <a:gd name="T37" fmla="*/ 74 h 80"/>
              <a:gd name="T38" fmla="*/ 76 w 153"/>
              <a:gd name="T39" fmla="*/ 71 h 80"/>
              <a:gd name="T40" fmla="*/ 63 w 153"/>
              <a:gd name="T41" fmla="*/ 69 h 80"/>
              <a:gd name="T42" fmla="*/ 50 w 153"/>
              <a:gd name="T43" fmla="*/ 69 h 80"/>
              <a:gd name="T44" fmla="*/ 39 w 153"/>
              <a:gd name="T45" fmla="*/ 68 h 80"/>
              <a:gd name="T46" fmla="*/ 27 w 153"/>
              <a:gd name="T47" fmla="*/ 67 h 80"/>
              <a:gd name="T48" fmla="*/ 14 w 153"/>
              <a:gd name="T49" fmla="*/ 65 h 80"/>
              <a:gd name="T50" fmla="*/ 0 w 153"/>
              <a:gd name="T51" fmla="*/ 62 h 80"/>
              <a:gd name="T52" fmla="*/ 7 w 153"/>
              <a:gd name="T53" fmla="*/ 58 h 80"/>
              <a:gd name="T54" fmla="*/ 23 w 153"/>
              <a:gd name="T55" fmla="*/ 45 h 80"/>
              <a:gd name="T56" fmla="*/ 34 w 153"/>
              <a:gd name="T57" fmla="*/ 37 h 80"/>
              <a:gd name="T58" fmla="*/ 45 w 153"/>
              <a:gd name="T59" fmla="*/ 28 h 80"/>
              <a:gd name="T60" fmla="*/ 56 w 153"/>
              <a:gd name="T61" fmla="*/ 17 h 80"/>
              <a:gd name="T62" fmla="*/ 67 w 153"/>
              <a:gd name="T63" fmla="*/ 6 h 80"/>
              <a:gd name="T64" fmla="*/ 60 w 153"/>
              <a:gd name="T65" fmla="*/ 0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53" h="80">
                <a:moveTo>
                  <a:pt x="60" y="0"/>
                </a:moveTo>
                <a:lnTo>
                  <a:pt x="83" y="14"/>
                </a:lnTo>
                <a:lnTo>
                  <a:pt x="104" y="24"/>
                </a:lnTo>
                <a:lnTo>
                  <a:pt x="115" y="28"/>
                </a:lnTo>
                <a:lnTo>
                  <a:pt x="126" y="31"/>
                </a:lnTo>
                <a:lnTo>
                  <a:pt x="133" y="32"/>
                </a:lnTo>
                <a:lnTo>
                  <a:pt x="139" y="32"/>
                </a:lnTo>
                <a:lnTo>
                  <a:pt x="146" y="31"/>
                </a:lnTo>
                <a:lnTo>
                  <a:pt x="153" y="30"/>
                </a:lnTo>
                <a:lnTo>
                  <a:pt x="153" y="56"/>
                </a:lnTo>
                <a:lnTo>
                  <a:pt x="149" y="60"/>
                </a:lnTo>
                <a:lnTo>
                  <a:pt x="145" y="65"/>
                </a:lnTo>
                <a:lnTo>
                  <a:pt x="138" y="69"/>
                </a:lnTo>
                <a:lnTo>
                  <a:pt x="132" y="72"/>
                </a:lnTo>
                <a:lnTo>
                  <a:pt x="125" y="75"/>
                </a:lnTo>
                <a:lnTo>
                  <a:pt x="119" y="78"/>
                </a:lnTo>
                <a:lnTo>
                  <a:pt x="112" y="79"/>
                </a:lnTo>
                <a:lnTo>
                  <a:pt x="106" y="80"/>
                </a:lnTo>
                <a:lnTo>
                  <a:pt x="90" y="74"/>
                </a:lnTo>
                <a:lnTo>
                  <a:pt x="76" y="71"/>
                </a:lnTo>
                <a:lnTo>
                  <a:pt x="63" y="69"/>
                </a:lnTo>
                <a:lnTo>
                  <a:pt x="50" y="69"/>
                </a:lnTo>
                <a:lnTo>
                  <a:pt x="39" y="68"/>
                </a:lnTo>
                <a:lnTo>
                  <a:pt x="27" y="67"/>
                </a:lnTo>
                <a:lnTo>
                  <a:pt x="14" y="65"/>
                </a:lnTo>
                <a:lnTo>
                  <a:pt x="0" y="62"/>
                </a:lnTo>
                <a:lnTo>
                  <a:pt x="7" y="58"/>
                </a:lnTo>
                <a:lnTo>
                  <a:pt x="23" y="45"/>
                </a:lnTo>
                <a:lnTo>
                  <a:pt x="34" y="37"/>
                </a:lnTo>
                <a:lnTo>
                  <a:pt x="45" y="28"/>
                </a:lnTo>
                <a:lnTo>
                  <a:pt x="56" y="17"/>
                </a:lnTo>
                <a:lnTo>
                  <a:pt x="67" y="6"/>
                </a:lnTo>
                <a:lnTo>
                  <a:pt x="6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69" name="Freeform 221"/>
          <p:cNvSpPr>
            <a:spLocks/>
          </p:cNvSpPr>
          <p:nvPr>
            <p:custDataLst>
              <p:tags r:id="rId148"/>
            </p:custDataLst>
          </p:nvPr>
        </p:nvSpPr>
        <p:spPr bwMode="auto">
          <a:xfrm>
            <a:off x="3324226" y="3179763"/>
            <a:ext cx="142875" cy="87312"/>
          </a:xfrm>
          <a:custGeom>
            <a:avLst/>
            <a:gdLst>
              <a:gd name="T0" fmla="*/ 0 w 332"/>
              <a:gd name="T1" fmla="*/ 77 h 169"/>
              <a:gd name="T2" fmla="*/ 44 w 332"/>
              <a:gd name="T3" fmla="*/ 101 h 169"/>
              <a:gd name="T4" fmla="*/ 66 w 332"/>
              <a:gd name="T5" fmla="*/ 108 h 169"/>
              <a:gd name="T6" fmla="*/ 79 w 332"/>
              <a:gd name="T7" fmla="*/ 109 h 169"/>
              <a:gd name="T8" fmla="*/ 93 w 332"/>
              <a:gd name="T9" fmla="*/ 107 h 169"/>
              <a:gd name="T10" fmla="*/ 90 w 332"/>
              <a:gd name="T11" fmla="*/ 144 h 169"/>
              <a:gd name="T12" fmla="*/ 95 w 332"/>
              <a:gd name="T13" fmla="*/ 154 h 169"/>
              <a:gd name="T14" fmla="*/ 99 w 332"/>
              <a:gd name="T15" fmla="*/ 163 h 169"/>
              <a:gd name="T16" fmla="*/ 107 w 332"/>
              <a:gd name="T17" fmla="*/ 168 h 169"/>
              <a:gd name="T18" fmla="*/ 117 w 332"/>
              <a:gd name="T19" fmla="*/ 169 h 169"/>
              <a:gd name="T20" fmla="*/ 123 w 332"/>
              <a:gd name="T21" fmla="*/ 166 h 169"/>
              <a:gd name="T22" fmla="*/ 132 w 332"/>
              <a:gd name="T23" fmla="*/ 157 h 169"/>
              <a:gd name="T24" fmla="*/ 146 w 332"/>
              <a:gd name="T25" fmla="*/ 136 h 169"/>
              <a:gd name="T26" fmla="*/ 174 w 332"/>
              <a:gd name="T27" fmla="*/ 115 h 169"/>
              <a:gd name="T28" fmla="*/ 214 w 332"/>
              <a:gd name="T29" fmla="*/ 96 h 169"/>
              <a:gd name="T30" fmla="*/ 256 w 332"/>
              <a:gd name="T31" fmla="*/ 80 h 169"/>
              <a:gd name="T32" fmla="*/ 304 w 332"/>
              <a:gd name="T33" fmla="*/ 65 h 169"/>
              <a:gd name="T34" fmla="*/ 332 w 332"/>
              <a:gd name="T35" fmla="*/ 46 h 169"/>
              <a:gd name="T36" fmla="*/ 332 w 332"/>
              <a:gd name="T37" fmla="*/ 22 h 169"/>
              <a:gd name="T38" fmla="*/ 320 w 332"/>
              <a:gd name="T39" fmla="*/ 2 h 169"/>
              <a:gd name="T40" fmla="*/ 283 w 332"/>
              <a:gd name="T41" fmla="*/ 1 h 169"/>
              <a:gd name="T42" fmla="*/ 234 w 332"/>
              <a:gd name="T43" fmla="*/ 0 h 169"/>
              <a:gd name="T44" fmla="*/ 180 w 332"/>
              <a:gd name="T45" fmla="*/ 1 h 169"/>
              <a:gd name="T46" fmla="*/ 131 w 332"/>
              <a:gd name="T47" fmla="*/ 4 h 169"/>
              <a:gd name="T48" fmla="*/ 90 w 332"/>
              <a:gd name="T49" fmla="*/ 10 h 169"/>
              <a:gd name="T50" fmla="*/ 59 w 332"/>
              <a:gd name="T51" fmla="*/ 19 h 169"/>
              <a:gd name="T52" fmla="*/ 42 w 332"/>
              <a:gd name="T53" fmla="*/ 22 h 169"/>
              <a:gd name="T54" fmla="*/ 35 w 332"/>
              <a:gd name="T55" fmla="*/ 23 h 169"/>
              <a:gd name="T56" fmla="*/ 34 w 332"/>
              <a:gd name="T57" fmla="*/ 26 h 169"/>
              <a:gd name="T58" fmla="*/ 33 w 332"/>
              <a:gd name="T59" fmla="*/ 38 h 169"/>
              <a:gd name="T60" fmla="*/ 29 w 332"/>
              <a:gd name="T61" fmla="*/ 44 h 169"/>
              <a:gd name="T62" fmla="*/ 23 w 332"/>
              <a:gd name="T63" fmla="*/ 46 h 169"/>
              <a:gd name="T64" fmla="*/ 19 w 332"/>
              <a:gd name="T65" fmla="*/ 55 h 169"/>
              <a:gd name="T66" fmla="*/ 11 w 332"/>
              <a:gd name="T67" fmla="*/ 72 h 169"/>
              <a:gd name="T68" fmla="*/ 7 w 332"/>
              <a:gd name="T69" fmla="*/ 83 h 1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32" h="169">
                <a:moveTo>
                  <a:pt x="7" y="83"/>
                </a:moveTo>
                <a:lnTo>
                  <a:pt x="0" y="77"/>
                </a:lnTo>
                <a:lnTo>
                  <a:pt x="23" y="91"/>
                </a:lnTo>
                <a:lnTo>
                  <a:pt x="44" y="101"/>
                </a:lnTo>
                <a:lnTo>
                  <a:pt x="55" y="105"/>
                </a:lnTo>
                <a:lnTo>
                  <a:pt x="66" y="108"/>
                </a:lnTo>
                <a:lnTo>
                  <a:pt x="73" y="109"/>
                </a:lnTo>
                <a:lnTo>
                  <a:pt x="79" y="109"/>
                </a:lnTo>
                <a:lnTo>
                  <a:pt x="86" y="108"/>
                </a:lnTo>
                <a:lnTo>
                  <a:pt x="93" y="107"/>
                </a:lnTo>
                <a:lnTo>
                  <a:pt x="86" y="139"/>
                </a:lnTo>
                <a:lnTo>
                  <a:pt x="90" y="144"/>
                </a:lnTo>
                <a:lnTo>
                  <a:pt x="94" y="149"/>
                </a:lnTo>
                <a:lnTo>
                  <a:pt x="95" y="154"/>
                </a:lnTo>
                <a:lnTo>
                  <a:pt x="97" y="158"/>
                </a:lnTo>
                <a:lnTo>
                  <a:pt x="99" y="163"/>
                </a:lnTo>
                <a:lnTo>
                  <a:pt x="102" y="166"/>
                </a:lnTo>
                <a:lnTo>
                  <a:pt x="107" y="168"/>
                </a:lnTo>
                <a:lnTo>
                  <a:pt x="113" y="169"/>
                </a:lnTo>
                <a:lnTo>
                  <a:pt x="117" y="169"/>
                </a:lnTo>
                <a:lnTo>
                  <a:pt x="120" y="167"/>
                </a:lnTo>
                <a:lnTo>
                  <a:pt x="123" y="166"/>
                </a:lnTo>
                <a:lnTo>
                  <a:pt x="127" y="163"/>
                </a:lnTo>
                <a:lnTo>
                  <a:pt x="132" y="157"/>
                </a:lnTo>
                <a:lnTo>
                  <a:pt x="138" y="150"/>
                </a:lnTo>
                <a:lnTo>
                  <a:pt x="146" y="136"/>
                </a:lnTo>
                <a:lnTo>
                  <a:pt x="153" y="127"/>
                </a:lnTo>
                <a:lnTo>
                  <a:pt x="174" y="115"/>
                </a:lnTo>
                <a:lnTo>
                  <a:pt x="195" y="105"/>
                </a:lnTo>
                <a:lnTo>
                  <a:pt x="214" y="96"/>
                </a:lnTo>
                <a:lnTo>
                  <a:pt x="235" y="88"/>
                </a:lnTo>
                <a:lnTo>
                  <a:pt x="256" y="80"/>
                </a:lnTo>
                <a:lnTo>
                  <a:pt x="279" y="73"/>
                </a:lnTo>
                <a:lnTo>
                  <a:pt x="304" y="65"/>
                </a:lnTo>
                <a:lnTo>
                  <a:pt x="332" y="58"/>
                </a:lnTo>
                <a:lnTo>
                  <a:pt x="332" y="46"/>
                </a:lnTo>
                <a:lnTo>
                  <a:pt x="332" y="35"/>
                </a:lnTo>
                <a:lnTo>
                  <a:pt x="332" y="22"/>
                </a:lnTo>
                <a:lnTo>
                  <a:pt x="332" y="3"/>
                </a:lnTo>
                <a:lnTo>
                  <a:pt x="320" y="2"/>
                </a:lnTo>
                <a:lnTo>
                  <a:pt x="303" y="2"/>
                </a:lnTo>
                <a:lnTo>
                  <a:pt x="283" y="1"/>
                </a:lnTo>
                <a:lnTo>
                  <a:pt x="259" y="0"/>
                </a:lnTo>
                <a:lnTo>
                  <a:pt x="234" y="0"/>
                </a:lnTo>
                <a:lnTo>
                  <a:pt x="208" y="0"/>
                </a:lnTo>
                <a:lnTo>
                  <a:pt x="180" y="1"/>
                </a:lnTo>
                <a:lnTo>
                  <a:pt x="153" y="3"/>
                </a:lnTo>
                <a:lnTo>
                  <a:pt x="131" y="4"/>
                </a:lnTo>
                <a:lnTo>
                  <a:pt x="110" y="6"/>
                </a:lnTo>
                <a:lnTo>
                  <a:pt x="90" y="10"/>
                </a:lnTo>
                <a:lnTo>
                  <a:pt x="73" y="15"/>
                </a:lnTo>
                <a:lnTo>
                  <a:pt x="59" y="19"/>
                </a:lnTo>
                <a:lnTo>
                  <a:pt x="46" y="22"/>
                </a:lnTo>
                <a:lnTo>
                  <a:pt x="42" y="22"/>
                </a:lnTo>
                <a:lnTo>
                  <a:pt x="38" y="23"/>
                </a:lnTo>
                <a:lnTo>
                  <a:pt x="35" y="23"/>
                </a:lnTo>
                <a:lnTo>
                  <a:pt x="33" y="22"/>
                </a:lnTo>
                <a:lnTo>
                  <a:pt x="34" y="26"/>
                </a:lnTo>
                <a:lnTo>
                  <a:pt x="34" y="34"/>
                </a:lnTo>
                <a:lnTo>
                  <a:pt x="33" y="38"/>
                </a:lnTo>
                <a:lnTo>
                  <a:pt x="30" y="42"/>
                </a:lnTo>
                <a:lnTo>
                  <a:pt x="29" y="44"/>
                </a:lnTo>
                <a:lnTo>
                  <a:pt x="27" y="45"/>
                </a:lnTo>
                <a:lnTo>
                  <a:pt x="23" y="46"/>
                </a:lnTo>
                <a:lnTo>
                  <a:pt x="20" y="46"/>
                </a:lnTo>
                <a:lnTo>
                  <a:pt x="19" y="55"/>
                </a:lnTo>
                <a:lnTo>
                  <a:pt x="16" y="63"/>
                </a:lnTo>
                <a:lnTo>
                  <a:pt x="11" y="72"/>
                </a:lnTo>
                <a:lnTo>
                  <a:pt x="7" y="77"/>
                </a:lnTo>
                <a:lnTo>
                  <a:pt x="7" y="8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70" name="Freeform 222"/>
          <p:cNvSpPr>
            <a:spLocks/>
          </p:cNvSpPr>
          <p:nvPr>
            <p:custDataLst>
              <p:tags r:id="rId149"/>
            </p:custDataLst>
          </p:nvPr>
        </p:nvSpPr>
        <p:spPr bwMode="auto">
          <a:xfrm>
            <a:off x="3341688" y="3209925"/>
            <a:ext cx="125412" cy="122238"/>
          </a:xfrm>
          <a:custGeom>
            <a:avLst/>
            <a:gdLst>
              <a:gd name="T0" fmla="*/ 44 w 286"/>
              <a:gd name="T1" fmla="*/ 86 h 235"/>
              <a:gd name="T2" fmla="*/ 49 w 286"/>
              <a:gd name="T3" fmla="*/ 96 h 235"/>
              <a:gd name="T4" fmla="*/ 53 w 286"/>
              <a:gd name="T5" fmla="*/ 105 h 235"/>
              <a:gd name="T6" fmla="*/ 61 w 286"/>
              <a:gd name="T7" fmla="*/ 110 h 235"/>
              <a:gd name="T8" fmla="*/ 71 w 286"/>
              <a:gd name="T9" fmla="*/ 111 h 235"/>
              <a:gd name="T10" fmla="*/ 77 w 286"/>
              <a:gd name="T11" fmla="*/ 108 h 235"/>
              <a:gd name="T12" fmla="*/ 86 w 286"/>
              <a:gd name="T13" fmla="*/ 99 h 235"/>
              <a:gd name="T14" fmla="*/ 100 w 286"/>
              <a:gd name="T15" fmla="*/ 78 h 235"/>
              <a:gd name="T16" fmla="*/ 128 w 286"/>
              <a:gd name="T17" fmla="*/ 57 h 235"/>
              <a:gd name="T18" fmla="*/ 168 w 286"/>
              <a:gd name="T19" fmla="*/ 38 h 235"/>
              <a:gd name="T20" fmla="*/ 210 w 286"/>
              <a:gd name="T21" fmla="*/ 22 h 235"/>
              <a:gd name="T22" fmla="*/ 258 w 286"/>
              <a:gd name="T23" fmla="*/ 7 h 235"/>
              <a:gd name="T24" fmla="*/ 286 w 286"/>
              <a:gd name="T25" fmla="*/ 11 h 235"/>
              <a:gd name="T26" fmla="*/ 282 w 286"/>
              <a:gd name="T27" fmla="*/ 32 h 235"/>
              <a:gd name="T28" fmla="*/ 272 w 286"/>
              <a:gd name="T29" fmla="*/ 70 h 235"/>
              <a:gd name="T30" fmla="*/ 254 w 286"/>
              <a:gd name="T31" fmla="*/ 128 h 235"/>
              <a:gd name="T32" fmla="*/ 244 w 286"/>
              <a:gd name="T33" fmla="*/ 174 h 235"/>
              <a:gd name="T34" fmla="*/ 240 w 286"/>
              <a:gd name="T35" fmla="*/ 206 h 235"/>
              <a:gd name="T36" fmla="*/ 146 w 286"/>
              <a:gd name="T37" fmla="*/ 216 h 235"/>
              <a:gd name="T38" fmla="*/ 138 w 286"/>
              <a:gd name="T39" fmla="*/ 218 h 235"/>
              <a:gd name="T40" fmla="*/ 132 w 286"/>
              <a:gd name="T41" fmla="*/ 223 h 235"/>
              <a:gd name="T42" fmla="*/ 127 w 286"/>
              <a:gd name="T43" fmla="*/ 235 h 235"/>
              <a:gd name="T44" fmla="*/ 109 w 286"/>
              <a:gd name="T45" fmla="*/ 217 h 235"/>
              <a:gd name="T46" fmla="*/ 94 w 286"/>
              <a:gd name="T47" fmla="*/ 199 h 235"/>
              <a:gd name="T48" fmla="*/ 69 w 286"/>
              <a:gd name="T49" fmla="*/ 160 h 235"/>
              <a:gd name="T50" fmla="*/ 55 w 286"/>
              <a:gd name="T51" fmla="*/ 142 h 235"/>
              <a:gd name="T52" fmla="*/ 41 w 286"/>
              <a:gd name="T53" fmla="*/ 125 h 235"/>
              <a:gd name="T54" fmla="*/ 22 w 286"/>
              <a:gd name="T55" fmla="*/ 110 h 235"/>
              <a:gd name="T56" fmla="*/ 0 w 286"/>
              <a:gd name="T57" fmla="*/ 99 h 235"/>
              <a:gd name="T58" fmla="*/ 13 w 286"/>
              <a:gd name="T59" fmla="*/ 97 h 235"/>
              <a:gd name="T60" fmla="*/ 26 w 286"/>
              <a:gd name="T61" fmla="*/ 91 h 235"/>
              <a:gd name="T62" fmla="*/ 39 w 286"/>
              <a:gd name="T63" fmla="*/ 84 h 235"/>
              <a:gd name="T64" fmla="*/ 47 w 286"/>
              <a:gd name="T65" fmla="*/ 75 h 2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86" h="235">
                <a:moveTo>
                  <a:pt x="40" y="81"/>
                </a:moveTo>
                <a:lnTo>
                  <a:pt x="44" y="86"/>
                </a:lnTo>
                <a:lnTo>
                  <a:pt x="48" y="91"/>
                </a:lnTo>
                <a:lnTo>
                  <a:pt x="49" y="96"/>
                </a:lnTo>
                <a:lnTo>
                  <a:pt x="51" y="100"/>
                </a:lnTo>
                <a:lnTo>
                  <a:pt x="53" y="105"/>
                </a:lnTo>
                <a:lnTo>
                  <a:pt x="56" y="108"/>
                </a:lnTo>
                <a:lnTo>
                  <a:pt x="61" y="110"/>
                </a:lnTo>
                <a:lnTo>
                  <a:pt x="67" y="111"/>
                </a:lnTo>
                <a:lnTo>
                  <a:pt x="71" y="111"/>
                </a:lnTo>
                <a:lnTo>
                  <a:pt x="74" y="109"/>
                </a:lnTo>
                <a:lnTo>
                  <a:pt x="77" y="108"/>
                </a:lnTo>
                <a:lnTo>
                  <a:pt x="81" y="105"/>
                </a:lnTo>
                <a:lnTo>
                  <a:pt x="86" y="99"/>
                </a:lnTo>
                <a:lnTo>
                  <a:pt x="92" y="92"/>
                </a:lnTo>
                <a:lnTo>
                  <a:pt x="100" y="78"/>
                </a:lnTo>
                <a:lnTo>
                  <a:pt x="107" y="69"/>
                </a:lnTo>
                <a:lnTo>
                  <a:pt x="128" y="57"/>
                </a:lnTo>
                <a:lnTo>
                  <a:pt x="149" y="47"/>
                </a:lnTo>
                <a:lnTo>
                  <a:pt x="168" y="38"/>
                </a:lnTo>
                <a:lnTo>
                  <a:pt x="189" y="30"/>
                </a:lnTo>
                <a:lnTo>
                  <a:pt x="210" y="22"/>
                </a:lnTo>
                <a:lnTo>
                  <a:pt x="233" y="15"/>
                </a:lnTo>
                <a:lnTo>
                  <a:pt x="258" y="7"/>
                </a:lnTo>
                <a:lnTo>
                  <a:pt x="286" y="0"/>
                </a:lnTo>
                <a:lnTo>
                  <a:pt x="286" y="11"/>
                </a:lnTo>
                <a:lnTo>
                  <a:pt x="284" y="21"/>
                </a:lnTo>
                <a:lnTo>
                  <a:pt x="282" y="32"/>
                </a:lnTo>
                <a:lnTo>
                  <a:pt x="279" y="44"/>
                </a:lnTo>
                <a:lnTo>
                  <a:pt x="272" y="70"/>
                </a:lnTo>
                <a:lnTo>
                  <a:pt x="263" y="97"/>
                </a:lnTo>
                <a:lnTo>
                  <a:pt x="254" y="128"/>
                </a:lnTo>
                <a:lnTo>
                  <a:pt x="246" y="158"/>
                </a:lnTo>
                <a:lnTo>
                  <a:pt x="244" y="174"/>
                </a:lnTo>
                <a:lnTo>
                  <a:pt x="242" y="190"/>
                </a:lnTo>
                <a:lnTo>
                  <a:pt x="240" y="206"/>
                </a:lnTo>
                <a:lnTo>
                  <a:pt x="240" y="222"/>
                </a:lnTo>
                <a:lnTo>
                  <a:pt x="146" y="216"/>
                </a:lnTo>
                <a:lnTo>
                  <a:pt x="142" y="216"/>
                </a:lnTo>
                <a:lnTo>
                  <a:pt x="138" y="218"/>
                </a:lnTo>
                <a:lnTo>
                  <a:pt x="134" y="220"/>
                </a:lnTo>
                <a:lnTo>
                  <a:pt x="132" y="223"/>
                </a:lnTo>
                <a:lnTo>
                  <a:pt x="128" y="229"/>
                </a:lnTo>
                <a:lnTo>
                  <a:pt x="127" y="235"/>
                </a:lnTo>
                <a:lnTo>
                  <a:pt x="117" y="226"/>
                </a:lnTo>
                <a:lnTo>
                  <a:pt x="109" y="217"/>
                </a:lnTo>
                <a:lnTo>
                  <a:pt x="101" y="208"/>
                </a:lnTo>
                <a:lnTo>
                  <a:pt x="94" y="199"/>
                </a:lnTo>
                <a:lnTo>
                  <a:pt x="81" y="180"/>
                </a:lnTo>
                <a:lnTo>
                  <a:pt x="69" y="160"/>
                </a:lnTo>
                <a:lnTo>
                  <a:pt x="62" y="150"/>
                </a:lnTo>
                <a:lnTo>
                  <a:pt x="55" y="142"/>
                </a:lnTo>
                <a:lnTo>
                  <a:pt x="49" y="133"/>
                </a:lnTo>
                <a:lnTo>
                  <a:pt x="41" y="125"/>
                </a:lnTo>
                <a:lnTo>
                  <a:pt x="32" y="117"/>
                </a:lnTo>
                <a:lnTo>
                  <a:pt x="22" y="110"/>
                </a:lnTo>
                <a:lnTo>
                  <a:pt x="13" y="104"/>
                </a:lnTo>
                <a:lnTo>
                  <a:pt x="0" y="99"/>
                </a:lnTo>
                <a:lnTo>
                  <a:pt x="6" y="98"/>
                </a:lnTo>
                <a:lnTo>
                  <a:pt x="13" y="97"/>
                </a:lnTo>
                <a:lnTo>
                  <a:pt x="19" y="94"/>
                </a:lnTo>
                <a:lnTo>
                  <a:pt x="26" y="91"/>
                </a:lnTo>
                <a:lnTo>
                  <a:pt x="32" y="88"/>
                </a:lnTo>
                <a:lnTo>
                  <a:pt x="39" y="84"/>
                </a:lnTo>
                <a:lnTo>
                  <a:pt x="43" y="79"/>
                </a:lnTo>
                <a:lnTo>
                  <a:pt x="47" y="75"/>
                </a:lnTo>
                <a:lnTo>
                  <a:pt x="40" y="8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71" name="Freeform 223"/>
          <p:cNvSpPr>
            <a:spLocks/>
          </p:cNvSpPr>
          <p:nvPr>
            <p:custDataLst>
              <p:tags r:id="rId150"/>
            </p:custDataLst>
          </p:nvPr>
        </p:nvSpPr>
        <p:spPr bwMode="auto">
          <a:xfrm>
            <a:off x="3392489" y="3322638"/>
            <a:ext cx="84137" cy="100012"/>
          </a:xfrm>
          <a:custGeom>
            <a:avLst/>
            <a:gdLst>
              <a:gd name="T0" fmla="*/ 188 w 205"/>
              <a:gd name="T1" fmla="*/ 185 h 191"/>
              <a:gd name="T2" fmla="*/ 175 w 205"/>
              <a:gd name="T3" fmla="*/ 185 h 191"/>
              <a:gd name="T4" fmla="*/ 158 w 205"/>
              <a:gd name="T5" fmla="*/ 185 h 191"/>
              <a:gd name="T6" fmla="*/ 144 w 205"/>
              <a:gd name="T7" fmla="*/ 180 h 191"/>
              <a:gd name="T8" fmla="*/ 136 w 205"/>
              <a:gd name="T9" fmla="*/ 173 h 191"/>
              <a:gd name="T10" fmla="*/ 129 w 205"/>
              <a:gd name="T11" fmla="*/ 163 h 191"/>
              <a:gd name="T12" fmla="*/ 120 w 205"/>
              <a:gd name="T13" fmla="*/ 147 h 191"/>
              <a:gd name="T14" fmla="*/ 110 w 205"/>
              <a:gd name="T15" fmla="*/ 131 h 191"/>
              <a:gd name="T16" fmla="*/ 99 w 205"/>
              <a:gd name="T17" fmla="*/ 121 h 191"/>
              <a:gd name="T18" fmla="*/ 93 w 205"/>
              <a:gd name="T19" fmla="*/ 126 h 191"/>
              <a:gd name="T20" fmla="*/ 90 w 205"/>
              <a:gd name="T21" fmla="*/ 135 h 191"/>
              <a:gd name="T22" fmla="*/ 84 w 205"/>
              <a:gd name="T23" fmla="*/ 130 h 191"/>
              <a:gd name="T24" fmla="*/ 72 w 205"/>
              <a:gd name="T25" fmla="*/ 113 h 191"/>
              <a:gd name="T26" fmla="*/ 56 w 205"/>
              <a:gd name="T27" fmla="*/ 87 h 191"/>
              <a:gd name="T28" fmla="*/ 41 w 205"/>
              <a:gd name="T29" fmla="*/ 67 h 191"/>
              <a:gd name="T30" fmla="*/ 31 w 205"/>
              <a:gd name="T31" fmla="*/ 58 h 191"/>
              <a:gd name="T32" fmla="*/ 26 w 205"/>
              <a:gd name="T33" fmla="*/ 60 h 191"/>
              <a:gd name="T34" fmla="*/ 29 w 205"/>
              <a:gd name="T35" fmla="*/ 69 h 191"/>
              <a:gd name="T36" fmla="*/ 34 w 205"/>
              <a:gd name="T37" fmla="*/ 78 h 191"/>
              <a:gd name="T38" fmla="*/ 41 w 205"/>
              <a:gd name="T39" fmla="*/ 84 h 191"/>
              <a:gd name="T40" fmla="*/ 46 w 205"/>
              <a:gd name="T41" fmla="*/ 105 h 191"/>
              <a:gd name="T42" fmla="*/ 13 w 205"/>
              <a:gd name="T43" fmla="*/ 98 h 191"/>
              <a:gd name="T44" fmla="*/ 4 w 205"/>
              <a:gd name="T45" fmla="*/ 84 h 191"/>
              <a:gd name="T46" fmla="*/ 0 w 205"/>
              <a:gd name="T47" fmla="*/ 60 h 191"/>
              <a:gd name="T48" fmla="*/ 0 w 205"/>
              <a:gd name="T49" fmla="*/ 38 h 191"/>
              <a:gd name="T50" fmla="*/ 3 w 205"/>
              <a:gd name="T51" fmla="*/ 28 h 191"/>
              <a:gd name="T52" fmla="*/ 8 w 205"/>
              <a:gd name="T53" fmla="*/ 22 h 191"/>
              <a:gd name="T54" fmla="*/ 14 w 205"/>
              <a:gd name="T55" fmla="*/ 13 h 191"/>
              <a:gd name="T56" fmla="*/ 20 w 205"/>
              <a:gd name="T57" fmla="*/ 4 h 191"/>
              <a:gd name="T58" fmla="*/ 28 w 205"/>
              <a:gd name="T59" fmla="*/ 0 h 191"/>
              <a:gd name="T60" fmla="*/ 126 w 205"/>
              <a:gd name="T61" fmla="*/ 6 h 191"/>
              <a:gd name="T62" fmla="*/ 127 w 205"/>
              <a:gd name="T63" fmla="*/ 21 h 191"/>
              <a:gd name="T64" fmla="*/ 130 w 205"/>
              <a:gd name="T65" fmla="*/ 37 h 191"/>
              <a:gd name="T66" fmla="*/ 143 w 205"/>
              <a:gd name="T67" fmla="*/ 70 h 191"/>
              <a:gd name="T68" fmla="*/ 165 w 205"/>
              <a:gd name="T69" fmla="*/ 102 h 191"/>
              <a:gd name="T70" fmla="*/ 177 w 205"/>
              <a:gd name="T71" fmla="*/ 117 h 191"/>
              <a:gd name="T72" fmla="*/ 192 w 205"/>
              <a:gd name="T73" fmla="*/ 130 h 191"/>
              <a:gd name="T74" fmla="*/ 189 w 205"/>
              <a:gd name="T75" fmla="*/ 143 h 191"/>
              <a:gd name="T76" fmla="*/ 189 w 205"/>
              <a:gd name="T77" fmla="*/ 156 h 191"/>
              <a:gd name="T78" fmla="*/ 192 w 205"/>
              <a:gd name="T79" fmla="*/ 191 h 191"/>
              <a:gd name="T80" fmla="*/ 205 w 205"/>
              <a:gd name="T81" fmla="*/ 185 h 1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205" h="191">
                <a:moveTo>
                  <a:pt x="205" y="185"/>
                </a:moveTo>
                <a:lnTo>
                  <a:pt x="188" y="185"/>
                </a:lnTo>
                <a:lnTo>
                  <a:pt x="181" y="185"/>
                </a:lnTo>
                <a:lnTo>
                  <a:pt x="175" y="185"/>
                </a:lnTo>
                <a:lnTo>
                  <a:pt x="165" y="185"/>
                </a:lnTo>
                <a:lnTo>
                  <a:pt x="158" y="185"/>
                </a:lnTo>
                <a:lnTo>
                  <a:pt x="151" y="182"/>
                </a:lnTo>
                <a:lnTo>
                  <a:pt x="144" y="180"/>
                </a:lnTo>
                <a:lnTo>
                  <a:pt x="140" y="177"/>
                </a:lnTo>
                <a:lnTo>
                  <a:pt x="136" y="173"/>
                </a:lnTo>
                <a:lnTo>
                  <a:pt x="132" y="168"/>
                </a:lnTo>
                <a:lnTo>
                  <a:pt x="129" y="163"/>
                </a:lnTo>
                <a:lnTo>
                  <a:pt x="127" y="158"/>
                </a:lnTo>
                <a:lnTo>
                  <a:pt x="120" y="147"/>
                </a:lnTo>
                <a:lnTo>
                  <a:pt x="114" y="136"/>
                </a:lnTo>
                <a:lnTo>
                  <a:pt x="110" y="131"/>
                </a:lnTo>
                <a:lnTo>
                  <a:pt x="105" y="125"/>
                </a:lnTo>
                <a:lnTo>
                  <a:pt x="99" y="121"/>
                </a:lnTo>
                <a:lnTo>
                  <a:pt x="93" y="117"/>
                </a:lnTo>
                <a:lnTo>
                  <a:pt x="93" y="126"/>
                </a:lnTo>
                <a:lnTo>
                  <a:pt x="93" y="136"/>
                </a:lnTo>
                <a:lnTo>
                  <a:pt x="90" y="135"/>
                </a:lnTo>
                <a:lnTo>
                  <a:pt x="86" y="133"/>
                </a:lnTo>
                <a:lnTo>
                  <a:pt x="84" y="130"/>
                </a:lnTo>
                <a:lnTo>
                  <a:pt x="80" y="124"/>
                </a:lnTo>
                <a:lnTo>
                  <a:pt x="72" y="113"/>
                </a:lnTo>
                <a:lnTo>
                  <a:pt x="64" y="100"/>
                </a:lnTo>
                <a:lnTo>
                  <a:pt x="56" y="87"/>
                </a:lnTo>
                <a:lnTo>
                  <a:pt x="46" y="74"/>
                </a:lnTo>
                <a:lnTo>
                  <a:pt x="41" y="67"/>
                </a:lnTo>
                <a:lnTo>
                  <a:pt x="36" y="62"/>
                </a:lnTo>
                <a:lnTo>
                  <a:pt x="31" y="58"/>
                </a:lnTo>
                <a:lnTo>
                  <a:pt x="26" y="55"/>
                </a:lnTo>
                <a:lnTo>
                  <a:pt x="26" y="60"/>
                </a:lnTo>
                <a:lnTo>
                  <a:pt x="27" y="64"/>
                </a:lnTo>
                <a:lnTo>
                  <a:pt x="29" y="69"/>
                </a:lnTo>
                <a:lnTo>
                  <a:pt x="31" y="74"/>
                </a:lnTo>
                <a:lnTo>
                  <a:pt x="34" y="78"/>
                </a:lnTo>
                <a:lnTo>
                  <a:pt x="37" y="81"/>
                </a:lnTo>
                <a:lnTo>
                  <a:pt x="41" y="84"/>
                </a:lnTo>
                <a:lnTo>
                  <a:pt x="46" y="87"/>
                </a:lnTo>
                <a:lnTo>
                  <a:pt x="46" y="105"/>
                </a:lnTo>
                <a:lnTo>
                  <a:pt x="19" y="105"/>
                </a:lnTo>
                <a:lnTo>
                  <a:pt x="13" y="98"/>
                </a:lnTo>
                <a:lnTo>
                  <a:pt x="8" y="91"/>
                </a:lnTo>
                <a:lnTo>
                  <a:pt x="4" y="84"/>
                </a:lnTo>
                <a:lnTo>
                  <a:pt x="2" y="77"/>
                </a:lnTo>
                <a:lnTo>
                  <a:pt x="0" y="60"/>
                </a:lnTo>
                <a:lnTo>
                  <a:pt x="0" y="43"/>
                </a:lnTo>
                <a:lnTo>
                  <a:pt x="0" y="38"/>
                </a:lnTo>
                <a:lnTo>
                  <a:pt x="1" y="31"/>
                </a:lnTo>
                <a:lnTo>
                  <a:pt x="3" y="28"/>
                </a:lnTo>
                <a:lnTo>
                  <a:pt x="5" y="25"/>
                </a:lnTo>
                <a:lnTo>
                  <a:pt x="8" y="22"/>
                </a:lnTo>
                <a:lnTo>
                  <a:pt x="13" y="19"/>
                </a:lnTo>
                <a:lnTo>
                  <a:pt x="14" y="13"/>
                </a:lnTo>
                <a:lnTo>
                  <a:pt x="18" y="7"/>
                </a:lnTo>
                <a:lnTo>
                  <a:pt x="20" y="4"/>
                </a:lnTo>
                <a:lnTo>
                  <a:pt x="24" y="2"/>
                </a:lnTo>
                <a:lnTo>
                  <a:pt x="28" y="0"/>
                </a:lnTo>
                <a:lnTo>
                  <a:pt x="32" y="0"/>
                </a:lnTo>
                <a:lnTo>
                  <a:pt x="126" y="6"/>
                </a:lnTo>
                <a:lnTo>
                  <a:pt x="126" y="13"/>
                </a:lnTo>
                <a:lnTo>
                  <a:pt x="127" y="21"/>
                </a:lnTo>
                <a:lnTo>
                  <a:pt x="128" y="29"/>
                </a:lnTo>
                <a:lnTo>
                  <a:pt x="130" y="37"/>
                </a:lnTo>
                <a:lnTo>
                  <a:pt x="136" y="53"/>
                </a:lnTo>
                <a:lnTo>
                  <a:pt x="143" y="70"/>
                </a:lnTo>
                <a:lnTo>
                  <a:pt x="153" y="87"/>
                </a:lnTo>
                <a:lnTo>
                  <a:pt x="165" y="102"/>
                </a:lnTo>
                <a:lnTo>
                  <a:pt x="171" y="110"/>
                </a:lnTo>
                <a:lnTo>
                  <a:pt x="177" y="117"/>
                </a:lnTo>
                <a:lnTo>
                  <a:pt x="185" y="123"/>
                </a:lnTo>
                <a:lnTo>
                  <a:pt x="192" y="130"/>
                </a:lnTo>
                <a:lnTo>
                  <a:pt x="191" y="137"/>
                </a:lnTo>
                <a:lnTo>
                  <a:pt x="189" y="143"/>
                </a:lnTo>
                <a:lnTo>
                  <a:pt x="189" y="149"/>
                </a:lnTo>
                <a:lnTo>
                  <a:pt x="189" y="156"/>
                </a:lnTo>
                <a:lnTo>
                  <a:pt x="192" y="171"/>
                </a:lnTo>
                <a:lnTo>
                  <a:pt x="192" y="191"/>
                </a:lnTo>
                <a:lnTo>
                  <a:pt x="192" y="185"/>
                </a:lnTo>
                <a:lnTo>
                  <a:pt x="205" y="18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72" name="Freeform 224"/>
          <p:cNvSpPr>
            <a:spLocks/>
          </p:cNvSpPr>
          <p:nvPr>
            <p:custDataLst>
              <p:tags r:id="rId151"/>
            </p:custDataLst>
          </p:nvPr>
        </p:nvSpPr>
        <p:spPr bwMode="auto">
          <a:xfrm>
            <a:off x="3473451" y="3376614"/>
            <a:ext cx="142875" cy="79375"/>
          </a:xfrm>
          <a:custGeom>
            <a:avLst/>
            <a:gdLst>
              <a:gd name="T0" fmla="*/ 3 w 329"/>
              <a:gd name="T1" fmla="*/ 58 h 154"/>
              <a:gd name="T2" fmla="*/ 0 w 329"/>
              <a:gd name="T3" fmla="*/ 42 h 154"/>
              <a:gd name="T4" fmla="*/ 2 w 329"/>
              <a:gd name="T5" fmla="*/ 31 h 154"/>
              <a:gd name="T6" fmla="*/ 17 w 329"/>
              <a:gd name="T7" fmla="*/ 33 h 154"/>
              <a:gd name="T8" fmla="*/ 36 w 329"/>
              <a:gd name="T9" fmla="*/ 41 h 154"/>
              <a:gd name="T10" fmla="*/ 49 w 329"/>
              <a:gd name="T11" fmla="*/ 43 h 154"/>
              <a:gd name="T12" fmla="*/ 67 w 329"/>
              <a:gd name="T13" fmla="*/ 43 h 154"/>
              <a:gd name="T14" fmla="*/ 86 w 329"/>
              <a:gd name="T15" fmla="*/ 39 h 154"/>
              <a:gd name="T16" fmla="*/ 110 w 329"/>
              <a:gd name="T17" fmla="*/ 30 h 154"/>
              <a:gd name="T18" fmla="*/ 140 w 329"/>
              <a:gd name="T19" fmla="*/ 13 h 154"/>
              <a:gd name="T20" fmla="*/ 162 w 329"/>
              <a:gd name="T21" fmla="*/ 4 h 154"/>
              <a:gd name="T22" fmla="*/ 179 w 329"/>
              <a:gd name="T23" fmla="*/ 0 h 154"/>
              <a:gd name="T24" fmla="*/ 203 w 329"/>
              <a:gd name="T25" fmla="*/ 0 h 154"/>
              <a:gd name="T26" fmla="*/ 224 w 329"/>
              <a:gd name="T27" fmla="*/ 6 h 154"/>
              <a:gd name="T28" fmla="*/ 243 w 329"/>
              <a:gd name="T29" fmla="*/ 15 h 154"/>
              <a:gd name="T30" fmla="*/ 259 w 329"/>
              <a:gd name="T31" fmla="*/ 28 h 154"/>
              <a:gd name="T32" fmla="*/ 280 w 329"/>
              <a:gd name="T33" fmla="*/ 46 h 154"/>
              <a:gd name="T34" fmla="*/ 302 w 329"/>
              <a:gd name="T35" fmla="*/ 61 h 154"/>
              <a:gd name="T36" fmla="*/ 319 w 329"/>
              <a:gd name="T37" fmla="*/ 67 h 154"/>
              <a:gd name="T38" fmla="*/ 313 w 329"/>
              <a:gd name="T39" fmla="*/ 82 h 154"/>
              <a:gd name="T40" fmla="*/ 293 w 329"/>
              <a:gd name="T41" fmla="*/ 106 h 154"/>
              <a:gd name="T42" fmla="*/ 277 w 329"/>
              <a:gd name="T43" fmla="*/ 138 h 154"/>
              <a:gd name="T44" fmla="*/ 265 w 329"/>
              <a:gd name="T45" fmla="*/ 153 h 154"/>
              <a:gd name="T46" fmla="*/ 253 w 329"/>
              <a:gd name="T47" fmla="*/ 146 h 154"/>
              <a:gd name="T48" fmla="*/ 240 w 329"/>
              <a:gd name="T49" fmla="*/ 136 h 154"/>
              <a:gd name="T50" fmla="*/ 230 w 329"/>
              <a:gd name="T51" fmla="*/ 126 h 154"/>
              <a:gd name="T52" fmla="*/ 230 w 329"/>
              <a:gd name="T53" fmla="*/ 114 h 154"/>
              <a:gd name="T54" fmla="*/ 235 w 329"/>
              <a:gd name="T55" fmla="*/ 100 h 154"/>
              <a:gd name="T56" fmla="*/ 249 w 329"/>
              <a:gd name="T57" fmla="*/ 86 h 154"/>
              <a:gd name="T58" fmla="*/ 233 w 329"/>
              <a:gd name="T59" fmla="*/ 68 h 154"/>
              <a:gd name="T60" fmla="*/ 207 w 329"/>
              <a:gd name="T61" fmla="*/ 55 h 154"/>
              <a:gd name="T62" fmla="*/ 195 w 329"/>
              <a:gd name="T63" fmla="*/ 41 h 154"/>
              <a:gd name="T64" fmla="*/ 179 w 329"/>
              <a:gd name="T65" fmla="*/ 34 h 154"/>
              <a:gd name="T66" fmla="*/ 163 w 329"/>
              <a:gd name="T67" fmla="*/ 41 h 154"/>
              <a:gd name="T68" fmla="*/ 150 w 329"/>
              <a:gd name="T69" fmla="*/ 50 h 154"/>
              <a:gd name="T70" fmla="*/ 140 w 329"/>
              <a:gd name="T71" fmla="*/ 61 h 154"/>
              <a:gd name="T72" fmla="*/ 132 w 329"/>
              <a:gd name="T73" fmla="*/ 74 h 154"/>
              <a:gd name="T74" fmla="*/ 128 w 329"/>
              <a:gd name="T75" fmla="*/ 88 h 154"/>
              <a:gd name="T76" fmla="*/ 123 w 329"/>
              <a:gd name="T77" fmla="*/ 109 h 154"/>
              <a:gd name="T78" fmla="*/ 122 w 329"/>
              <a:gd name="T79" fmla="*/ 125 h 154"/>
              <a:gd name="T80" fmla="*/ 118 w 329"/>
              <a:gd name="T81" fmla="*/ 129 h 154"/>
              <a:gd name="T82" fmla="*/ 108 w 329"/>
              <a:gd name="T83" fmla="*/ 135 h 154"/>
              <a:gd name="T84" fmla="*/ 96 w 329"/>
              <a:gd name="T85" fmla="*/ 135 h 154"/>
              <a:gd name="T86" fmla="*/ 83 w 329"/>
              <a:gd name="T87" fmla="*/ 129 h 154"/>
              <a:gd name="T88" fmla="*/ 66 w 329"/>
              <a:gd name="T89" fmla="*/ 116 h 154"/>
              <a:gd name="T90" fmla="*/ 48 w 329"/>
              <a:gd name="T91" fmla="*/ 94 h 154"/>
              <a:gd name="T92" fmla="*/ 33 w 329"/>
              <a:gd name="T93" fmla="*/ 80 h 154"/>
              <a:gd name="T94" fmla="*/ 22 w 329"/>
              <a:gd name="T95" fmla="*/ 74 h 154"/>
              <a:gd name="T96" fmla="*/ 3 w 329"/>
              <a:gd name="T97" fmla="*/ 73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329" h="154">
                <a:moveTo>
                  <a:pt x="3" y="73"/>
                </a:moveTo>
                <a:lnTo>
                  <a:pt x="3" y="58"/>
                </a:lnTo>
                <a:lnTo>
                  <a:pt x="0" y="47"/>
                </a:lnTo>
                <a:lnTo>
                  <a:pt x="0" y="42"/>
                </a:lnTo>
                <a:lnTo>
                  <a:pt x="0" y="37"/>
                </a:lnTo>
                <a:lnTo>
                  <a:pt x="2" y="31"/>
                </a:lnTo>
                <a:lnTo>
                  <a:pt x="3" y="25"/>
                </a:lnTo>
                <a:lnTo>
                  <a:pt x="17" y="33"/>
                </a:lnTo>
                <a:lnTo>
                  <a:pt x="30" y="39"/>
                </a:lnTo>
                <a:lnTo>
                  <a:pt x="36" y="41"/>
                </a:lnTo>
                <a:lnTo>
                  <a:pt x="42" y="42"/>
                </a:lnTo>
                <a:lnTo>
                  <a:pt x="49" y="43"/>
                </a:lnTo>
                <a:lnTo>
                  <a:pt x="56" y="43"/>
                </a:lnTo>
                <a:lnTo>
                  <a:pt x="67" y="43"/>
                </a:lnTo>
                <a:lnTo>
                  <a:pt x="77" y="41"/>
                </a:lnTo>
                <a:lnTo>
                  <a:pt x="86" y="39"/>
                </a:lnTo>
                <a:lnTo>
                  <a:pt x="95" y="36"/>
                </a:lnTo>
                <a:lnTo>
                  <a:pt x="110" y="30"/>
                </a:lnTo>
                <a:lnTo>
                  <a:pt x="126" y="21"/>
                </a:lnTo>
                <a:lnTo>
                  <a:pt x="140" y="13"/>
                </a:lnTo>
                <a:lnTo>
                  <a:pt x="154" y="6"/>
                </a:lnTo>
                <a:lnTo>
                  <a:pt x="162" y="4"/>
                </a:lnTo>
                <a:lnTo>
                  <a:pt x="171" y="2"/>
                </a:lnTo>
                <a:lnTo>
                  <a:pt x="179" y="0"/>
                </a:lnTo>
                <a:lnTo>
                  <a:pt x="189" y="0"/>
                </a:lnTo>
                <a:lnTo>
                  <a:pt x="203" y="0"/>
                </a:lnTo>
                <a:lnTo>
                  <a:pt x="214" y="3"/>
                </a:lnTo>
                <a:lnTo>
                  <a:pt x="224" y="6"/>
                </a:lnTo>
                <a:lnTo>
                  <a:pt x="234" y="10"/>
                </a:lnTo>
                <a:lnTo>
                  <a:pt x="243" y="15"/>
                </a:lnTo>
                <a:lnTo>
                  <a:pt x="251" y="21"/>
                </a:lnTo>
                <a:lnTo>
                  <a:pt x="259" y="28"/>
                </a:lnTo>
                <a:lnTo>
                  <a:pt x="266" y="34"/>
                </a:lnTo>
                <a:lnTo>
                  <a:pt x="280" y="46"/>
                </a:lnTo>
                <a:lnTo>
                  <a:pt x="295" y="57"/>
                </a:lnTo>
                <a:lnTo>
                  <a:pt x="302" y="61"/>
                </a:lnTo>
                <a:lnTo>
                  <a:pt x="310" y="64"/>
                </a:lnTo>
                <a:lnTo>
                  <a:pt x="319" y="67"/>
                </a:lnTo>
                <a:lnTo>
                  <a:pt x="329" y="67"/>
                </a:lnTo>
                <a:lnTo>
                  <a:pt x="313" y="82"/>
                </a:lnTo>
                <a:lnTo>
                  <a:pt x="301" y="94"/>
                </a:lnTo>
                <a:lnTo>
                  <a:pt x="293" y="106"/>
                </a:lnTo>
                <a:lnTo>
                  <a:pt x="286" y="117"/>
                </a:lnTo>
                <a:lnTo>
                  <a:pt x="277" y="138"/>
                </a:lnTo>
                <a:lnTo>
                  <a:pt x="268" y="154"/>
                </a:lnTo>
                <a:lnTo>
                  <a:pt x="265" y="153"/>
                </a:lnTo>
                <a:lnTo>
                  <a:pt x="260" y="150"/>
                </a:lnTo>
                <a:lnTo>
                  <a:pt x="253" y="146"/>
                </a:lnTo>
                <a:lnTo>
                  <a:pt x="246" y="141"/>
                </a:lnTo>
                <a:lnTo>
                  <a:pt x="240" y="136"/>
                </a:lnTo>
                <a:lnTo>
                  <a:pt x="234" y="130"/>
                </a:lnTo>
                <a:lnTo>
                  <a:pt x="230" y="126"/>
                </a:lnTo>
                <a:lnTo>
                  <a:pt x="229" y="123"/>
                </a:lnTo>
                <a:lnTo>
                  <a:pt x="230" y="114"/>
                </a:lnTo>
                <a:lnTo>
                  <a:pt x="232" y="107"/>
                </a:lnTo>
                <a:lnTo>
                  <a:pt x="235" y="100"/>
                </a:lnTo>
                <a:lnTo>
                  <a:pt x="240" y="95"/>
                </a:lnTo>
                <a:lnTo>
                  <a:pt x="249" y="86"/>
                </a:lnTo>
                <a:lnTo>
                  <a:pt x="255" y="80"/>
                </a:lnTo>
                <a:lnTo>
                  <a:pt x="233" y="68"/>
                </a:lnTo>
                <a:lnTo>
                  <a:pt x="215" y="60"/>
                </a:lnTo>
                <a:lnTo>
                  <a:pt x="207" y="55"/>
                </a:lnTo>
                <a:lnTo>
                  <a:pt x="200" y="49"/>
                </a:lnTo>
                <a:lnTo>
                  <a:pt x="195" y="41"/>
                </a:lnTo>
                <a:lnTo>
                  <a:pt x="189" y="31"/>
                </a:lnTo>
                <a:lnTo>
                  <a:pt x="179" y="34"/>
                </a:lnTo>
                <a:lnTo>
                  <a:pt x="171" y="37"/>
                </a:lnTo>
                <a:lnTo>
                  <a:pt x="163" y="41"/>
                </a:lnTo>
                <a:lnTo>
                  <a:pt x="156" y="45"/>
                </a:lnTo>
                <a:lnTo>
                  <a:pt x="150" y="50"/>
                </a:lnTo>
                <a:lnTo>
                  <a:pt x="144" y="55"/>
                </a:lnTo>
                <a:lnTo>
                  <a:pt x="140" y="61"/>
                </a:lnTo>
                <a:lnTo>
                  <a:pt x="136" y="67"/>
                </a:lnTo>
                <a:lnTo>
                  <a:pt x="132" y="74"/>
                </a:lnTo>
                <a:lnTo>
                  <a:pt x="130" y="81"/>
                </a:lnTo>
                <a:lnTo>
                  <a:pt x="128" y="88"/>
                </a:lnTo>
                <a:lnTo>
                  <a:pt x="126" y="95"/>
                </a:lnTo>
                <a:lnTo>
                  <a:pt x="123" y="109"/>
                </a:lnTo>
                <a:lnTo>
                  <a:pt x="122" y="123"/>
                </a:lnTo>
                <a:lnTo>
                  <a:pt x="122" y="125"/>
                </a:lnTo>
                <a:lnTo>
                  <a:pt x="120" y="127"/>
                </a:lnTo>
                <a:lnTo>
                  <a:pt x="118" y="129"/>
                </a:lnTo>
                <a:lnTo>
                  <a:pt x="115" y="131"/>
                </a:lnTo>
                <a:lnTo>
                  <a:pt x="108" y="135"/>
                </a:lnTo>
                <a:lnTo>
                  <a:pt x="103" y="136"/>
                </a:lnTo>
                <a:lnTo>
                  <a:pt x="96" y="135"/>
                </a:lnTo>
                <a:lnTo>
                  <a:pt x="89" y="132"/>
                </a:lnTo>
                <a:lnTo>
                  <a:pt x="83" y="129"/>
                </a:lnTo>
                <a:lnTo>
                  <a:pt x="77" y="125"/>
                </a:lnTo>
                <a:lnTo>
                  <a:pt x="66" y="116"/>
                </a:lnTo>
                <a:lnTo>
                  <a:pt x="58" y="105"/>
                </a:lnTo>
                <a:lnTo>
                  <a:pt x="48" y="94"/>
                </a:lnTo>
                <a:lnTo>
                  <a:pt x="38" y="84"/>
                </a:lnTo>
                <a:lnTo>
                  <a:pt x="33" y="80"/>
                </a:lnTo>
                <a:lnTo>
                  <a:pt x="28" y="76"/>
                </a:lnTo>
                <a:lnTo>
                  <a:pt x="22" y="74"/>
                </a:lnTo>
                <a:lnTo>
                  <a:pt x="16" y="73"/>
                </a:lnTo>
                <a:lnTo>
                  <a:pt x="3" y="7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73" name="Freeform 225"/>
          <p:cNvSpPr>
            <a:spLocks/>
          </p:cNvSpPr>
          <p:nvPr>
            <p:custDataLst>
              <p:tags r:id="rId152"/>
            </p:custDataLst>
          </p:nvPr>
        </p:nvSpPr>
        <p:spPr bwMode="auto">
          <a:xfrm>
            <a:off x="4154488" y="4630739"/>
            <a:ext cx="133350" cy="155575"/>
          </a:xfrm>
          <a:custGeom>
            <a:avLst/>
            <a:gdLst>
              <a:gd name="T0" fmla="*/ 297 w 306"/>
              <a:gd name="T1" fmla="*/ 181 h 293"/>
              <a:gd name="T2" fmla="*/ 296 w 306"/>
              <a:gd name="T3" fmla="*/ 185 h 293"/>
              <a:gd name="T4" fmla="*/ 291 w 306"/>
              <a:gd name="T5" fmla="*/ 194 h 293"/>
              <a:gd name="T6" fmla="*/ 282 w 306"/>
              <a:gd name="T7" fmla="*/ 199 h 293"/>
              <a:gd name="T8" fmla="*/ 272 w 306"/>
              <a:gd name="T9" fmla="*/ 201 h 293"/>
              <a:gd name="T10" fmla="*/ 263 w 306"/>
              <a:gd name="T11" fmla="*/ 207 h 293"/>
              <a:gd name="T12" fmla="*/ 253 w 306"/>
              <a:gd name="T13" fmla="*/ 229 h 293"/>
              <a:gd name="T14" fmla="*/ 242 w 306"/>
              <a:gd name="T15" fmla="*/ 254 h 293"/>
              <a:gd name="T16" fmla="*/ 231 w 306"/>
              <a:gd name="T17" fmla="*/ 267 h 293"/>
              <a:gd name="T18" fmla="*/ 221 w 306"/>
              <a:gd name="T19" fmla="*/ 273 h 293"/>
              <a:gd name="T20" fmla="*/ 200 w 306"/>
              <a:gd name="T21" fmla="*/ 281 h 293"/>
              <a:gd name="T22" fmla="*/ 164 w 306"/>
              <a:gd name="T23" fmla="*/ 290 h 293"/>
              <a:gd name="T24" fmla="*/ 139 w 306"/>
              <a:gd name="T25" fmla="*/ 293 h 293"/>
              <a:gd name="T26" fmla="*/ 123 w 306"/>
              <a:gd name="T27" fmla="*/ 293 h 293"/>
              <a:gd name="T28" fmla="*/ 106 w 306"/>
              <a:gd name="T29" fmla="*/ 290 h 293"/>
              <a:gd name="T30" fmla="*/ 92 w 306"/>
              <a:gd name="T31" fmla="*/ 286 h 293"/>
              <a:gd name="T32" fmla="*/ 80 w 306"/>
              <a:gd name="T33" fmla="*/ 278 h 293"/>
              <a:gd name="T34" fmla="*/ 71 w 306"/>
              <a:gd name="T35" fmla="*/ 268 h 293"/>
              <a:gd name="T36" fmla="*/ 1 w 306"/>
              <a:gd name="T37" fmla="*/ 236 h 293"/>
              <a:gd name="T38" fmla="*/ 0 w 306"/>
              <a:gd name="T39" fmla="*/ 88 h 293"/>
              <a:gd name="T40" fmla="*/ 1 w 306"/>
              <a:gd name="T41" fmla="*/ 49 h 293"/>
              <a:gd name="T42" fmla="*/ 4 w 306"/>
              <a:gd name="T43" fmla="*/ 35 h 293"/>
              <a:gd name="T44" fmla="*/ 11 w 306"/>
              <a:gd name="T45" fmla="*/ 21 h 293"/>
              <a:gd name="T46" fmla="*/ 20 w 306"/>
              <a:gd name="T47" fmla="*/ 8 h 293"/>
              <a:gd name="T48" fmla="*/ 41 w 306"/>
              <a:gd name="T49" fmla="*/ 2 h 293"/>
              <a:gd name="T50" fmla="*/ 53 w 306"/>
              <a:gd name="T51" fmla="*/ 0 h 293"/>
              <a:gd name="T52" fmla="*/ 72 w 306"/>
              <a:gd name="T53" fmla="*/ 6 h 293"/>
              <a:gd name="T54" fmla="*/ 80 w 306"/>
              <a:gd name="T55" fmla="*/ 7 h 293"/>
              <a:gd name="T56" fmla="*/ 84 w 306"/>
              <a:gd name="T57" fmla="*/ 4 h 293"/>
              <a:gd name="T58" fmla="*/ 87 w 306"/>
              <a:gd name="T59" fmla="*/ 5 h 293"/>
              <a:gd name="T60" fmla="*/ 90 w 306"/>
              <a:gd name="T61" fmla="*/ 11 h 293"/>
              <a:gd name="T62" fmla="*/ 99 w 306"/>
              <a:gd name="T63" fmla="*/ 19 h 293"/>
              <a:gd name="T64" fmla="*/ 121 w 306"/>
              <a:gd name="T65" fmla="*/ 31 h 293"/>
              <a:gd name="T66" fmla="*/ 148 w 306"/>
              <a:gd name="T67" fmla="*/ 41 h 293"/>
              <a:gd name="T68" fmla="*/ 182 w 306"/>
              <a:gd name="T69" fmla="*/ 59 h 293"/>
              <a:gd name="T70" fmla="*/ 210 w 306"/>
              <a:gd name="T71" fmla="*/ 79 h 293"/>
              <a:gd name="T72" fmla="*/ 241 w 306"/>
              <a:gd name="T73" fmla="*/ 102 h 293"/>
              <a:gd name="T74" fmla="*/ 261 w 306"/>
              <a:gd name="T75" fmla="*/ 117 h 293"/>
              <a:gd name="T76" fmla="*/ 266 w 306"/>
              <a:gd name="T77" fmla="*/ 124 h 293"/>
              <a:gd name="T78" fmla="*/ 280 w 306"/>
              <a:gd name="T79" fmla="*/ 135 h 293"/>
              <a:gd name="T80" fmla="*/ 299 w 306"/>
              <a:gd name="T81" fmla="*/ 151 h 293"/>
              <a:gd name="T82" fmla="*/ 306 w 306"/>
              <a:gd name="T83" fmla="*/ 161 h 293"/>
              <a:gd name="T84" fmla="*/ 304 w 306"/>
              <a:gd name="T85" fmla="*/ 166 h 2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06" h="293">
                <a:moveTo>
                  <a:pt x="300" y="169"/>
                </a:moveTo>
                <a:lnTo>
                  <a:pt x="297" y="181"/>
                </a:lnTo>
                <a:lnTo>
                  <a:pt x="297" y="185"/>
                </a:lnTo>
                <a:lnTo>
                  <a:pt x="296" y="185"/>
                </a:lnTo>
                <a:lnTo>
                  <a:pt x="294" y="187"/>
                </a:lnTo>
                <a:lnTo>
                  <a:pt x="291" y="194"/>
                </a:lnTo>
                <a:lnTo>
                  <a:pt x="286" y="197"/>
                </a:lnTo>
                <a:lnTo>
                  <a:pt x="282" y="199"/>
                </a:lnTo>
                <a:lnTo>
                  <a:pt x="276" y="200"/>
                </a:lnTo>
                <a:lnTo>
                  <a:pt x="272" y="201"/>
                </a:lnTo>
                <a:lnTo>
                  <a:pt x="267" y="203"/>
                </a:lnTo>
                <a:lnTo>
                  <a:pt x="263" y="207"/>
                </a:lnTo>
                <a:lnTo>
                  <a:pt x="260" y="212"/>
                </a:lnTo>
                <a:lnTo>
                  <a:pt x="253" y="229"/>
                </a:lnTo>
                <a:lnTo>
                  <a:pt x="248" y="242"/>
                </a:lnTo>
                <a:lnTo>
                  <a:pt x="242" y="254"/>
                </a:lnTo>
                <a:lnTo>
                  <a:pt x="236" y="263"/>
                </a:lnTo>
                <a:lnTo>
                  <a:pt x="231" y="267"/>
                </a:lnTo>
                <a:lnTo>
                  <a:pt x="227" y="270"/>
                </a:lnTo>
                <a:lnTo>
                  <a:pt x="221" y="273"/>
                </a:lnTo>
                <a:lnTo>
                  <a:pt x="215" y="276"/>
                </a:lnTo>
                <a:lnTo>
                  <a:pt x="200" y="281"/>
                </a:lnTo>
                <a:lnTo>
                  <a:pt x="181" y="286"/>
                </a:lnTo>
                <a:lnTo>
                  <a:pt x="164" y="290"/>
                </a:lnTo>
                <a:lnTo>
                  <a:pt x="148" y="292"/>
                </a:lnTo>
                <a:lnTo>
                  <a:pt x="139" y="293"/>
                </a:lnTo>
                <a:lnTo>
                  <a:pt x="130" y="293"/>
                </a:lnTo>
                <a:lnTo>
                  <a:pt x="123" y="293"/>
                </a:lnTo>
                <a:lnTo>
                  <a:pt x="114" y="292"/>
                </a:lnTo>
                <a:lnTo>
                  <a:pt x="106" y="290"/>
                </a:lnTo>
                <a:lnTo>
                  <a:pt x="98" y="288"/>
                </a:lnTo>
                <a:lnTo>
                  <a:pt x="92" y="286"/>
                </a:lnTo>
                <a:lnTo>
                  <a:pt x="85" y="282"/>
                </a:lnTo>
                <a:lnTo>
                  <a:pt x="80" y="278"/>
                </a:lnTo>
                <a:lnTo>
                  <a:pt x="74" y="274"/>
                </a:lnTo>
                <a:lnTo>
                  <a:pt x="71" y="268"/>
                </a:lnTo>
                <a:lnTo>
                  <a:pt x="68" y="262"/>
                </a:lnTo>
                <a:lnTo>
                  <a:pt x="1" y="236"/>
                </a:lnTo>
                <a:lnTo>
                  <a:pt x="1" y="119"/>
                </a:lnTo>
                <a:lnTo>
                  <a:pt x="0" y="88"/>
                </a:lnTo>
                <a:lnTo>
                  <a:pt x="0" y="56"/>
                </a:lnTo>
                <a:lnTo>
                  <a:pt x="1" y="49"/>
                </a:lnTo>
                <a:lnTo>
                  <a:pt x="2" y="42"/>
                </a:lnTo>
                <a:lnTo>
                  <a:pt x="4" y="35"/>
                </a:lnTo>
                <a:lnTo>
                  <a:pt x="6" y="28"/>
                </a:lnTo>
                <a:lnTo>
                  <a:pt x="11" y="21"/>
                </a:lnTo>
                <a:lnTo>
                  <a:pt x="15" y="14"/>
                </a:lnTo>
                <a:lnTo>
                  <a:pt x="20" y="8"/>
                </a:lnTo>
                <a:lnTo>
                  <a:pt x="28" y="2"/>
                </a:lnTo>
                <a:lnTo>
                  <a:pt x="41" y="2"/>
                </a:lnTo>
                <a:lnTo>
                  <a:pt x="48" y="0"/>
                </a:lnTo>
                <a:lnTo>
                  <a:pt x="53" y="0"/>
                </a:lnTo>
                <a:lnTo>
                  <a:pt x="68" y="2"/>
                </a:lnTo>
                <a:lnTo>
                  <a:pt x="72" y="6"/>
                </a:lnTo>
                <a:lnTo>
                  <a:pt x="76" y="7"/>
                </a:lnTo>
                <a:lnTo>
                  <a:pt x="80" y="7"/>
                </a:lnTo>
                <a:lnTo>
                  <a:pt x="82" y="6"/>
                </a:lnTo>
                <a:lnTo>
                  <a:pt x="84" y="4"/>
                </a:lnTo>
                <a:lnTo>
                  <a:pt x="86" y="4"/>
                </a:lnTo>
                <a:lnTo>
                  <a:pt x="87" y="5"/>
                </a:lnTo>
                <a:lnTo>
                  <a:pt x="87" y="9"/>
                </a:lnTo>
                <a:lnTo>
                  <a:pt x="90" y="11"/>
                </a:lnTo>
                <a:lnTo>
                  <a:pt x="94" y="15"/>
                </a:lnTo>
                <a:lnTo>
                  <a:pt x="99" y="19"/>
                </a:lnTo>
                <a:lnTo>
                  <a:pt x="107" y="23"/>
                </a:lnTo>
                <a:lnTo>
                  <a:pt x="121" y="31"/>
                </a:lnTo>
                <a:lnTo>
                  <a:pt x="127" y="34"/>
                </a:lnTo>
                <a:lnTo>
                  <a:pt x="148" y="41"/>
                </a:lnTo>
                <a:lnTo>
                  <a:pt x="165" y="49"/>
                </a:lnTo>
                <a:lnTo>
                  <a:pt x="182" y="59"/>
                </a:lnTo>
                <a:lnTo>
                  <a:pt x="196" y="69"/>
                </a:lnTo>
                <a:lnTo>
                  <a:pt x="210" y="79"/>
                </a:lnTo>
                <a:lnTo>
                  <a:pt x="226" y="91"/>
                </a:lnTo>
                <a:lnTo>
                  <a:pt x="241" y="102"/>
                </a:lnTo>
                <a:lnTo>
                  <a:pt x="260" y="113"/>
                </a:lnTo>
                <a:lnTo>
                  <a:pt x="261" y="117"/>
                </a:lnTo>
                <a:lnTo>
                  <a:pt x="263" y="120"/>
                </a:lnTo>
                <a:lnTo>
                  <a:pt x="266" y="124"/>
                </a:lnTo>
                <a:lnTo>
                  <a:pt x="270" y="128"/>
                </a:lnTo>
                <a:lnTo>
                  <a:pt x="280" y="135"/>
                </a:lnTo>
                <a:lnTo>
                  <a:pt x="291" y="144"/>
                </a:lnTo>
                <a:lnTo>
                  <a:pt x="299" y="151"/>
                </a:lnTo>
                <a:lnTo>
                  <a:pt x="305" y="158"/>
                </a:lnTo>
                <a:lnTo>
                  <a:pt x="306" y="161"/>
                </a:lnTo>
                <a:lnTo>
                  <a:pt x="306" y="164"/>
                </a:lnTo>
                <a:lnTo>
                  <a:pt x="304" y="166"/>
                </a:lnTo>
                <a:lnTo>
                  <a:pt x="300" y="16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74" name="Freeform 226"/>
          <p:cNvSpPr>
            <a:spLocks/>
          </p:cNvSpPr>
          <p:nvPr>
            <p:custDataLst>
              <p:tags r:id="rId153"/>
            </p:custDataLst>
          </p:nvPr>
        </p:nvSpPr>
        <p:spPr bwMode="auto">
          <a:xfrm>
            <a:off x="5700714" y="1247776"/>
            <a:ext cx="236537" cy="92075"/>
          </a:xfrm>
          <a:custGeom>
            <a:avLst/>
            <a:gdLst>
              <a:gd name="T0" fmla="*/ 74 w 546"/>
              <a:gd name="T1" fmla="*/ 19 h 173"/>
              <a:gd name="T2" fmla="*/ 94 w 546"/>
              <a:gd name="T3" fmla="*/ 34 h 173"/>
              <a:gd name="T4" fmla="*/ 110 w 546"/>
              <a:gd name="T5" fmla="*/ 27 h 173"/>
              <a:gd name="T6" fmla="*/ 132 w 546"/>
              <a:gd name="T7" fmla="*/ 27 h 173"/>
              <a:gd name="T8" fmla="*/ 161 w 546"/>
              <a:gd name="T9" fmla="*/ 44 h 173"/>
              <a:gd name="T10" fmla="*/ 209 w 546"/>
              <a:gd name="T11" fmla="*/ 19 h 173"/>
              <a:gd name="T12" fmla="*/ 243 w 546"/>
              <a:gd name="T13" fmla="*/ 19 h 173"/>
              <a:gd name="T14" fmla="*/ 260 w 546"/>
              <a:gd name="T15" fmla="*/ 16 h 173"/>
              <a:gd name="T16" fmla="*/ 269 w 546"/>
              <a:gd name="T17" fmla="*/ 14 h 173"/>
              <a:gd name="T18" fmla="*/ 279 w 546"/>
              <a:gd name="T19" fmla="*/ 11 h 173"/>
              <a:gd name="T20" fmla="*/ 286 w 546"/>
              <a:gd name="T21" fmla="*/ 3 h 173"/>
              <a:gd name="T22" fmla="*/ 321 w 546"/>
              <a:gd name="T23" fmla="*/ 5 h 173"/>
              <a:gd name="T24" fmla="*/ 333 w 546"/>
              <a:gd name="T25" fmla="*/ 12 h 173"/>
              <a:gd name="T26" fmla="*/ 348 w 546"/>
              <a:gd name="T27" fmla="*/ 7 h 173"/>
              <a:gd name="T28" fmla="*/ 353 w 546"/>
              <a:gd name="T29" fmla="*/ 0 h 173"/>
              <a:gd name="T30" fmla="*/ 367 w 546"/>
              <a:gd name="T31" fmla="*/ 7 h 173"/>
              <a:gd name="T32" fmla="*/ 389 w 546"/>
              <a:gd name="T33" fmla="*/ 7 h 173"/>
              <a:gd name="T34" fmla="*/ 436 w 546"/>
              <a:gd name="T35" fmla="*/ 1 h 173"/>
              <a:gd name="T36" fmla="*/ 482 w 546"/>
              <a:gd name="T37" fmla="*/ 6 h 173"/>
              <a:gd name="T38" fmla="*/ 528 w 546"/>
              <a:gd name="T39" fmla="*/ 12 h 173"/>
              <a:gd name="T40" fmla="*/ 545 w 546"/>
              <a:gd name="T41" fmla="*/ 49 h 173"/>
              <a:gd name="T42" fmla="*/ 537 w 546"/>
              <a:gd name="T43" fmla="*/ 60 h 173"/>
              <a:gd name="T44" fmla="*/ 513 w 546"/>
              <a:gd name="T45" fmla="*/ 62 h 173"/>
              <a:gd name="T46" fmla="*/ 483 w 546"/>
              <a:gd name="T47" fmla="*/ 54 h 173"/>
              <a:gd name="T48" fmla="*/ 413 w 546"/>
              <a:gd name="T49" fmla="*/ 44 h 173"/>
              <a:gd name="T50" fmla="*/ 438 w 546"/>
              <a:gd name="T51" fmla="*/ 81 h 173"/>
              <a:gd name="T52" fmla="*/ 471 w 546"/>
              <a:gd name="T53" fmla="*/ 102 h 173"/>
              <a:gd name="T54" fmla="*/ 493 w 546"/>
              <a:gd name="T55" fmla="*/ 119 h 173"/>
              <a:gd name="T56" fmla="*/ 475 w 546"/>
              <a:gd name="T57" fmla="*/ 136 h 173"/>
              <a:gd name="T58" fmla="*/ 449 w 546"/>
              <a:gd name="T59" fmla="*/ 142 h 173"/>
              <a:gd name="T60" fmla="*/ 426 w 546"/>
              <a:gd name="T61" fmla="*/ 141 h 173"/>
              <a:gd name="T62" fmla="*/ 412 w 546"/>
              <a:gd name="T63" fmla="*/ 134 h 173"/>
              <a:gd name="T64" fmla="*/ 399 w 546"/>
              <a:gd name="T65" fmla="*/ 130 h 173"/>
              <a:gd name="T66" fmla="*/ 385 w 546"/>
              <a:gd name="T67" fmla="*/ 121 h 173"/>
              <a:gd name="T68" fmla="*/ 375 w 546"/>
              <a:gd name="T69" fmla="*/ 104 h 173"/>
              <a:gd name="T70" fmla="*/ 365 w 546"/>
              <a:gd name="T71" fmla="*/ 92 h 173"/>
              <a:gd name="T72" fmla="*/ 344 w 546"/>
              <a:gd name="T73" fmla="*/ 84 h 173"/>
              <a:gd name="T74" fmla="*/ 325 w 546"/>
              <a:gd name="T75" fmla="*/ 76 h 173"/>
              <a:gd name="T76" fmla="*/ 303 w 546"/>
              <a:gd name="T77" fmla="*/ 87 h 173"/>
              <a:gd name="T78" fmla="*/ 258 w 546"/>
              <a:gd name="T79" fmla="*/ 134 h 173"/>
              <a:gd name="T80" fmla="*/ 236 w 546"/>
              <a:gd name="T81" fmla="*/ 163 h 173"/>
              <a:gd name="T82" fmla="*/ 220 w 546"/>
              <a:gd name="T83" fmla="*/ 172 h 173"/>
              <a:gd name="T84" fmla="*/ 188 w 546"/>
              <a:gd name="T85" fmla="*/ 167 h 173"/>
              <a:gd name="T86" fmla="*/ 165 w 546"/>
              <a:gd name="T87" fmla="*/ 155 h 173"/>
              <a:gd name="T88" fmla="*/ 113 w 546"/>
              <a:gd name="T89" fmla="*/ 105 h 173"/>
              <a:gd name="T90" fmla="*/ 95 w 546"/>
              <a:gd name="T91" fmla="*/ 91 h 173"/>
              <a:gd name="T92" fmla="*/ 60 w 546"/>
              <a:gd name="T93" fmla="*/ 76 h 173"/>
              <a:gd name="T94" fmla="*/ 16 w 546"/>
              <a:gd name="T95" fmla="*/ 58 h 173"/>
              <a:gd name="T96" fmla="*/ 11 w 546"/>
              <a:gd name="T97" fmla="*/ 34 h 173"/>
              <a:gd name="T98" fmla="*/ 28 w 546"/>
              <a:gd name="T99" fmla="*/ 19 h 173"/>
              <a:gd name="T100" fmla="*/ 47 w 546"/>
              <a:gd name="T101" fmla="*/ 12 h 1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75" name="Freeform 227"/>
          <p:cNvSpPr>
            <a:spLocks/>
          </p:cNvSpPr>
          <p:nvPr>
            <p:custDataLst>
              <p:tags r:id="rId154"/>
            </p:custDataLst>
          </p:nvPr>
        </p:nvSpPr>
        <p:spPr bwMode="auto">
          <a:xfrm>
            <a:off x="5627688" y="1477963"/>
            <a:ext cx="449262" cy="361950"/>
          </a:xfrm>
          <a:custGeom>
            <a:avLst/>
            <a:gdLst>
              <a:gd name="T0" fmla="*/ 240 w 1037"/>
              <a:gd name="T1" fmla="*/ 622 h 690"/>
              <a:gd name="T2" fmla="*/ 155 w 1037"/>
              <a:gd name="T3" fmla="*/ 683 h 690"/>
              <a:gd name="T4" fmla="*/ 32 w 1037"/>
              <a:gd name="T5" fmla="*/ 654 h 690"/>
              <a:gd name="T6" fmla="*/ 67 w 1037"/>
              <a:gd name="T7" fmla="*/ 634 h 690"/>
              <a:gd name="T8" fmla="*/ 18 w 1037"/>
              <a:gd name="T9" fmla="*/ 596 h 690"/>
              <a:gd name="T10" fmla="*/ 44 w 1037"/>
              <a:gd name="T11" fmla="*/ 595 h 690"/>
              <a:gd name="T12" fmla="*/ 67 w 1037"/>
              <a:gd name="T13" fmla="*/ 567 h 690"/>
              <a:gd name="T14" fmla="*/ 8 w 1037"/>
              <a:gd name="T15" fmla="*/ 546 h 690"/>
              <a:gd name="T16" fmla="*/ 74 w 1037"/>
              <a:gd name="T17" fmla="*/ 523 h 690"/>
              <a:gd name="T18" fmla="*/ 0 w 1037"/>
              <a:gd name="T19" fmla="*/ 499 h 690"/>
              <a:gd name="T20" fmla="*/ 20 w 1037"/>
              <a:gd name="T21" fmla="*/ 456 h 690"/>
              <a:gd name="T22" fmla="*/ 37 w 1037"/>
              <a:gd name="T23" fmla="*/ 461 h 690"/>
              <a:gd name="T24" fmla="*/ 77 w 1037"/>
              <a:gd name="T25" fmla="*/ 449 h 690"/>
              <a:gd name="T26" fmla="*/ 92 w 1037"/>
              <a:gd name="T27" fmla="*/ 424 h 690"/>
              <a:gd name="T28" fmla="*/ 130 w 1037"/>
              <a:gd name="T29" fmla="*/ 409 h 690"/>
              <a:gd name="T30" fmla="*/ 220 w 1037"/>
              <a:gd name="T31" fmla="*/ 382 h 690"/>
              <a:gd name="T32" fmla="*/ 227 w 1037"/>
              <a:gd name="T33" fmla="*/ 339 h 690"/>
              <a:gd name="T34" fmla="*/ 283 w 1037"/>
              <a:gd name="T35" fmla="*/ 325 h 690"/>
              <a:gd name="T36" fmla="*/ 282 w 1037"/>
              <a:gd name="T37" fmla="*/ 310 h 690"/>
              <a:gd name="T38" fmla="*/ 298 w 1037"/>
              <a:gd name="T39" fmla="*/ 285 h 690"/>
              <a:gd name="T40" fmla="*/ 335 w 1037"/>
              <a:gd name="T41" fmla="*/ 243 h 690"/>
              <a:gd name="T42" fmla="*/ 343 w 1037"/>
              <a:gd name="T43" fmla="*/ 226 h 690"/>
              <a:gd name="T44" fmla="*/ 390 w 1037"/>
              <a:gd name="T45" fmla="*/ 200 h 690"/>
              <a:gd name="T46" fmla="*/ 387 w 1037"/>
              <a:gd name="T47" fmla="*/ 157 h 690"/>
              <a:gd name="T48" fmla="*/ 373 w 1037"/>
              <a:gd name="T49" fmla="*/ 142 h 690"/>
              <a:gd name="T50" fmla="*/ 334 w 1037"/>
              <a:gd name="T51" fmla="*/ 154 h 690"/>
              <a:gd name="T52" fmla="*/ 390 w 1037"/>
              <a:gd name="T53" fmla="*/ 103 h 690"/>
              <a:gd name="T54" fmla="*/ 411 w 1037"/>
              <a:gd name="T55" fmla="*/ 96 h 690"/>
              <a:gd name="T56" fmla="*/ 463 w 1037"/>
              <a:gd name="T57" fmla="*/ 114 h 690"/>
              <a:gd name="T58" fmla="*/ 466 w 1037"/>
              <a:gd name="T59" fmla="*/ 91 h 690"/>
              <a:gd name="T60" fmla="*/ 558 w 1037"/>
              <a:gd name="T61" fmla="*/ 61 h 690"/>
              <a:gd name="T62" fmla="*/ 591 w 1037"/>
              <a:gd name="T63" fmla="*/ 63 h 690"/>
              <a:gd name="T64" fmla="*/ 645 w 1037"/>
              <a:gd name="T65" fmla="*/ 55 h 690"/>
              <a:gd name="T66" fmla="*/ 645 w 1037"/>
              <a:gd name="T67" fmla="*/ 33 h 690"/>
              <a:gd name="T68" fmla="*/ 699 w 1037"/>
              <a:gd name="T69" fmla="*/ 13 h 690"/>
              <a:gd name="T70" fmla="*/ 705 w 1037"/>
              <a:gd name="T71" fmla="*/ 29 h 690"/>
              <a:gd name="T72" fmla="*/ 712 w 1037"/>
              <a:gd name="T73" fmla="*/ 40 h 690"/>
              <a:gd name="T74" fmla="*/ 758 w 1037"/>
              <a:gd name="T75" fmla="*/ 12 h 690"/>
              <a:gd name="T76" fmla="*/ 817 w 1037"/>
              <a:gd name="T77" fmla="*/ 6 h 690"/>
              <a:gd name="T78" fmla="*/ 844 w 1037"/>
              <a:gd name="T79" fmla="*/ 8 h 690"/>
              <a:gd name="T80" fmla="*/ 862 w 1037"/>
              <a:gd name="T81" fmla="*/ 11 h 690"/>
              <a:gd name="T82" fmla="*/ 924 w 1037"/>
              <a:gd name="T83" fmla="*/ 6 h 690"/>
              <a:gd name="T84" fmla="*/ 1037 w 1037"/>
              <a:gd name="T85" fmla="*/ 43 h 690"/>
              <a:gd name="T86" fmla="*/ 1005 w 1037"/>
              <a:gd name="T87" fmla="*/ 79 h 690"/>
              <a:gd name="T88" fmla="*/ 930 w 1037"/>
              <a:gd name="T89" fmla="*/ 55 h 690"/>
              <a:gd name="T90" fmla="*/ 873 w 1037"/>
              <a:gd name="T91" fmla="*/ 74 h 690"/>
              <a:gd name="T92" fmla="*/ 848 w 1037"/>
              <a:gd name="T93" fmla="*/ 116 h 690"/>
              <a:gd name="T94" fmla="*/ 811 w 1037"/>
              <a:gd name="T95" fmla="*/ 111 h 690"/>
              <a:gd name="T96" fmla="*/ 745 w 1037"/>
              <a:gd name="T97" fmla="*/ 128 h 690"/>
              <a:gd name="T98" fmla="*/ 694 w 1037"/>
              <a:gd name="T99" fmla="*/ 92 h 690"/>
              <a:gd name="T100" fmla="*/ 620 w 1037"/>
              <a:gd name="T101" fmla="*/ 112 h 690"/>
              <a:gd name="T102" fmla="*/ 534 w 1037"/>
              <a:gd name="T103" fmla="*/ 134 h 690"/>
              <a:gd name="T104" fmla="*/ 486 w 1037"/>
              <a:gd name="T105" fmla="*/ 210 h 690"/>
              <a:gd name="T106" fmla="*/ 430 w 1037"/>
              <a:gd name="T107" fmla="*/ 279 h 690"/>
              <a:gd name="T108" fmla="*/ 399 w 1037"/>
              <a:gd name="T109" fmla="*/ 364 h 690"/>
              <a:gd name="T110" fmla="*/ 333 w 1037"/>
              <a:gd name="T111" fmla="*/ 425 h 690"/>
              <a:gd name="T112" fmla="*/ 355 w 1037"/>
              <a:gd name="T113" fmla="*/ 497 h 690"/>
              <a:gd name="T114" fmla="*/ 354 w 1037"/>
              <a:gd name="T115" fmla="*/ 558 h 690"/>
              <a:gd name="T116" fmla="*/ 331 w 1037"/>
              <a:gd name="T117" fmla="*/ 615 h 690"/>
              <a:gd name="T118" fmla="*/ 295 w 1037"/>
              <a:gd name="T119" fmla="*/ 645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37" h="690">
                <a:moveTo>
                  <a:pt x="286" y="647"/>
                </a:moveTo>
                <a:lnTo>
                  <a:pt x="273" y="631"/>
                </a:lnTo>
                <a:lnTo>
                  <a:pt x="262" y="621"/>
                </a:lnTo>
                <a:lnTo>
                  <a:pt x="253" y="612"/>
                </a:lnTo>
                <a:lnTo>
                  <a:pt x="246" y="604"/>
                </a:lnTo>
                <a:lnTo>
                  <a:pt x="243" y="613"/>
                </a:lnTo>
                <a:lnTo>
                  <a:pt x="240" y="622"/>
                </a:lnTo>
                <a:lnTo>
                  <a:pt x="239" y="627"/>
                </a:lnTo>
                <a:lnTo>
                  <a:pt x="235" y="632"/>
                </a:lnTo>
                <a:lnTo>
                  <a:pt x="231" y="638"/>
                </a:lnTo>
                <a:lnTo>
                  <a:pt x="224" y="644"/>
                </a:lnTo>
                <a:lnTo>
                  <a:pt x="208" y="655"/>
                </a:lnTo>
                <a:lnTo>
                  <a:pt x="190" y="665"/>
                </a:lnTo>
                <a:lnTo>
                  <a:pt x="155" y="683"/>
                </a:lnTo>
                <a:lnTo>
                  <a:pt x="140" y="690"/>
                </a:lnTo>
                <a:lnTo>
                  <a:pt x="107" y="690"/>
                </a:lnTo>
                <a:lnTo>
                  <a:pt x="86" y="683"/>
                </a:lnTo>
                <a:lnTo>
                  <a:pt x="60" y="672"/>
                </a:lnTo>
                <a:lnTo>
                  <a:pt x="48" y="666"/>
                </a:lnTo>
                <a:lnTo>
                  <a:pt x="37" y="658"/>
                </a:lnTo>
                <a:lnTo>
                  <a:pt x="32" y="654"/>
                </a:lnTo>
                <a:lnTo>
                  <a:pt x="30" y="650"/>
                </a:lnTo>
                <a:lnTo>
                  <a:pt x="28" y="646"/>
                </a:lnTo>
                <a:lnTo>
                  <a:pt x="27" y="641"/>
                </a:lnTo>
                <a:lnTo>
                  <a:pt x="40" y="641"/>
                </a:lnTo>
                <a:lnTo>
                  <a:pt x="50" y="640"/>
                </a:lnTo>
                <a:lnTo>
                  <a:pt x="58" y="639"/>
                </a:lnTo>
                <a:lnTo>
                  <a:pt x="67" y="634"/>
                </a:lnTo>
                <a:lnTo>
                  <a:pt x="59" y="627"/>
                </a:lnTo>
                <a:lnTo>
                  <a:pt x="49" y="620"/>
                </a:lnTo>
                <a:lnTo>
                  <a:pt x="38" y="613"/>
                </a:lnTo>
                <a:lnTo>
                  <a:pt x="27" y="606"/>
                </a:lnTo>
                <a:lnTo>
                  <a:pt x="8" y="596"/>
                </a:lnTo>
                <a:lnTo>
                  <a:pt x="0" y="592"/>
                </a:lnTo>
                <a:lnTo>
                  <a:pt x="18" y="596"/>
                </a:lnTo>
                <a:lnTo>
                  <a:pt x="32" y="599"/>
                </a:lnTo>
                <a:lnTo>
                  <a:pt x="38" y="600"/>
                </a:lnTo>
                <a:lnTo>
                  <a:pt x="43" y="600"/>
                </a:lnTo>
                <a:lnTo>
                  <a:pt x="49" y="600"/>
                </a:lnTo>
                <a:lnTo>
                  <a:pt x="54" y="598"/>
                </a:lnTo>
                <a:lnTo>
                  <a:pt x="49" y="597"/>
                </a:lnTo>
                <a:lnTo>
                  <a:pt x="44" y="595"/>
                </a:lnTo>
                <a:lnTo>
                  <a:pt x="40" y="591"/>
                </a:lnTo>
                <a:lnTo>
                  <a:pt x="36" y="587"/>
                </a:lnTo>
                <a:lnTo>
                  <a:pt x="32" y="583"/>
                </a:lnTo>
                <a:lnTo>
                  <a:pt x="29" y="576"/>
                </a:lnTo>
                <a:lnTo>
                  <a:pt x="28" y="571"/>
                </a:lnTo>
                <a:lnTo>
                  <a:pt x="27" y="567"/>
                </a:lnTo>
                <a:lnTo>
                  <a:pt x="67" y="567"/>
                </a:lnTo>
                <a:lnTo>
                  <a:pt x="56" y="566"/>
                </a:lnTo>
                <a:lnTo>
                  <a:pt x="45" y="564"/>
                </a:lnTo>
                <a:lnTo>
                  <a:pt x="35" y="562"/>
                </a:lnTo>
                <a:lnTo>
                  <a:pt x="25" y="558"/>
                </a:lnTo>
                <a:lnTo>
                  <a:pt x="16" y="554"/>
                </a:lnTo>
                <a:lnTo>
                  <a:pt x="10" y="549"/>
                </a:lnTo>
                <a:lnTo>
                  <a:pt x="8" y="546"/>
                </a:lnTo>
                <a:lnTo>
                  <a:pt x="7" y="543"/>
                </a:lnTo>
                <a:lnTo>
                  <a:pt x="7" y="540"/>
                </a:lnTo>
                <a:lnTo>
                  <a:pt x="7" y="536"/>
                </a:lnTo>
                <a:lnTo>
                  <a:pt x="0" y="523"/>
                </a:lnTo>
                <a:lnTo>
                  <a:pt x="29" y="523"/>
                </a:lnTo>
                <a:lnTo>
                  <a:pt x="54" y="523"/>
                </a:lnTo>
                <a:lnTo>
                  <a:pt x="74" y="523"/>
                </a:lnTo>
                <a:lnTo>
                  <a:pt x="87" y="523"/>
                </a:lnTo>
                <a:lnTo>
                  <a:pt x="72" y="519"/>
                </a:lnTo>
                <a:lnTo>
                  <a:pt x="39" y="511"/>
                </a:lnTo>
                <a:lnTo>
                  <a:pt x="22" y="507"/>
                </a:lnTo>
                <a:lnTo>
                  <a:pt x="8" y="503"/>
                </a:lnTo>
                <a:lnTo>
                  <a:pt x="0" y="500"/>
                </a:lnTo>
                <a:lnTo>
                  <a:pt x="0" y="499"/>
                </a:lnTo>
                <a:lnTo>
                  <a:pt x="2" y="485"/>
                </a:lnTo>
                <a:lnTo>
                  <a:pt x="3" y="476"/>
                </a:lnTo>
                <a:lnTo>
                  <a:pt x="4" y="472"/>
                </a:lnTo>
                <a:lnTo>
                  <a:pt x="4" y="467"/>
                </a:lnTo>
                <a:lnTo>
                  <a:pt x="3" y="462"/>
                </a:lnTo>
                <a:lnTo>
                  <a:pt x="0" y="456"/>
                </a:lnTo>
                <a:lnTo>
                  <a:pt x="20" y="456"/>
                </a:lnTo>
                <a:lnTo>
                  <a:pt x="21" y="460"/>
                </a:lnTo>
                <a:lnTo>
                  <a:pt x="24" y="463"/>
                </a:lnTo>
                <a:lnTo>
                  <a:pt x="25" y="464"/>
                </a:lnTo>
                <a:lnTo>
                  <a:pt x="26" y="464"/>
                </a:lnTo>
                <a:lnTo>
                  <a:pt x="27" y="463"/>
                </a:lnTo>
                <a:lnTo>
                  <a:pt x="27" y="462"/>
                </a:lnTo>
                <a:lnTo>
                  <a:pt x="37" y="461"/>
                </a:lnTo>
                <a:lnTo>
                  <a:pt x="51" y="459"/>
                </a:lnTo>
                <a:lnTo>
                  <a:pt x="67" y="457"/>
                </a:lnTo>
                <a:lnTo>
                  <a:pt x="81" y="456"/>
                </a:lnTo>
                <a:lnTo>
                  <a:pt x="78" y="455"/>
                </a:lnTo>
                <a:lnTo>
                  <a:pt x="77" y="454"/>
                </a:lnTo>
                <a:lnTo>
                  <a:pt x="77" y="452"/>
                </a:lnTo>
                <a:lnTo>
                  <a:pt x="77" y="449"/>
                </a:lnTo>
                <a:lnTo>
                  <a:pt x="80" y="443"/>
                </a:lnTo>
                <a:lnTo>
                  <a:pt x="81" y="437"/>
                </a:lnTo>
                <a:lnTo>
                  <a:pt x="91" y="437"/>
                </a:lnTo>
                <a:lnTo>
                  <a:pt x="100" y="437"/>
                </a:lnTo>
                <a:lnTo>
                  <a:pt x="99" y="433"/>
                </a:lnTo>
                <a:lnTo>
                  <a:pt x="96" y="428"/>
                </a:lnTo>
                <a:lnTo>
                  <a:pt x="92" y="424"/>
                </a:lnTo>
                <a:lnTo>
                  <a:pt x="87" y="419"/>
                </a:lnTo>
                <a:lnTo>
                  <a:pt x="97" y="416"/>
                </a:lnTo>
                <a:lnTo>
                  <a:pt x="107" y="413"/>
                </a:lnTo>
                <a:lnTo>
                  <a:pt x="117" y="412"/>
                </a:lnTo>
                <a:lnTo>
                  <a:pt x="127" y="412"/>
                </a:lnTo>
                <a:lnTo>
                  <a:pt x="129" y="412"/>
                </a:lnTo>
                <a:lnTo>
                  <a:pt x="130" y="409"/>
                </a:lnTo>
                <a:lnTo>
                  <a:pt x="130" y="406"/>
                </a:lnTo>
                <a:lnTo>
                  <a:pt x="129" y="402"/>
                </a:lnTo>
                <a:lnTo>
                  <a:pt x="128" y="394"/>
                </a:lnTo>
                <a:lnTo>
                  <a:pt x="127" y="388"/>
                </a:lnTo>
                <a:lnTo>
                  <a:pt x="147" y="388"/>
                </a:lnTo>
                <a:lnTo>
                  <a:pt x="133" y="382"/>
                </a:lnTo>
                <a:lnTo>
                  <a:pt x="220" y="382"/>
                </a:lnTo>
                <a:lnTo>
                  <a:pt x="207" y="376"/>
                </a:lnTo>
                <a:lnTo>
                  <a:pt x="213" y="373"/>
                </a:lnTo>
                <a:lnTo>
                  <a:pt x="218" y="370"/>
                </a:lnTo>
                <a:lnTo>
                  <a:pt x="221" y="367"/>
                </a:lnTo>
                <a:lnTo>
                  <a:pt x="224" y="362"/>
                </a:lnTo>
                <a:lnTo>
                  <a:pt x="227" y="351"/>
                </a:lnTo>
                <a:lnTo>
                  <a:pt x="227" y="339"/>
                </a:lnTo>
                <a:lnTo>
                  <a:pt x="243" y="339"/>
                </a:lnTo>
                <a:lnTo>
                  <a:pt x="255" y="339"/>
                </a:lnTo>
                <a:lnTo>
                  <a:pt x="266" y="339"/>
                </a:lnTo>
                <a:lnTo>
                  <a:pt x="279" y="339"/>
                </a:lnTo>
                <a:lnTo>
                  <a:pt x="279" y="333"/>
                </a:lnTo>
                <a:lnTo>
                  <a:pt x="282" y="327"/>
                </a:lnTo>
                <a:lnTo>
                  <a:pt x="283" y="325"/>
                </a:lnTo>
                <a:lnTo>
                  <a:pt x="285" y="323"/>
                </a:lnTo>
                <a:lnTo>
                  <a:pt x="288" y="321"/>
                </a:lnTo>
                <a:lnTo>
                  <a:pt x="293" y="321"/>
                </a:lnTo>
                <a:lnTo>
                  <a:pt x="286" y="318"/>
                </a:lnTo>
                <a:lnTo>
                  <a:pt x="279" y="314"/>
                </a:lnTo>
                <a:lnTo>
                  <a:pt x="280" y="312"/>
                </a:lnTo>
                <a:lnTo>
                  <a:pt x="282" y="310"/>
                </a:lnTo>
                <a:lnTo>
                  <a:pt x="284" y="308"/>
                </a:lnTo>
                <a:lnTo>
                  <a:pt x="287" y="305"/>
                </a:lnTo>
                <a:lnTo>
                  <a:pt x="294" y="300"/>
                </a:lnTo>
                <a:lnTo>
                  <a:pt x="299" y="295"/>
                </a:lnTo>
                <a:lnTo>
                  <a:pt x="298" y="292"/>
                </a:lnTo>
                <a:lnTo>
                  <a:pt x="297" y="288"/>
                </a:lnTo>
                <a:lnTo>
                  <a:pt x="298" y="285"/>
                </a:lnTo>
                <a:lnTo>
                  <a:pt x="299" y="281"/>
                </a:lnTo>
                <a:lnTo>
                  <a:pt x="305" y="274"/>
                </a:lnTo>
                <a:lnTo>
                  <a:pt x="311" y="267"/>
                </a:lnTo>
                <a:lnTo>
                  <a:pt x="325" y="254"/>
                </a:lnTo>
                <a:lnTo>
                  <a:pt x="333" y="246"/>
                </a:lnTo>
                <a:lnTo>
                  <a:pt x="333" y="244"/>
                </a:lnTo>
                <a:lnTo>
                  <a:pt x="335" y="243"/>
                </a:lnTo>
                <a:lnTo>
                  <a:pt x="338" y="243"/>
                </a:lnTo>
                <a:lnTo>
                  <a:pt x="340" y="244"/>
                </a:lnTo>
                <a:lnTo>
                  <a:pt x="344" y="245"/>
                </a:lnTo>
                <a:lnTo>
                  <a:pt x="346" y="246"/>
                </a:lnTo>
                <a:lnTo>
                  <a:pt x="344" y="239"/>
                </a:lnTo>
                <a:lnTo>
                  <a:pt x="343" y="233"/>
                </a:lnTo>
                <a:lnTo>
                  <a:pt x="343" y="226"/>
                </a:lnTo>
                <a:lnTo>
                  <a:pt x="344" y="220"/>
                </a:lnTo>
                <a:lnTo>
                  <a:pt x="345" y="210"/>
                </a:lnTo>
                <a:lnTo>
                  <a:pt x="346" y="204"/>
                </a:lnTo>
                <a:lnTo>
                  <a:pt x="370" y="204"/>
                </a:lnTo>
                <a:lnTo>
                  <a:pt x="385" y="203"/>
                </a:lnTo>
                <a:lnTo>
                  <a:pt x="388" y="202"/>
                </a:lnTo>
                <a:lnTo>
                  <a:pt x="390" y="200"/>
                </a:lnTo>
                <a:lnTo>
                  <a:pt x="392" y="198"/>
                </a:lnTo>
                <a:lnTo>
                  <a:pt x="394" y="196"/>
                </a:lnTo>
                <a:lnTo>
                  <a:pt x="397" y="188"/>
                </a:lnTo>
                <a:lnTo>
                  <a:pt x="399" y="178"/>
                </a:lnTo>
                <a:lnTo>
                  <a:pt x="395" y="173"/>
                </a:lnTo>
                <a:lnTo>
                  <a:pt x="390" y="166"/>
                </a:lnTo>
                <a:lnTo>
                  <a:pt x="387" y="157"/>
                </a:lnTo>
                <a:lnTo>
                  <a:pt x="386" y="148"/>
                </a:lnTo>
                <a:lnTo>
                  <a:pt x="384" y="148"/>
                </a:lnTo>
                <a:lnTo>
                  <a:pt x="379" y="147"/>
                </a:lnTo>
                <a:lnTo>
                  <a:pt x="377" y="147"/>
                </a:lnTo>
                <a:lnTo>
                  <a:pt x="375" y="146"/>
                </a:lnTo>
                <a:lnTo>
                  <a:pt x="373" y="144"/>
                </a:lnTo>
                <a:lnTo>
                  <a:pt x="373" y="142"/>
                </a:lnTo>
                <a:lnTo>
                  <a:pt x="363" y="150"/>
                </a:lnTo>
                <a:lnTo>
                  <a:pt x="353" y="156"/>
                </a:lnTo>
                <a:lnTo>
                  <a:pt x="347" y="158"/>
                </a:lnTo>
                <a:lnTo>
                  <a:pt x="343" y="159"/>
                </a:lnTo>
                <a:lnTo>
                  <a:pt x="338" y="160"/>
                </a:lnTo>
                <a:lnTo>
                  <a:pt x="333" y="160"/>
                </a:lnTo>
                <a:lnTo>
                  <a:pt x="334" y="154"/>
                </a:lnTo>
                <a:lnTo>
                  <a:pt x="338" y="148"/>
                </a:lnTo>
                <a:lnTo>
                  <a:pt x="341" y="143"/>
                </a:lnTo>
                <a:lnTo>
                  <a:pt x="345" y="138"/>
                </a:lnTo>
                <a:lnTo>
                  <a:pt x="355" y="128"/>
                </a:lnTo>
                <a:lnTo>
                  <a:pt x="367" y="120"/>
                </a:lnTo>
                <a:lnTo>
                  <a:pt x="378" y="112"/>
                </a:lnTo>
                <a:lnTo>
                  <a:pt x="390" y="103"/>
                </a:lnTo>
                <a:lnTo>
                  <a:pt x="395" y="98"/>
                </a:lnTo>
                <a:lnTo>
                  <a:pt x="399" y="93"/>
                </a:lnTo>
                <a:lnTo>
                  <a:pt x="403" y="87"/>
                </a:lnTo>
                <a:lnTo>
                  <a:pt x="406" y="80"/>
                </a:lnTo>
                <a:lnTo>
                  <a:pt x="407" y="83"/>
                </a:lnTo>
                <a:lnTo>
                  <a:pt x="409" y="88"/>
                </a:lnTo>
                <a:lnTo>
                  <a:pt x="411" y="96"/>
                </a:lnTo>
                <a:lnTo>
                  <a:pt x="412" y="105"/>
                </a:lnTo>
                <a:lnTo>
                  <a:pt x="414" y="107"/>
                </a:lnTo>
                <a:lnTo>
                  <a:pt x="420" y="111"/>
                </a:lnTo>
                <a:lnTo>
                  <a:pt x="426" y="115"/>
                </a:lnTo>
                <a:lnTo>
                  <a:pt x="432" y="117"/>
                </a:lnTo>
                <a:lnTo>
                  <a:pt x="450" y="116"/>
                </a:lnTo>
                <a:lnTo>
                  <a:pt x="463" y="114"/>
                </a:lnTo>
                <a:lnTo>
                  <a:pt x="473" y="112"/>
                </a:lnTo>
                <a:lnTo>
                  <a:pt x="479" y="111"/>
                </a:lnTo>
                <a:lnTo>
                  <a:pt x="474" y="106"/>
                </a:lnTo>
                <a:lnTo>
                  <a:pt x="469" y="101"/>
                </a:lnTo>
                <a:lnTo>
                  <a:pt x="468" y="98"/>
                </a:lnTo>
                <a:lnTo>
                  <a:pt x="467" y="95"/>
                </a:lnTo>
                <a:lnTo>
                  <a:pt x="466" y="91"/>
                </a:lnTo>
                <a:lnTo>
                  <a:pt x="466" y="87"/>
                </a:lnTo>
                <a:lnTo>
                  <a:pt x="485" y="83"/>
                </a:lnTo>
                <a:lnTo>
                  <a:pt x="510" y="78"/>
                </a:lnTo>
                <a:lnTo>
                  <a:pt x="523" y="75"/>
                </a:lnTo>
                <a:lnTo>
                  <a:pt x="536" y="72"/>
                </a:lnTo>
                <a:lnTo>
                  <a:pt x="548" y="67"/>
                </a:lnTo>
                <a:lnTo>
                  <a:pt x="558" y="61"/>
                </a:lnTo>
                <a:lnTo>
                  <a:pt x="565" y="57"/>
                </a:lnTo>
                <a:lnTo>
                  <a:pt x="573" y="53"/>
                </a:lnTo>
                <a:lnTo>
                  <a:pt x="579" y="50"/>
                </a:lnTo>
                <a:lnTo>
                  <a:pt x="586" y="49"/>
                </a:lnTo>
                <a:lnTo>
                  <a:pt x="587" y="55"/>
                </a:lnTo>
                <a:lnTo>
                  <a:pt x="589" y="61"/>
                </a:lnTo>
                <a:lnTo>
                  <a:pt x="591" y="63"/>
                </a:lnTo>
                <a:lnTo>
                  <a:pt x="593" y="65"/>
                </a:lnTo>
                <a:lnTo>
                  <a:pt x="596" y="67"/>
                </a:lnTo>
                <a:lnTo>
                  <a:pt x="599" y="67"/>
                </a:lnTo>
                <a:lnTo>
                  <a:pt x="609" y="66"/>
                </a:lnTo>
                <a:lnTo>
                  <a:pt x="624" y="61"/>
                </a:lnTo>
                <a:lnTo>
                  <a:pt x="638" y="57"/>
                </a:lnTo>
                <a:lnTo>
                  <a:pt x="645" y="55"/>
                </a:lnTo>
                <a:lnTo>
                  <a:pt x="643" y="53"/>
                </a:lnTo>
                <a:lnTo>
                  <a:pt x="641" y="51"/>
                </a:lnTo>
                <a:lnTo>
                  <a:pt x="638" y="48"/>
                </a:lnTo>
                <a:lnTo>
                  <a:pt x="638" y="46"/>
                </a:lnTo>
                <a:lnTo>
                  <a:pt x="638" y="42"/>
                </a:lnTo>
                <a:lnTo>
                  <a:pt x="641" y="37"/>
                </a:lnTo>
                <a:lnTo>
                  <a:pt x="645" y="33"/>
                </a:lnTo>
                <a:lnTo>
                  <a:pt x="650" y="28"/>
                </a:lnTo>
                <a:lnTo>
                  <a:pt x="657" y="24"/>
                </a:lnTo>
                <a:lnTo>
                  <a:pt x="665" y="20"/>
                </a:lnTo>
                <a:lnTo>
                  <a:pt x="674" y="17"/>
                </a:lnTo>
                <a:lnTo>
                  <a:pt x="682" y="15"/>
                </a:lnTo>
                <a:lnTo>
                  <a:pt x="691" y="14"/>
                </a:lnTo>
                <a:lnTo>
                  <a:pt x="699" y="13"/>
                </a:lnTo>
                <a:lnTo>
                  <a:pt x="708" y="13"/>
                </a:lnTo>
                <a:lnTo>
                  <a:pt x="714" y="13"/>
                </a:lnTo>
                <a:lnTo>
                  <a:pt x="721" y="15"/>
                </a:lnTo>
                <a:lnTo>
                  <a:pt x="725" y="18"/>
                </a:lnTo>
                <a:lnTo>
                  <a:pt x="717" y="20"/>
                </a:lnTo>
                <a:lnTo>
                  <a:pt x="709" y="26"/>
                </a:lnTo>
                <a:lnTo>
                  <a:pt x="705" y="29"/>
                </a:lnTo>
                <a:lnTo>
                  <a:pt x="701" y="32"/>
                </a:lnTo>
                <a:lnTo>
                  <a:pt x="699" y="35"/>
                </a:lnTo>
                <a:lnTo>
                  <a:pt x="699" y="37"/>
                </a:lnTo>
                <a:lnTo>
                  <a:pt x="702" y="39"/>
                </a:lnTo>
                <a:lnTo>
                  <a:pt x="705" y="40"/>
                </a:lnTo>
                <a:lnTo>
                  <a:pt x="709" y="41"/>
                </a:lnTo>
                <a:lnTo>
                  <a:pt x="712" y="40"/>
                </a:lnTo>
                <a:lnTo>
                  <a:pt x="719" y="39"/>
                </a:lnTo>
                <a:lnTo>
                  <a:pt x="725" y="36"/>
                </a:lnTo>
                <a:lnTo>
                  <a:pt x="733" y="32"/>
                </a:lnTo>
                <a:lnTo>
                  <a:pt x="741" y="29"/>
                </a:lnTo>
                <a:lnTo>
                  <a:pt x="748" y="26"/>
                </a:lnTo>
                <a:lnTo>
                  <a:pt x="758" y="24"/>
                </a:lnTo>
                <a:lnTo>
                  <a:pt x="758" y="12"/>
                </a:lnTo>
                <a:lnTo>
                  <a:pt x="758" y="0"/>
                </a:lnTo>
                <a:lnTo>
                  <a:pt x="777" y="0"/>
                </a:lnTo>
                <a:lnTo>
                  <a:pt x="793" y="1"/>
                </a:lnTo>
                <a:lnTo>
                  <a:pt x="800" y="1"/>
                </a:lnTo>
                <a:lnTo>
                  <a:pt x="806" y="2"/>
                </a:lnTo>
                <a:lnTo>
                  <a:pt x="813" y="4"/>
                </a:lnTo>
                <a:lnTo>
                  <a:pt x="817" y="6"/>
                </a:lnTo>
                <a:lnTo>
                  <a:pt x="812" y="11"/>
                </a:lnTo>
                <a:lnTo>
                  <a:pt x="805" y="18"/>
                </a:lnTo>
                <a:lnTo>
                  <a:pt x="800" y="26"/>
                </a:lnTo>
                <a:lnTo>
                  <a:pt x="798" y="31"/>
                </a:lnTo>
                <a:lnTo>
                  <a:pt x="815" y="22"/>
                </a:lnTo>
                <a:lnTo>
                  <a:pt x="828" y="15"/>
                </a:lnTo>
                <a:lnTo>
                  <a:pt x="844" y="8"/>
                </a:lnTo>
                <a:lnTo>
                  <a:pt x="865" y="0"/>
                </a:lnTo>
                <a:lnTo>
                  <a:pt x="865" y="4"/>
                </a:lnTo>
                <a:lnTo>
                  <a:pt x="864" y="9"/>
                </a:lnTo>
                <a:lnTo>
                  <a:pt x="861" y="14"/>
                </a:lnTo>
                <a:lnTo>
                  <a:pt x="858" y="18"/>
                </a:lnTo>
                <a:lnTo>
                  <a:pt x="860" y="14"/>
                </a:lnTo>
                <a:lnTo>
                  <a:pt x="862" y="11"/>
                </a:lnTo>
                <a:lnTo>
                  <a:pt x="866" y="9"/>
                </a:lnTo>
                <a:lnTo>
                  <a:pt x="869" y="7"/>
                </a:lnTo>
                <a:lnTo>
                  <a:pt x="876" y="6"/>
                </a:lnTo>
                <a:lnTo>
                  <a:pt x="884" y="6"/>
                </a:lnTo>
                <a:lnTo>
                  <a:pt x="892" y="6"/>
                </a:lnTo>
                <a:lnTo>
                  <a:pt x="907" y="6"/>
                </a:lnTo>
                <a:lnTo>
                  <a:pt x="924" y="6"/>
                </a:lnTo>
                <a:lnTo>
                  <a:pt x="930" y="6"/>
                </a:lnTo>
                <a:lnTo>
                  <a:pt x="947" y="12"/>
                </a:lnTo>
                <a:lnTo>
                  <a:pt x="979" y="22"/>
                </a:lnTo>
                <a:lnTo>
                  <a:pt x="996" y="28"/>
                </a:lnTo>
                <a:lnTo>
                  <a:pt x="1013" y="33"/>
                </a:lnTo>
                <a:lnTo>
                  <a:pt x="1027" y="38"/>
                </a:lnTo>
                <a:lnTo>
                  <a:pt x="1037" y="43"/>
                </a:lnTo>
                <a:lnTo>
                  <a:pt x="1031" y="52"/>
                </a:lnTo>
                <a:lnTo>
                  <a:pt x="1025" y="61"/>
                </a:lnTo>
                <a:lnTo>
                  <a:pt x="1022" y="66"/>
                </a:lnTo>
                <a:lnTo>
                  <a:pt x="1019" y="70"/>
                </a:lnTo>
                <a:lnTo>
                  <a:pt x="1017" y="75"/>
                </a:lnTo>
                <a:lnTo>
                  <a:pt x="1017" y="80"/>
                </a:lnTo>
                <a:lnTo>
                  <a:pt x="1005" y="79"/>
                </a:lnTo>
                <a:lnTo>
                  <a:pt x="993" y="76"/>
                </a:lnTo>
                <a:lnTo>
                  <a:pt x="982" y="72"/>
                </a:lnTo>
                <a:lnTo>
                  <a:pt x="971" y="67"/>
                </a:lnTo>
                <a:lnTo>
                  <a:pt x="961" y="63"/>
                </a:lnTo>
                <a:lnTo>
                  <a:pt x="951" y="59"/>
                </a:lnTo>
                <a:lnTo>
                  <a:pt x="940" y="56"/>
                </a:lnTo>
                <a:lnTo>
                  <a:pt x="930" y="55"/>
                </a:lnTo>
                <a:lnTo>
                  <a:pt x="919" y="55"/>
                </a:lnTo>
                <a:lnTo>
                  <a:pt x="906" y="55"/>
                </a:lnTo>
                <a:lnTo>
                  <a:pt x="892" y="55"/>
                </a:lnTo>
                <a:lnTo>
                  <a:pt x="878" y="55"/>
                </a:lnTo>
                <a:lnTo>
                  <a:pt x="877" y="62"/>
                </a:lnTo>
                <a:lnTo>
                  <a:pt x="876" y="68"/>
                </a:lnTo>
                <a:lnTo>
                  <a:pt x="873" y="74"/>
                </a:lnTo>
                <a:lnTo>
                  <a:pt x="871" y="80"/>
                </a:lnTo>
                <a:lnTo>
                  <a:pt x="869" y="88"/>
                </a:lnTo>
                <a:lnTo>
                  <a:pt x="867" y="95"/>
                </a:lnTo>
                <a:lnTo>
                  <a:pt x="865" y="102"/>
                </a:lnTo>
                <a:lnTo>
                  <a:pt x="865" y="111"/>
                </a:lnTo>
                <a:lnTo>
                  <a:pt x="854" y="114"/>
                </a:lnTo>
                <a:lnTo>
                  <a:pt x="848" y="116"/>
                </a:lnTo>
                <a:lnTo>
                  <a:pt x="844" y="116"/>
                </a:lnTo>
                <a:lnTo>
                  <a:pt x="842" y="115"/>
                </a:lnTo>
                <a:lnTo>
                  <a:pt x="838" y="114"/>
                </a:lnTo>
                <a:lnTo>
                  <a:pt x="835" y="113"/>
                </a:lnTo>
                <a:lnTo>
                  <a:pt x="828" y="111"/>
                </a:lnTo>
                <a:lnTo>
                  <a:pt x="817" y="111"/>
                </a:lnTo>
                <a:lnTo>
                  <a:pt x="811" y="111"/>
                </a:lnTo>
                <a:lnTo>
                  <a:pt x="804" y="112"/>
                </a:lnTo>
                <a:lnTo>
                  <a:pt x="798" y="113"/>
                </a:lnTo>
                <a:lnTo>
                  <a:pt x="790" y="115"/>
                </a:lnTo>
                <a:lnTo>
                  <a:pt x="776" y="121"/>
                </a:lnTo>
                <a:lnTo>
                  <a:pt x="758" y="129"/>
                </a:lnTo>
                <a:lnTo>
                  <a:pt x="750" y="129"/>
                </a:lnTo>
                <a:lnTo>
                  <a:pt x="745" y="128"/>
                </a:lnTo>
                <a:lnTo>
                  <a:pt x="738" y="126"/>
                </a:lnTo>
                <a:lnTo>
                  <a:pt x="734" y="124"/>
                </a:lnTo>
                <a:lnTo>
                  <a:pt x="724" y="119"/>
                </a:lnTo>
                <a:lnTo>
                  <a:pt x="716" y="112"/>
                </a:lnTo>
                <a:lnTo>
                  <a:pt x="709" y="105"/>
                </a:lnTo>
                <a:lnTo>
                  <a:pt x="702" y="98"/>
                </a:lnTo>
                <a:lnTo>
                  <a:pt x="694" y="92"/>
                </a:lnTo>
                <a:lnTo>
                  <a:pt x="685" y="87"/>
                </a:lnTo>
                <a:lnTo>
                  <a:pt x="677" y="92"/>
                </a:lnTo>
                <a:lnTo>
                  <a:pt x="669" y="96"/>
                </a:lnTo>
                <a:lnTo>
                  <a:pt x="661" y="100"/>
                </a:lnTo>
                <a:lnTo>
                  <a:pt x="654" y="103"/>
                </a:lnTo>
                <a:lnTo>
                  <a:pt x="637" y="109"/>
                </a:lnTo>
                <a:lnTo>
                  <a:pt x="620" y="112"/>
                </a:lnTo>
                <a:lnTo>
                  <a:pt x="602" y="116"/>
                </a:lnTo>
                <a:lnTo>
                  <a:pt x="584" y="119"/>
                </a:lnTo>
                <a:lnTo>
                  <a:pt x="565" y="123"/>
                </a:lnTo>
                <a:lnTo>
                  <a:pt x="545" y="129"/>
                </a:lnTo>
                <a:lnTo>
                  <a:pt x="542" y="130"/>
                </a:lnTo>
                <a:lnTo>
                  <a:pt x="537" y="131"/>
                </a:lnTo>
                <a:lnTo>
                  <a:pt x="534" y="134"/>
                </a:lnTo>
                <a:lnTo>
                  <a:pt x="530" y="138"/>
                </a:lnTo>
                <a:lnTo>
                  <a:pt x="521" y="147"/>
                </a:lnTo>
                <a:lnTo>
                  <a:pt x="513" y="158"/>
                </a:lnTo>
                <a:lnTo>
                  <a:pt x="506" y="170"/>
                </a:lnTo>
                <a:lnTo>
                  <a:pt x="498" y="184"/>
                </a:lnTo>
                <a:lnTo>
                  <a:pt x="491" y="198"/>
                </a:lnTo>
                <a:lnTo>
                  <a:pt x="486" y="210"/>
                </a:lnTo>
                <a:lnTo>
                  <a:pt x="482" y="217"/>
                </a:lnTo>
                <a:lnTo>
                  <a:pt x="478" y="225"/>
                </a:lnTo>
                <a:lnTo>
                  <a:pt x="473" y="232"/>
                </a:lnTo>
                <a:lnTo>
                  <a:pt x="466" y="239"/>
                </a:lnTo>
                <a:lnTo>
                  <a:pt x="453" y="255"/>
                </a:lnTo>
                <a:lnTo>
                  <a:pt x="437" y="270"/>
                </a:lnTo>
                <a:lnTo>
                  <a:pt x="430" y="279"/>
                </a:lnTo>
                <a:lnTo>
                  <a:pt x="423" y="288"/>
                </a:lnTo>
                <a:lnTo>
                  <a:pt x="417" y="298"/>
                </a:lnTo>
                <a:lnTo>
                  <a:pt x="411" y="309"/>
                </a:lnTo>
                <a:lnTo>
                  <a:pt x="406" y="321"/>
                </a:lnTo>
                <a:lnTo>
                  <a:pt x="402" y="334"/>
                </a:lnTo>
                <a:lnTo>
                  <a:pt x="400" y="348"/>
                </a:lnTo>
                <a:lnTo>
                  <a:pt x="399" y="364"/>
                </a:lnTo>
                <a:lnTo>
                  <a:pt x="396" y="362"/>
                </a:lnTo>
                <a:lnTo>
                  <a:pt x="392" y="361"/>
                </a:lnTo>
                <a:lnTo>
                  <a:pt x="387" y="361"/>
                </a:lnTo>
                <a:lnTo>
                  <a:pt x="381" y="362"/>
                </a:lnTo>
                <a:lnTo>
                  <a:pt x="367" y="363"/>
                </a:lnTo>
                <a:lnTo>
                  <a:pt x="353" y="364"/>
                </a:lnTo>
                <a:lnTo>
                  <a:pt x="333" y="425"/>
                </a:lnTo>
                <a:lnTo>
                  <a:pt x="333" y="441"/>
                </a:lnTo>
                <a:lnTo>
                  <a:pt x="336" y="464"/>
                </a:lnTo>
                <a:lnTo>
                  <a:pt x="340" y="477"/>
                </a:lnTo>
                <a:lnTo>
                  <a:pt x="344" y="487"/>
                </a:lnTo>
                <a:lnTo>
                  <a:pt x="347" y="491"/>
                </a:lnTo>
                <a:lnTo>
                  <a:pt x="351" y="495"/>
                </a:lnTo>
                <a:lnTo>
                  <a:pt x="355" y="497"/>
                </a:lnTo>
                <a:lnTo>
                  <a:pt x="360" y="499"/>
                </a:lnTo>
                <a:lnTo>
                  <a:pt x="358" y="515"/>
                </a:lnTo>
                <a:lnTo>
                  <a:pt x="357" y="528"/>
                </a:lnTo>
                <a:lnTo>
                  <a:pt x="356" y="537"/>
                </a:lnTo>
                <a:lnTo>
                  <a:pt x="354" y="544"/>
                </a:lnTo>
                <a:lnTo>
                  <a:pt x="354" y="551"/>
                </a:lnTo>
                <a:lnTo>
                  <a:pt x="354" y="558"/>
                </a:lnTo>
                <a:lnTo>
                  <a:pt x="355" y="567"/>
                </a:lnTo>
                <a:lnTo>
                  <a:pt x="360" y="579"/>
                </a:lnTo>
                <a:lnTo>
                  <a:pt x="352" y="585"/>
                </a:lnTo>
                <a:lnTo>
                  <a:pt x="346" y="591"/>
                </a:lnTo>
                <a:lnTo>
                  <a:pt x="340" y="598"/>
                </a:lnTo>
                <a:lnTo>
                  <a:pt x="335" y="606"/>
                </a:lnTo>
                <a:lnTo>
                  <a:pt x="331" y="615"/>
                </a:lnTo>
                <a:lnTo>
                  <a:pt x="329" y="625"/>
                </a:lnTo>
                <a:lnTo>
                  <a:pt x="327" y="635"/>
                </a:lnTo>
                <a:lnTo>
                  <a:pt x="327" y="647"/>
                </a:lnTo>
                <a:lnTo>
                  <a:pt x="318" y="646"/>
                </a:lnTo>
                <a:lnTo>
                  <a:pt x="306" y="645"/>
                </a:lnTo>
                <a:lnTo>
                  <a:pt x="300" y="645"/>
                </a:lnTo>
                <a:lnTo>
                  <a:pt x="295" y="645"/>
                </a:lnTo>
                <a:lnTo>
                  <a:pt x="289" y="646"/>
                </a:lnTo>
                <a:lnTo>
                  <a:pt x="286" y="64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76" name="Freeform 228"/>
          <p:cNvSpPr>
            <a:spLocks/>
          </p:cNvSpPr>
          <p:nvPr>
            <p:custDataLst>
              <p:tags r:id="rId155"/>
            </p:custDataLst>
          </p:nvPr>
        </p:nvSpPr>
        <p:spPr bwMode="auto">
          <a:xfrm>
            <a:off x="5967413" y="2319339"/>
            <a:ext cx="49212" cy="90487"/>
          </a:xfrm>
          <a:custGeom>
            <a:avLst/>
            <a:gdLst>
              <a:gd name="T0" fmla="*/ 120 w 120"/>
              <a:gd name="T1" fmla="*/ 99 h 173"/>
              <a:gd name="T2" fmla="*/ 92 w 120"/>
              <a:gd name="T3" fmla="*/ 60 h 173"/>
              <a:gd name="T4" fmla="*/ 70 w 120"/>
              <a:gd name="T5" fmla="*/ 28 h 173"/>
              <a:gd name="T6" fmla="*/ 60 w 120"/>
              <a:gd name="T7" fmla="*/ 16 h 173"/>
              <a:gd name="T8" fmla="*/ 53 w 120"/>
              <a:gd name="T9" fmla="*/ 8 h 173"/>
              <a:gd name="T10" fmla="*/ 48 w 120"/>
              <a:gd name="T11" fmla="*/ 4 h 173"/>
              <a:gd name="T12" fmla="*/ 45 w 120"/>
              <a:gd name="T13" fmla="*/ 2 h 173"/>
              <a:gd name="T14" fmla="*/ 43 w 120"/>
              <a:gd name="T15" fmla="*/ 1 h 173"/>
              <a:gd name="T16" fmla="*/ 39 w 120"/>
              <a:gd name="T17" fmla="*/ 0 h 173"/>
              <a:gd name="T18" fmla="*/ 33 w 120"/>
              <a:gd name="T19" fmla="*/ 0 h 173"/>
              <a:gd name="T20" fmla="*/ 27 w 120"/>
              <a:gd name="T21" fmla="*/ 1 h 173"/>
              <a:gd name="T22" fmla="*/ 24 w 120"/>
              <a:gd name="T23" fmla="*/ 3 h 173"/>
              <a:gd name="T24" fmla="*/ 21 w 120"/>
              <a:gd name="T25" fmla="*/ 5 h 173"/>
              <a:gd name="T26" fmla="*/ 19 w 120"/>
              <a:gd name="T27" fmla="*/ 8 h 173"/>
              <a:gd name="T28" fmla="*/ 16 w 120"/>
              <a:gd name="T29" fmla="*/ 12 h 173"/>
              <a:gd name="T30" fmla="*/ 15 w 120"/>
              <a:gd name="T31" fmla="*/ 15 h 173"/>
              <a:gd name="T32" fmla="*/ 15 w 120"/>
              <a:gd name="T33" fmla="*/ 20 h 173"/>
              <a:gd name="T34" fmla="*/ 14 w 120"/>
              <a:gd name="T35" fmla="*/ 30 h 173"/>
              <a:gd name="T36" fmla="*/ 12 w 120"/>
              <a:gd name="T37" fmla="*/ 42 h 173"/>
              <a:gd name="T38" fmla="*/ 10 w 120"/>
              <a:gd name="T39" fmla="*/ 48 h 173"/>
              <a:gd name="T40" fmla="*/ 8 w 120"/>
              <a:gd name="T41" fmla="*/ 54 h 173"/>
              <a:gd name="T42" fmla="*/ 4 w 120"/>
              <a:gd name="T43" fmla="*/ 61 h 173"/>
              <a:gd name="T44" fmla="*/ 0 w 120"/>
              <a:gd name="T45" fmla="*/ 68 h 173"/>
              <a:gd name="T46" fmla="*/ 5 w 120"/>
              <a:gd name="T47" fmla="*/ 82 h 173"/>
              <a:gd name="T48" fmla="*/ 10 w 120"/>
              <a:gd name="T49" fmla="*/ 99 h 173"/>
              <a:gd name="T50" fmla="*/ 15 w 120"/>
              <a:gd name="T51" fmla="*/ 115 h 173"/>
              <a:gd name="T52" fmla="*/ 20 w 120"/>
              <a:gd name="T53" fmla="*/ 129 h 173"/>
              <a:gd name="T54" fmla="*/ 24 w 120"/>
              <a:gd name="T55" fmla="*/ 134 h 173"/>
              <a:gd name="T56" fmla="*/ 30 w 120"/>
              <a:gd name="T57" fmla="*/ 139 h 173"/>
              <a:gd name="T58" fmla="*/ 37 w 120"/>
              <a:gd name="T59" fmla="*/ 145 h 173"/>
              <a:gd name="T60" fmla="*/ 46 w 120"/>
              <a:gd name="T61" fmla="*/ 151 h 173"/>
              <a:gd name="T62" fmla="*/ 54 w 120"/>
              <a:gd name="T63" fmla="*/ 157 h 173"/>
              <a:gd name="T64" fmla="*/ 60 w 120"/>
              <a:gd name="T65" fmla="*/ 163 h 173"/>
              <a:gd name="T66" fmla="*/ 62 w 120"/>
              <a:gd name="T67" fmla="*/ 165 h 173"/>
              <a:gd name="T68" fmla="*/ 65 w 120"/>
              <a:gd name="T69" fmla="*/ 168 h 173"/>
              <a:gd name="T70" fmla="*/ 66 w 120"/>
              <a:gd name="T71" fmla="*/ 170 h 173"/>
              <a:gd name="T72" fmla="*/ 67 w 120"/>
              <a:gd name="T73" fmla="*/ 173 h 173"/>
              <a:gd name="T74" fmla="*/ 76 w 120"/>
              <a:gd name="T75" fmla="*/ 167 h 173"/>
              <a:gd name="T76" fmla="*/ 86 w 120"/>
              <a:gd name="T77" fmla="*/ 160 h 173"/>
              <a:gd name="T78" fmla="*/ 93 w 120"/>
              <a:gd name="T79" fmla="*/ 152 h 173"/>
              <a:gd name="T80" fmla="*/ 101 w 120"/>
              <a:gd name="T81" fmla="*/ 142 h 173"/>
              <a:gd name="T82" fmla="*/ 106 w 120"/>
              <a:gd name="T83" fmla="*/ 132 h 173"/>
              <a:gd name="T84" fmla="*/ 112 w 120"/>
              <a:gd name="T85" fmla="*/ 121 h 173"/>
              <a:gd name="T86" fmla="*/ 116 w 120"/>
              <a:gd name="T87" fmla="*/ 110 h 173"/>
              <a:gd name="T88" fmla="*/ 120 w 120"/>
              <a:gd name="T89" fmla="*/ 99 h 1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20" h="173">
                <a:moveTo>
                  <a:pt x="120" y="99"/>
                </a:moveTo>
                <a:lnTo>
                  <a:pt x="92" y="60"/>
                </a:lnTo>
                <a:lnTo>
                  <a:pt x="70" y="28"/>
                </a:lnTo>
                <a:lnTo>
                  <a:pt x="60" y="16"/>
                </a:lnTo>
                <a:lnTo>
                  <a:pt x="53" y="8"/>
                </a:lnTo>
                <a:lnTo>
                  <a:pt x="48" y="4"/>
                </a:lnTo>
                <a:lnTo>
                  <a:pt x="45" y="2"/>
                </a:lnTo>
                <a:lnTo>
                  <a:pt x="43" y="1"/>
                </a:lnTo>
                <a:lnTo>
                  <a:pt x="39" y="0"/>
                </a:lnTo>
                <a:lnTo>
                  <a:pt x="33" y="0"/>
                </a:lnTo>
                <a:lnTo>
                  <a:pt x="27" y="1"/>
                </a:lnTo>
                <a:lnTo>
                  <a:pt x="24" y="3"/>
                </a:lnTo>
                <a:lnTo>
                  <a:pt x="21" y="5"/>
                </a:lnTo>
                <a:lnTo>
                  <a:pt x="19" y="8"/>
                </a:lnTo>
                <a:lnTo>
                  <a:pt x="16" y="12"/>
                </a:lnTo>
                <a:lnTo>
                  <a:pt x="15" y="15"/>
                </a:lnTo>
                <a:lnTo>
                  <a:pt x="15" y="20"/>
                </a:lnTo>
                <a:lnTo>
                  <a:pt x="14" y="30"/>
                </a:lnTo>
                <a:lnTo>
                  <a:pt x="12" y="42"/>
                </a:lnTo>
                <a:lnTo>
                  <a:pt x="10" y="48"/>
                </a:lnTo>
                <a:lnTo>
                  <a:pt x="8" y="54"/>
                </a:lnTo>
                <a:lnTo>
                  <a:pt x="4" y="61"/>
                </a:lnTo>
                <a:lnTo>
                  <a:pt x="0" y="68"/>
                </a:lnTo>
                <a:lnTo>
                  <a:pt x="5" y="82"/>
                </a:lnTo>
                <a:lnTo>
                  <a:pt x="10" y="99"/>
                </a:lnTo>
                <a:lnTo>
                  <a:pt x="15" y="115"/>
                </a:lnTo>
                <a:lnTo>
                  <a:pt x="20" y="129"/>
                </a:lnTo>
                <a:lnTo>
                  <a:pt x="24" y="134"/>
                </a:lnTo>
                <a:lnTo>
                  <a:pt x="30" y="139"/>
                </a:lnTo>
                <a:lnTo>
                  <a:pt x="37" y="145"/>
                </a:lnTo>
                <a:lnTo>
                  <a:pt x="46" y="151"/>
                </a:lnTo>
                <a:lnTo>
                  <a:pt x="54" y="157"/>
                </a:lnTo>
                <a:lnTo>
                  <a:pt x="60" y="163"/>
                </a:lnTo>
                <a:lnTo>
                  <a:pt x="62" y="165"/>
                </a:lnTo>
                <a:lnTo>
                  <a:pt x="65" y="168"/>
                </a:lnTo>
                <a:lnTo>
                  <a:pt x="66" y="170"/>
                </a:lnTo>
                <a:lnTo>
                  <a:pt x="67" y="173"/>
                </a:lnTo>
                <a:lnTo>
                  <a:pt x="76" y="167"/>
                </a:lnTo>
                <a:lnTo>
                  <a:pt x="86" y="160"/>
                </a:lnTo>
                <a:lnTo>
                  <a:pt x="93" y="152"/>
                </a:lnTo>
                <a:lnTo>
                  <a:pt x="101" y="142"/>
                </a:lnTo>
                <a:lnTo>
                  <a:pt x="106" y="132"/>
                </a:lnTo>
                <a:lnTo>
                  <a:pt x="112" y="121"/>
                </a:lnTo>
                <a:lnTo>
                  <a:pt x="116" y="110"/>
                </a:lnTo>
                <a:lnTo>
                  <a:pt x="120" y="9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77" name="Freeform 229"/>
          <p:cNvSpPr>
            <a:spLocks/>
          </p:cNvSpPr>
          <p:nvPr>
            <p:custDataLst>
              <p:tags r:id="rId156"/>
            </p:custDataLst>
          </p:nvPr>
        </p:nvSpPr>
        <p:spPr bwMode="auto">
          <a:xfrm>
            <a:off x="5675314" y="2159000"/>
            <a:ext cx="84137" cy="58738"/>
          </a:xfrm>
          <a:custGeom>
            <a:avLst/>
            <a:gdLst>
              <a:gd name="T0" fmla="*/ 200 w 200"/>
              <a:gd name="T1" fmla="*/ 55 h 98"/>
              <a:gd name="T2" fmla="*/ 195 w 200"/>
              <a:gd name="T3" fmla="*/ 56 h 98"/>
              <a:gd name="T4" fmla="*/ 186 w 200"/>
              <a:gd name="T5" fmla="*/ 60 h 98"/>
              <a:gd name="T6" fmla="*/ 177 w 200"/>
              <a:gd name="T7" fmla="*/ 65 h 98"/>
              <a:gd name="T8" fmla="*/ 166 w 200"/>
              <a:gd name="T9" fmla="*/ 73 h 98"/>
              <a:gd name="T10" fmla="*/ 155 w 200"/>
              <a:gd name="T11" fmla="*/ 80 h 98"/>
              <a:gd name="T12" fmla="*/ 145 w 200"/>
              <a:gd name="T13" fmla="*/ 87 h 98"/>
              <a:gd name="T14" fmla="*/ 137 w 200"/>
              <a:gd name="T15" fmla="*/ 93 h 98"/>
              <a:gd name="T16" fmla="*/ 133 w 200"/>
              <a:gd name="T17" fmla="*/ 98 h 98"/>
              <a:gd name="T18" fmla="*/ 127 w 200"/>
              <a:gd name="T19" fmla="*/ 98 h 98"/>
              <a:gd name="T20" fmla="*/ 122 w 200"/>
              <a:gd name="T21" fmla="*/ 98 h 98"/>
              <a:gd name="T22" fmla="*/ 116 w 200"/>
              <a:gd name="T23" fmla="*/ 97 h 98"/>
              <a:gd name="T24" fmla="*/ 111 w 200"/>
              <a:gd name="T25" fmla="*/ 95 h 98"/>
              <a:gd name="T26" fmla="*/ 106 w 200"/>
              <a:gd name="T27" fmla="*/ 93 h 98"/>
              <a:gd name="T28" fmla="*/ 103 w 200"/>
              <a:gd name="T29" fmla="*/ 88 h 98"/>
              <a:gd name="T30" fmla="*/ 101 w 200"/>
              <a:gd name="T31" fmla="*/ 82 h 98"/>
              <a:gd name="T32" fmla="*/ 100 w 200"/>
              <a:gd name="T33" fmla="*/ 74 h 98"/>
              <a:gd name="T34" fmla="*/ 91 w 200"/>
              <a:gd name="T35" fmla="*/ 80 h 98"/>
              <a:gd name="T36" fmla="*/ 82 w 200"/>
              <a:gd name="T37" fmla="*/ 86 h 98"/>
              <a:gd name="T38" fmla="*/ 78 w 200"/>
              <a:gd name="T39" fmla="*/ 90 h 98"/>
              <a:gd name="T40" fmla="*/ 72 w 200"/>
              <a:gd name="T41" fmla="*/ 93 h 98"/>
              <a:gd name="T42" fmla="*/ 67 w 200"/>
              <a:gd name="T43" fmla="*/ 96 h 98"/>
              <a:gd name="T44" fmla="*/ 60 w 200"/>
              <a:gd name="T45" fmla="*/ 98 h 98"/>
              <a:gd name="T46" fmla="*/ 39 w 200"/>
              <a:gd name="T47" fmla="*/ 98 h 98"/>
              <a:gd name="T48" fmla="*/ 34 w 200"/>
              <a:gd name="T49" fmla="*/ 98 h 98"/>
              <a:gd name="T50" fmla="*/ 28 w 200"/>
              <a:gd name="T51" fmla="*/ 95 h 98"/>
              <a:gd name="T52" fmla="*/ 22 w 200"/>
              <a:gd name="T53" fmla="*/ 92 h 98"/>
              <a:gd name="T54" fmla="*/ 15 w 200"/>
              <a:gd name="T55" fmla="*/ 89 h 98"/>
              <a:gd name="T56" fmla="*/ 9 w 200"/>
              <a:gd name="T57" fmla="*/ 85 h 98"/>
              <a:gd name="T58" fmla="*/ 4 w 200"/>
              <a:gd name="T59" fmla="*/ 81 h 98"/>
              <a:gd name="T60" fmla="*/ 1 w 200"/>
              <a:gd name="T61" fmla="*/ 77 h 98"/>
              <a:gd name="T62" fmla="*/ 0 w 200"/>
              <a:gd name="T63" fmla="*/ 74 h 98"/>
              <a:gd name="T64" fmla="*/ 5 w 200"/>
              <a:gd name="T65" fmla="*/ 71 h 98"/>
              <a:gd name="T66" fmla="*/ 10 w 200"/>
              <a:gd name="T67" fmla="*/ 67 h 98"/>
              <a:gd name="T68" fmla="*/ 14 w 200"/>
              <a:gd name="T69" fmla="*/ 60 h 98"/>
              <a:gd name="T70" fmla="*/ 20 w 200"/>
              <a:gd name="T71" fmla="*/ 53 h 98"/>
              <a:gd name="T72" fmla="*/ 23 w 200"/>
              <a:gd name="T73" fmla="*/ 45 h 98"/>
              <a:gd name="T74" fmla="*/ 27 w 200"/>
              <a:gd name="T75" fmla="*/ 37 h 98"/>
              <a:gd name="T76" fmla="*/ 30 w 200"/>
              <a:gd name="T77" fmla="*/ 28 h 98"/>
              <a:gd name="T78" fmla="*/ 33 w 200"/>
              <a:gd name="T79" fmla="*/ 19 h 98"/>
              <a:gd name="T80" fmla="*/ 66 w 200"/>
              <a:gd name="T81" fmla="*/ 14 h 98"/>
              <a:gd name="T82" fmla="*/ 103 w 200"/>
              <a:gd name="T83" fmla="*/ 9 h 98"/>
              <a:gd name="T84" fmla="*/ 145 w 200"/>
              <a:gd name="T85" fmla="*/ 4 h 98"/>
              <a:gd name="T86" fmla="*/ 193 w 200"/>
              <a:gd name="T87" fmla="*/ 0 h 98"/>
              <a:gd name="T88" fmla="*/ 166 w 200"/>
              <a:gd name="T89" fmla="*/ 31 h 98"/>
              <a:gd name="T90" fmla="*/ 166 w 200"/>
              <a:gd name="T91" fmla="*/ 34 h 98"/>
              <a:gd name="T92" fmla="*/ 164 w 200"/>
              <a:gd name="T93" fmla="*/ 37 h 98"/>
              <a:gd name="T94" fmla="*/ 162 w 200"/>
              <a:gd name="T95" fmla="*/ 39 h 98"/>
              <a:gd name="T96" fmla="*/ 161 w 200"/>
              <a:gd name="T97" fmla="*/ 41 h 98"/>
              <a:gd name="T98" fmla="*/ 157 w 200"/>
              <a:gd name="T99" fmla="*/ 45 h 98"/>
              <a:gd name="T100" fmla="*/ 156 w 200"/>
              <a:gd name="T101" fmla="*/ 47 h 98"/>
              <a:gd name="T102" fmla="*/ 156 w 200"/>
              <a:gd name="T103" fmla="*/ 49 h 98"/>
              <a:gd name="T104" fmla="*/ 157 w 200"/>
              <a:gd name="T105" fmla="*/ 50 h 98"/>
              <a:gd name="T106" fmla="*/ 159 w 200"/>
              <a:gd name="T107" fmla="*/ 50 h 98"/>
              <a:gd name="T108" fmla="*/ 163 w 200"/>
              <a:gd name="T109" fmla="*/ 51 h 98"/>
              <a:gd name="T110" fmla="*/ 177 w 200"/>
              <a:gd name="T111" fmla="*/ 53 h 98"/>
              <a:gd name="T112" fmla="*/ 200 w 200"/>
              <a:gd name="T113" fmla="*/ 55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00" h="98">
                <a:moveTo>
                  <a:pt x="200" y="55"/>
                </a:moveTo>
                <a:lnTo>
                  <a:pt x="195" y="56"/>
                </a:lnTo>
                <a:lnTo>
                  <a:pt x="186" y="60"/>
                </a:lnTo>
                <a:lnTo>
                  <a:pt x="177" y="65"/>
                </a:lnTo>
                <a:lnTo>
                  <a:pt x="166" y="73"/>
                </a:lnTo>
                <a:lnTo>
                  <a:pt x="155" y="80"/>
                </a:lnTo>
                <a:lnTo>
                  <a:pt x="145" y="87"/>
                </a:lnTo>
                <a:lnTo>
                  <a:pt x="137" y="93"/>
                </a:lnTo>
                <a:lnTo>
                  <a:pt x="133" y="98"/>
                </a:lnTo>
                <a:lnTo>
                  <a:pt x="127" y="98"/>
                </a:lnTo>
                <a:lnTo>
                  <a:pt x="122" y="98"/>
                </a:lnTo>
                <a:lnTo>
                  <a:pt x="116" y="97"/>
                </a:lnTo>
                <a:lnTo>
                  <a:pt x="111" y="95"/>
                </a:lnTo>
                <a:lnTo>
                  <a:pt x="106" y="93"/>
                </a:lnTo>
                <a:lnTo>
                  <a:pt x="103" y="88"/>
                </a:lnTo>
                <a:lnTo>
                  <a:pt x="101" y="82"/>
                </a:lnTo>
                <a:lnTo>
                  <a:pt x="100" y="74"/>
                </a:lnTo>
                <a:lnTo>
                  <a:pt x="91" y="80"/>
                </a:lnTo>
                <a:lnTo>
                  <a:pt x="82" y="86"/>
                </a:lnTo>
                <a:lnTo>
                  <a:pt x="78" y="90"/>
                </a:lnTo>
                <a:lnTo>
                  <a:pt x="72" y="93"/>
                </a:lnTo>
                <a:lnTo>
                  <a:pt x="67" y="96"/>
                </a:lnTo>
                <a:lnTo>
                  <a:pt x="60" y="98"/>
                </a:lnTo>
                <a:lnTo>
                  <a:pt x="39" y="98"/>
                </a:lnTo>
                <a:lnTo>
                  <a:pt x="34" y="98"/>
                </a:lnTo>
                <a:lnTo>
                  <a:pt x="28" y="95"/>
                </a:lnTo>
                <a:lnTo>
                  <a:pt x="22" y="92"/>
                </a:lnTo>
                <a:lnTo>
                  <a:pt x="15" y="89"/>
                </a:lnTo>
                <a:lnTo>
                  <a:pt x="9" y="85"/>
                </a:lnTo>
                <a:lnTo>
                  <a:pt x="4" y="81"/>
                </a:lnTo>
                <a:lnTo>
                  <a:pt x="1" y="77"/>
                </a:lnTo>
                <a:lnTo>
                  <a:pt x="0" y="74"/>
                </a:lnTo>
                <a:lnTo>
                  <a:pt x="5" y="71"/>
                </a:lnTo>
                <a:lnTo>
                  <a:pt x="10" y="67"/>
                </a:lnTo>
                <a:lnTo>
                  <a:pt x="14" y="60"/>
                </a:lnTo>
                <a:lnTo>
                  <a:pt x="20" y="53"/>
                </a:lnTo>
                <a:lnTo>
                  <a:pt x="23" y="45"/>
                </a:lnTo>
                <a:lnTo>
                  <a:pt x="27" y="37"/>
                </a:lnTo>
                <a:lnTo>
                  <a:pt x="30" y="28"/>
                </a:lnTo>
                <a:lnTo>
                  <a:pt x="33" y="19"/>
                </a:lnTo>
                <a:lnTo>
                  <a:pt x="66" y="14"/>
                </a:lnTo>
                <a:lnTo>
                  <a:pt x="103" y="9"/>
                </a:lnTo>
                <a:lnTo>
                  <a:pt x="145" y="4"/>
                </a:lnTo>
                <a:lnTo>
                  <a:pt x="193" y="0"/>
                </a:lnTo>
                <a:lnTo>
                  <a:pt x="166" y="31"/>
                </a:lnTo>
                <a:lnTo>
                  <a:pt x="166" y="34"/>
                </a:lnTo>
                <a:lnTo>
                  <a:pt x="164" y="37"/>
                </a:lnTo>
                <a:lnTo>
                  <a:pt x="162" y="39"/>
                </a:lnTo>
                <a:lnTo>
                  <a:pt x="161" y="41"/>
                </a:lnTo>
                <a:lnTo>
                  <a:pt x="157" y="45"/>
                </a:lnTo>
                <a:lnTo>
                  <a:pt x="156" y="47"/>
                </a:lnTo>
                <a:lnTo>
                  <a:pt x="156" y="49"/>
                </a:lnTo>
                <a:lnTo>
                  <a:pt x="157" y="50"/>
                </a:lnTo>
                <a:lnTo>
                  <a:pt x="159" y="50"/>
                </a:lnTo>
                <a:lnTo>
                  <a:pt x="163" y="51"/>
                </a:lnTo>
                <a:lnTo>
                  <a:pt x="177" y="53"/>
                </a:lnTo>
                <a:lnTo>
                  <a:pt x="200" y="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78" name="Freeform 230"/>
          <p:cNvSpPr>
            <a:spLocks/>
          </p:cNvSpPr>
          <p:nvPr>
            <p:custDataLst>
              <p:tags r:id="rId157"/>
            </p:custDataLst>
          </p:nvPr>
        </p:nvSpPr>
        <p:spPr bwMode="auto">
          <a:xfrm>
            <a:off x="5613400" y="1978026"/>
            <a:ext cx="84138" cy="73025"/>
          </a:xfrm>
          <a:custGeom>
            <a:avLst/>
            <a:gdLst>
              <a:gd name="T0" fmla="*/ 0 w 186"/>
              <a:gd name="T1" fmla="*/ 112 h 142"/>
              <a:gd name="T2" fmla="*/ 2 w 186"/>
              <a:gd name="T3" fmla="*/ 116 h 142"/>
              <a:gd name="T4" fmla="*/ 3 w 186"/>
              <a:gd name="T5" fmla="*/ 107 h 142"/>
              <a:gd name="T6" fmla="*/ 3 w 186"/>
              <a:gd name="T7" fmla="*/ 93 h 142"/>
              <a:gd name="T8" fmla="*/ 9 w 186"/>
              <a:gd name="T9" fmla="*/ 82 h 142"/>
              <a:gd name="T10" fmla="*/ 17 w 186"/>
              <a:gd name="T11" fmla="*/ 69 h 142"/>
              <a:gd name="T12" fmla="*/ 20 w 186"/>
              <a:gd name="T13" fmla="*/ 56 h 142"/>
              <a:gd name="T14" fmla="*/ 23 w 186"/>
              <a:gd name="T15" fmla="*/ 46 h 142"/>
              <a:gd name="T16" fmla="*/ 28 w 186"/>
              <a:gd name="T17" fmla="*/ 37 h 142"/>
              <a:gd name="T18" fmla="*/ 35 w 186"/>
              <a:gd name="T19" fmla="*/ 32 h 142"/>
              <a:gd name="T20" fmla="*/ 41 w 186"/>
              <a:gd name="T21" fmla="*/ 38 h 142"/>
              <a:gd name="T22" fmla="*/ 43 w 186"/>
              <a:gd name="T23" fmla="*/ 49 h 142"/>
              <a:gd name="T24" fmla="*/ 47 w 186"/>
              <a:gd name="T25" fmla="*/ 58 h 142"/>
              <a:gd name="T26" fmla="*/ 55 w 186"/>
              <a:gd name="T27" fmla="*/ 65 h 142"/>
              <a:gd name="T28" fmla="*/ 87 w 186"/>
              <a:gd name="T29" fmla="*/ 67 h 142"/>
              <a:gd name="T30" fmla="*/ 79 w 186"/>
              <a:gd name="T31" fmla="*/ 41 h 142"/>
              <a:gd name="T32" fmla="*/ 69 w 186"/>
              <a:gd name="T33" fmla="*/ 36 h 142"/>
              <a:gd name="T34" fmla="*/ 63 w 186"/>
              <a:gd name="T35" fmla="*/ 30 h 142"/>
              <a:gd name="T36" fmla="*/ 61 w 186"/>
              <a:gd name="T37" fmla="*/ 23 h 142"/>
              <a:gd name="T38" fmla="*/ 70 w 186"/>
              <a:gd name="T39" fmla="*/ 17 h 142"/>
              <a:gd name="T40" fmla="*/ 87 w 186"/>
              <a:gd name="T41" fmla="*/ 14 h 142"/>
              <a:gd name="T42" fmla="*/ 98 w 186"/>
              <a:gd name="T43" fmla="*/ 10 h 142"/>
              <a:gd name="T44" fmla="*/ 111 w 186"/>
              <a:gd name="T45" fmla="*/ 6 h 142"/>
              <a:gd name="T46" fmla="*/ 130 w 186"/>
              <a:gd name="T47" fmla="*/ 3 h 142"/>
              <a:gd name="T48" fmla="*/ 147 w 186"/>
              <a:gd name="T49" fmla="*/ 1 h 142"/>
              <a:gd name="T50" fmla="*/ 159 w 186"/>
              <a:gd name="T51" fmla="*/ 2 h 142"/>
              <a:gd name="T52" fmla="*/ 176 w 186"/>
              <a:gd name="T53" fmla="*/ 1 h 142"/>
              <a:gd name="T54" fmla="*/ 183 w 186"/>
              <a:gd name="T55" fmla="*/ 10 h 142"/>
              <a:gd name="T56" fmla="*/ 178 w 186"/>
              <a:gd name="T57" fmla="*/ 26 h 142"/>
              <a:gd name="T58" fmla="*/ 169 w 186"/>
              <a:gd name="T59" fmla="*/ 40 h 142"/>
              <a:gd name="T60" fmla="*/ 159 w 186"/>
              <a:gd name="T61" fmla="*/ 51 h 142"/>
              <a:gd name="T62" fmla="*/ 155 w 186"/>
              <a:gd name="T63" fmla="*/ 63 h 142"/>
              <a:gd name="T64" fmla="*/ 153 w 186"/>
              <a:gd name="T65" fmla="*/ 76 h 142"/>
              <a:gd name="T66" fmla="*/ 120 w 186"/>
              <a:gd name="T67" fmla="*/ 142 h 142"/>
              <a:gd name="T68" fmla="*/ 80 w 186"/>
              <a:gd name="T69" fmla="*/ 122 h 142"/>
              <a:gd name="T70" fmla="*/ 35 w 186"/>
              <a:gd name="T71" fmla="*/ 117 h 142"/>
              <a:gd name="T72" fmla="*/ 8 w 186"/>
              <a:gd name="T73" fmla="*/ 113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86" h="142">
                <a:moveTo>
                  <a:pt x="0" y="111"/>
                </a:moveTo>
                <a:lnTo>
                  <a:pt x="0" y="112"/>
                </a:lnTo>
                <a:lnTo>
                  <a:pt x="1" y="114"/>
                </a:lnTo>
                <a:lnTo>
                  <a:pt x="2" y="116"/>
                </a:lnTo>
                <a:lnTo>
                  <a:pt x="7" y="117"/>
                </a:lnTo>
                <a:lnTo>
                  <a:pt x="3" y="107"/>
                </a:lnTo>
                <a:lnTo>
                  <a:pt x="2" y="99"/>
                </a:lnTo>
                <a:lnTo>
                  <a:pt x="3" y="93"/>
                </a:lnTo>
                <a:lnTo>
                  <a:pt x="6" y="87"/>
                </a:lnTo>
                <a:lnTo>
                  <a:pt x="9" y="82"/>
                </a:lnTo>
                <a:lnTo>
                  <a:pt x="13" y="76"/>
                </a:lnTo>
                <a:lnTo>
                  <a:pt x="17" y="69"/>
                </a:lnTo>
                <a:lnTo>
                  <a:pt x="20" y="61"/>
                </a:lnTo>
                <a:lnTo>
                  <a:pt x="20" y="56"/>
                </a:lnTo>
                <a:lnTo>
                  <a:pt x="21" y="51"/>
                </a:lnTo>
                <a:lnTo>
                  <a:pt x="23" y="46"/>
                </a:lnTo>
                <a:lnTo>
                  <a:pt x="25" y="42"/>
                </a:lnTo>
                <a:lnTo>
                  <a:pt x="28" y="37"/>
                </a:lnTo>
                <a:lnTo>
                  <a:pt x="31" y="34"/>
                </a:lnTo>
                <a:lnTo>
                  <a:pt x="35" y="32"/>
                </a:lnTo>
                <a:lnTo>
                  <a:pt x="40" y="31"/>
                </a:lnTo>
                <a:lnTo>
                  <a:pt x="41" y="38"/>
                </a:lnTo>
                <a:lnTo>
                  <a:pt x="41" y="43"/>
                </a:lnTo>
                <a:lnTo>
                  <a:pt x="43" y="49"/>
                </a:lnTo>
                <a:lnTo>
                  <a:pt x="45" y="54"/>
                </a:lnTo>
                <a:lnTo>
                  <a:pt x="47" y="58"/>
                </a:lnTo>
                <a:lnTo>
                  <a:pt x="51" y="62"/>
                </a:lnTo>
                <a:lnTo>
                  <a:pt x="55" y="65"/>
                </a:lnTo>
                <a:lnTo>
                  <a:pt x="59" y="67"/>
                </a:lnTo>
                <a:lnTo>
                  <a:pt x="87" y="67"/>
                </a:lnTo>
                <a:lnTo>
                  <a:pt x="87" y="43"/>
                </a:lnTo>
                <a:lnTo>
                  <a:pt x="79" y="41"/>
                </a:lnTo>
                <a:lnTo>
                  <a:pt x="74" y="38"/>
                </a:lnTo>
                <a:lnTo>
                  <a:pt x="69" y="36"/>
                </a:lnTo>
                <a:lnTo>
                  <a:pt x="66" y="33"/>
                </a:lnTo>
                <a:lnTo>
                  <a:pt x="63" y="30"/>
                </a:lnTo>
                <a:lnTo>
                  <a:pt x="62" y="27"/>
                </a:lnTo>
                <a:lnTo>
                  <a:pt x="61" y="23"/>
                </a:lnTo>
                <a:lnTo>
                  <a:pt x="59" y="18"/>
                </a:lnTo>
                <a:lnTo>
                  <a:pt x="70" y="17"/>
                </a:lnTo>
                <a:lnTo>
                  <a:pt x="79" y="16"/>
                </a:lnTo>
                <a:lnTo>
                  <a:pt x="87" y="14"/>
                </a:lnTo>
                <a:lnTo>
                  <a:pt x="92" y="12"/>
                </a:lnTo>
                <a:lnTo>
                  <a:pt x="98" y="10"/>
                </a:lnTo>
                <a:lnTo>
                  <a:pt x="103" y="8"/>
                </a:lnTo>
                <a:lnTo>
                  <a:pt x="111" y="6"/>
                </a:lnTo>
                <a:lnTo>
                  <a:pt x="120" y="6"/>
                </a:lnTo>
                <a:lnTo>
                  <a:pt x="130" y="3"/>
                </a:lnTo>
                <a:lnTo>
                  <a:pt x="140" y="0"/>
                </a:lnTo>
                <a:lnTo>
                  <a:pt x="147" y="1"/>
                </a:lnTo>
                <a:lnTo>
                  <a:pt x="154" y="2"/>
                </a:lnTo>
                <a:lnTo>
                  <a:pt x="159" y="2"/>
                </a:lnTo>
                <a:lnTo>
                  <a:pt x="165" y="2"/>
                </a:lnTo>
                <a:lnTo>
                  <a:pt x="176" y="1"/>
                </a:lnTo>
                <a:lnTo>
                  <a:pt x="186" y="0"/>
                </a:lnTo>
                <a:lnTo>
                  <a:pt x="183" y="10"/>
                </a:lnTo>
                <a:lnTo>
                  <a:pt x="181" y="19"/>
                </a:lnTo>
                <a:lnTo>
                  <a:pt x="178" y="26"/>
                </a:lnTo>
                <a:lnTo>
                  <a:pt x="176" y="32"/>
                </a:lnTo>
                <a:lnTo>
                  <a:pt x="169" y="40"/>
                </a:lnTo>
                <a:lnTo>
                  <a:pt x="165" y="45"/>
                </a:lnTo>
                <a:lnTo>
                  <a:pt x="159" y="51"/>
                </a:lnTo>
                <a:lnTo>
                  <a:pt x="156" y="58"/>
                </a:lnTo>
                <a:lnTo>
                  <a:pt x="155" y="63"/>
                </a:lnTo>
                <a:lnTo>
                  <a:pt x="154" y="69"/>
                </a:lnTo>
                <a:lnTo>
                  <a:pt x="153" y="76"/>
                </a:lnTo>
                <a:lnTo>
                  <a:pt x="153" y="86"/>
                </a:lnTo>
                <a:lnTo>
                  <a:pt x="120" y="142"/>
                </a:lnTo>
                <a:lnTo>
                  <a:pt x="93" y="123"/>
                </a:lnTo>
                <a:lnTo>
                  <a:pt x="80" y="122"/>
                </a:lnTo>
                <a:lnTo>
                  <a:pt x="52" y="119"/>
                </a:lnTo>
                <a:lnTo>
                  <a:pt x="35" y="117"/>
                </a:lnTo>
                <a:lnTo>
                  <a:pt x="20" y="115"/>
                </a:lnTo>
                <a:lnTo>
                  <a:pt x="8" y="113"/>
                </a:lnTo>
                <a:lnTo>
                  <a:pt x="0" y="11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79" name="Freeform 231"/>
          <p:cNvSpPr>
            <a:spLocks/>
          </p:cNvSpPr>
          <p:nvPr>
            <p:custDataLst>
              <p:tags r:id="rId158"/>
            </p:custDataLst>
          </p:nvPr>
        </p:nvSpPr>
        <p:spPr bwMode="auto">
          <a:xfrm>
            <a:off x="5594350" y="2041525"/>
            <a:ext cx="84138" cy="57150"/>
          </a:xfrm>
          <a:custGeom>
            <a:avLst/>
            <a:gdLst>
              <a:gd name="T0" fmla="*/ 192 w 192"/>
              <a:gd name="T1" fmla="*/ 61 h 105"/>
              <a:gd name="T2" fmla="*/ 189 w 192"/>
              <a:gd name="T3" fmla="*/ 62 h 105"/>
              <a:gd name="T4" fmla="*/ 184 w 192"/>
              <a:gd name="T5" fmla="*/ 63 h 105"/>
              <a:gd name="T6" fmla="*/ 180 w 192"/>
              <a:gd name="T7" fmla="*/ 64 h 105"/>
              <a:gd name="T8" fmla="*/ 177 w 192"/>
              <a:gd name="T9" fmla="*/ 67 h 105"/>
              <a:gd name="T10" fmla="*/ 168 w 192"/>
              <a:gd name="T11" fmla="*/ 72 h 105"/>
              <a:gd name="T12" fmla="*/ 160 w 192"/>
              <a:gd name="T13" fmla="*/ 79 h 105"/>
              <a:gd name="T14" fmla="*/ 154 w 192"/>
              <a:gd name="T15" fmla="*/ 86 h 105"/>
              <a:gd name="T16" fmla="*/ 147 w 192"/>
              <a:gd name="T17" fmla="*/ 93 h 105"/>
              <a:gd name="T18" fmla="*/ 143 w 192"/>
              <a:gd name="T19" fmla="*/ 99 h 105"/>
              <a:gd name="T20" fmla="*/ 139 w 192"/>
              <a:gd name="T21" fmla="*/ 105 h 105"/>
              <a:gd name="T22" fmla="*/ 120 w 192"/>
              <a:gd name="T23" fmla="*/ 97 h 105"/>
              <a:gd name="T24" fmla="*/ 102 w 192"/>
              <a:gd name="T25" fmla="*/ 89 h 105"/>
              <a:gd name="T26" fmla="*/ 86 w 192"/>
              <a:gd name="T27" fmla="*/ 80 h 105"/>
              <a:gd name="T28" fmla="*/ 69 w 192"/>
              <a:gd name="T29" fmla="*/ 71 h 105"/>
              <a:gd name="T30" fmla="*/ 53 w 192"/>
              <a:gd name="T31" fmla="*/ 61 h 105"/>
              <a:gd name="T32" fmla="*/ 36 w 192"/>
              <a:gd name="T33" fmla="*/ 53 h 105"/>
              <a:gd name="T34" fmla="*/ 19 w 192"/>
              <a:gd name="T35" fmla="*/ 44 h 105"/>
              <a:gd name="T36" fmla="*/ 0 w 192"/>
              <a:gd name="T37" fmla="*/ 37 h 105"/>
              <a:gd name="T38" fmla="*/ 0 w 192"/>
              <a:gd name="T39" fmla="*/ 13 h 105"/>
              <a:gd name="T40" fmla="*/ 7 w 192"/>
              <a:gd name="T41" fmla="*/ 7 h 105"/>
              <a:gd name="T42" fmla="*/ 16 w 192"/>
              <a:gd name="T43" fmla="*/ 4 h 105"/>
              <a:gd name="T44" fmla="*/ 29 w 192"/>
              <a:gd name="T45" fmla="*/ 1 h 105"/>
              <a:gd name="T46" fmla="*/ 40 w 192"/>
              <a:gd name="T47" fmla="*/ 0 h 105"/>
              <a:gd name="T48" fmla="*/ 60 w 192"/>
              <a:gd name="T49" fmla="*/ 2 h 105"/>
              <a:gd name="T50" fmla="*/ 93 w 192"/>
              <a:gd name="T51" fmla="*/ 5 h 105"/>
              <a:gd name="T52" fmla="*/ 111 w 192"/>
              <a:gd name="T53" fmla="*/ 7 h 105"/>
              <a:gd name="T54" fmla="*/ 128 w 192"/>
              <a:gd name="T55" fmla="*/ 7 h 105"/>
              <a:gd name="T56" fmla="*/ 143 w 192"/>
              <a:gd name="T57" fmla="*/ 7 h 105"/>
              <a:gd name="T58" fmla="*/ 153 w 192"/>
              <a:gd name="T59" fmla="*/ 6 h 105"/>
              <a:gd name="T60" fmla="*/ 155 w 192"/>
              <a:gd name="T61" fmla="*/ 11 h 105"/>
              <a:gd name="T62" fmla="*/ 159 w 192"/>
              <a:gd name="T63" fmla="*/ 17 h 105"/>
              <a:gd name="T64" fmla="*/ 161 w 192"/>
              <a:gd name="T65" fmla="*/ 20 h 105"/>
              <a:gd name="T66" fmla="*/ 164 w 192"/>
              <a:gd name="T67" fmla="*/ 23 h 105"/>
              <a:gd name="T68" fmla="*/ 165 w 192"/>
              <a:gd name="T69" fmla="*/ 27 h 105"/>
              <a:gd name="T70" fmla="*/ 166 w 192"/>
              <a:gd name="T71" fmla="*/ 31 h 105"/>
              <a:gd name="T72" fmla="*/ 170 w 192"/>
              <a:gd name="T73" fmla="*/ 32 h 105"/>
              <a:gd name="T74" fmla="*/ 177 w 192"/>
              <a:gd name="T75" fmla="*/ 33 h 105"/>
              <a:gd name="T76" fmla="*/ 180 w 192"/>
              <a:gd name="T77" fmla="*/ 34 h 105"/>
              <a:gd name="T78" fmla="*/ 183 w 192"/>
              <a:gd name="T79" fmla="*/ 34 h 105"/>
              <a:gd name="T80" fmla="*/ 188 w 192"/>
              <a:gd name="T81" fmla="*/ 33 h 105"/>
              <a:gd name="T82" fmla="*/ 192 w 192"/>
              <a:gd name="T83" fmla="*/ 31 h 105"/>
              <a:gd name="T84" fmla="*/ 192 w 192"/>
              <a:gd name="T85" fmla="*/ 61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92" h="105">
                <a:moveTo>
                  <a:pt x="192" y="61"/>
                </a:moveTo>
                <a:lnTo>
                  <a:pt x="189" y="62"/>
                </a:lnTo>
                <a:lnTo>
                  <a:pt x="184" y="63"/>
                </a:lnTo>
                <a:lnTo>
                  <a:pt x="180" y="64"/>
                </a:lnTo>
                <a:lnTo>
                  <a:pt x="177" y="67"/>
                </a:lnTo>
                <a:lnTo>
                  <a:pt x="168" y="72"/>
                </a:lnTo>
                <a:lnTo>
                  <a:pt x="160" y="79"/>
                </a:lnTo>
                <a:lnTo>
                  <a:pt x="154" y="86"/>
                </a:lnTo>
                <a:lnTo>
                  <a:pt x="147" y="93"/>
                </a:lnTo>
                <a:lnTo>
                  <a:pt x="143" y="99"/>
                </a:lnTo>
                <a:lnTo>
                  <a:pt x="139" y="105"/>
                </a:lnTo>
                <a:lnTo>
                  <a:pt x="120" y="97"/>
                </a:lnTo>
                <a:lnTo>
                  <a:pt x="102" y="89"/>
                </a:lnTo>
                <a:lnTo>
                  <a:pt x="86" y="80"/>
                </a:lnTo>
                <a:lnTo>
                  <a:pt x="69" y="71"/>
                </a:lnTo>
                <a:lnTo>
                  <a:pt x="53" y="61"/>
                </a:lnTo>
                <a:lnTo>
                  <a:pt x="36" y="53"/>
                </a:lnTo>
                <a:lnTo>
                  <a:pt x="19" y="44"/>
                </a:lnTo>
                <a:lnTo>
                  <a:pt x="0" y="37"/>
                </a:lnTo>
                <a:lnTo>
                  <a:pt x="0" y="13"/>
                </a:lnTo>
                <a:lnTo>
                  <a:pt x="7" y="7"/>
                </a:lnTo>
                <a:lnTo>
                  <a:pt x="16" y="4"/>
                </a:lnTo>
                <a:lnTo>
                  <a:pt x="29" y="1"/>
                </a:lnTo>
                <a:lnTo>
                  <a:pt x="40" y="0"/>
                </a:lnTo>
                <a:lnTo>
                  <a:pt x="60" y="2"/>
                </a:lnTo>
                <a:lnTo>
                  <a:pt x="93" y="5"/>
                </a:lnTo>
                <a:lnTo>
                  <a:pt x="111" y="7"/>
                </a:lnTo>
                <a:lnTo>
                  <a:pt x="128" y="7"/>
                </a:lnTo>
                <a:lnTo>
                  <a:pt x="143" y="7"/>
                </a:lnTo>
                <a:lnTo>
                  <a:pt x="153" y="6"/>
                </a:lnTo>
                <a:lnTo>
                  <a:pt x="155" y="11"/>
                </a:lnTo>
                <a:lnTo>
                  <a:pt x="159" y="17"/>
                </a:lnTo>
                <a:lnTo>
                  <a:pt x="161" y="20"/>
                </a:lnTo>
                <a:lnTo>
                  <a:pt x="164" y="23"/>
                </a:lnTo>
                <a:lnTo>
                  <a:pt x="165" y="27"/>
                </a:lnTo>
                <a:lnTo>
                  <a:pt x="166" y="31"/>
                </a:lnTo>
                <a:lnTo>
                  <a:pt x="170" y="32"/>
                </a:lnTo>
                <a:lnTo>
                  <a:pt x="177" y="33"/>
                </a:lnTo>
                <a:lnTo>
                  <a:pt x="180" y="34"/>
                </a:lnTo>
                <a:lnTo>
                  <a:pt x="183" y="34"/>
                </a:lnTo>
                <a:lnTo>
                  <a:pt x="188" y="33"/>
                </a:lnTo>
                <a:lnTo>
                  <a:pt x="192" y="31"/>
                </a:lnTo>
                <a:lnTo>
                  <a:pt x="192" y="6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80" name="Freeform 232"/>
          <p:cNvSpPr>
            <a:spLocks/>
          </p:cNvSpPr>
          <p:nvPr>
            <p:custDataLst>
              <p:tags r:id="rId159"/>
            </p:custDataLst>
          </p:nvPr>
        </p:nvSpPr>
        <p:spPr bwMode="auto">
          <a:xfrm>
            <a:off x="6354764" y="2595563"/>
            <a:ext cx="33337" cy="131762"/>
          </a:xfrm>
          <a:custGeom>
            <a:avLst/>
            <a:gdLst>
              <a:gd name="T0" fmla="*/ 33 w 80"/>
              <a:gd name="T1" fmla="*/ 0 h 254"/>
              <a:gd name="T2" fmla="*/ 37 w 80"/>
              <a:gd name="T3" fmla="*/ 2 h 254"/>
              <a:gd name="T4" fmla="*/ 40 w 80"/>
              <a:gd name="T5" fmla="*/ 4 h 254"/>
              <a:gd name="T6" fmla="*/ 43 w 80"/>
              <a:gd name="T7" fmla="*/ 7 h 254"/>
              <a:gd name="T8" fmla="*/ 46 w 80"/>
              <a:gd name="T9" fmla="*/ 10 h 254"/>
              <a:gd name="T10" fmla="*/ 52 w 80"/>
              <a:gd name="T11" fmla="*/ 18 h 254"/>
              <a:gd name="T12" fmla="*/ 56 w 80"/>
              <a:gd name="T13" fmla="*/ 25 h 254"/>
              <a:gd name="T14" fmla="*/ 62 w 80"/>
              <a:gd name="T15" fmla="*/ 32 h 254"/>
              <a:gd name="T16" fmla="*/ 67 w 80"/>
              <a:gd name="T17" fmla="*/ 38 h 254"/>
              <a:gd name="T18" fmla="*/ 70 w 80"/>
              <a:gd name="T19" fmla="*/ 40 h 254"/>
              <a:gd name="T20" fmla="*/ 73 w 80"/>
              <a:gd name="T21" fmla="*/ 42 h 254"/>
              <a:gd name="T22" fmla="*/ 76 w 80"/>
              <a:gd name="T23" fmla="*/ 43 h 254"/>
              <a:gd name="T24" fmla="*/ 80 w 80"/>
              <a:gd name="T25" fmla="*/ 44 h 254"/>
              <a:gd name="T26" fmla="*/ 80 w 80"/>
              <a:gd name="T27" fmla="*/ 53 h 254"/>
              <a:gd name="T28" fmla="*/ 80 w 80"/>
              <a:gd name="T29" fmla="*/ 62 h 254"/>
              <a:gd name="T30" fmla="*/ 53 w 80"/>
              <a:gd name="T31" fmla="*/ 254 h 254"/>
              <a:gd name="T32" fmla="*/ 0 w 80"/>
              <a:gd name="T33" fmla="*/ 93 h 254"/>
              <a:gd name="T34" fmla="*/ 4 w 80"/>
              <a:gd name="T35" fmla="*/ 88 h 254"/>
              <a:gd name="T36" fmla="*/ 11 w 80"/>
              <a:gd name="T37" fmla="*/ 71 h 254"/>
              <a:gd name="T38" fmla="*/ 17 w 80"/>
              <a:gd name="T39" fmla="*/ 57 h 254"/>
              <a:gd name="T40" fmla="*/ 22 w 80"/>
              <a:gd name="T41" fmla="*/ 41 h 254"/>
              <a:gd name="T42" fmla="*/ 28 w 80"/>
              <a:gd name="T43" fmla="*/ 23 h 254"/>
              <a:gd name="T44" fmla="*/ 33 w 80"/>
              <a:gd name="T45" fmla="*/ 0 h 2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80" h="254">
                <a:moveTo>
                  <a:pt x="33" y="0"/>
                </a:moveTo>
                <a:lnTo>
                  <a:pt x="37" y="2"/>
                </a:lnTo>
                <a:lnTo>
                  <a:pt x="40" y="4"/>
                </a:lnTo>
                <a:lnTo>
                  <a:pt x="43" y="7"/>
                </a:lnTo>
                <a:lnTo>
                  <a:pt x="46" y="10"/>
                </a:lnTo>
                <a:lnTo>
                  <a:pt x="52" y="18"/>
                </a:lnTo>
                <a:lnTo>
                  <a:pt x="56" y="25"/>
                </a:lnTo>
                <a:lnTo>
                  <a:pt x="62" y="32"/>
                </a:lnTo>
                <a:lnTo>
                  <a:pt x="67" y="38"/>
                </a:lnTo>
                <a:lnTo>
                  <a:pt x="70" y="40"/>
                </a:lnTo>
                <a:lnTo>
                  <a:pt x="73" y="42"/>
                </a:lnTo>
                <a:lnTo>
                  <a:pt x="76" y="43"/>
                </a:lnTo>
                <a:lnTo>
                  <a:pt x="80" y="44"/>
                </a:lnTo>
                <a:lnTo>
                  <a:pt x="80" y="53"/>
                </a:lnTo>
                <a:lnTo>
                  <a:pt x="80" y="62"/>
                </a:lnTo>
                <a:lnTo>
                  <a:pt x="53" y="254"/>
                </a:lnTo>
                <a:lnTo>
                  <a:pt x="0" y="93"/>
                </a:lnTo>
                <a:lnTo>
                  <a:pt x="4" y="88"/>
                </a:lnTo>
                <a:lnTo>
                  <a:pt x="11" y="71"/>
                </a:lnTo>
                <a:lnTo>
                  <a:pt x="17" y="57"/>
                </a:lnTo>
                <a:lnTo>
                  <a:pt x="22" y="41"/>
                </a:lnTo>
                <a:lnTo>
                  <a:pt x="28" y="23"/>
                </a:lnTo>
                <a:lnTo>
                  <a:pt x="3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81" name="Freeform 233"/>
          <p:cNvSpPr>
            <a:spLocks/>
          </p:cNvSpPr>
          <p:nvPr>
            <p:custDataLst>
              <p:tags r:id="rId160"/>
            </p:custDataLst>
          </p:nvPr>
        </p:nvSpPr>
        <p:spPr bwMode="auto">
          <a:xfrm>
            <a:off x="6303963" y="2647951"/>
            <a:ext cx="69850" cy="130175"/>
          </a:xfrm>
          <a:custGeom>
            <a:avLst/>
            <a:gdLst>
              <a:gd name="T0" fmla="*/ 114 w 167"/>
              <a:gd name="T1" fmla="*/ 0 h 259"/>
              <a:gd name="T2" fmla="*/ 167 w 167"/>
              <a:gd name="T3" fmla="*/ 155 h 259"/>
              <a:gd name="T4" fmla="*/ 121 w 167"/>
              <a:gd name="T5" fmla="*/ 259 h 259"/>
              <a:gd name="T6" fmla="*/ 113 w 167"/>
              <a:gd name="T7" fmla="*/ 259 h 259"/>
              <a:gd name="T8" fmla="*/ 107 w 167"/>
              <a:gd name="T9" fmla="*/ 257 h 259"/>
              <a:gd name="T10" fmla="*/ 100 w 167"/>
              <a:gd name="T11" fmla="*/ 254 h 259"/>
              <a:gd name="T12" fmla="*/ 95 w 167"/>
              <a:gd name="T13" fmla="*/ 251 h 259"/>
              <a:gd name="T14" fmla="*/ 89 w 167"/>
              <a:gd name="T15" fmla="*/ 245 h 259"/>
              <a:gd name="T16" fmla="*/ 85 w 167"/>
              <a:gd name="T17" fmla="*/ 240 h 259"/>
              <a:gd name="T18" fmla="*/ 80 w 167"/>
              <a:gd name="T19" fmla="*/ 235 h 259"/>
              <a:gd name="T20" fmla="*/ 76 w 167"/>
              <a:gd name="T21" fmla="*/ 229 h 259"/>
              <a:gd name="T22" fmla="*/ 69 w 167"/>
              <a:gd name="T23" fmla="*/ 217 h 259"/>
              <a:gd name="T24" fmla="*/ 65 w 167"/>
              <a:gd name="T25" fmla="*/ 205 h 259"/>
              <a:gd name="T26" fmla="*/ 62 w 167"/>
              <a:gd name="T27" fmla="*/ 194 h 259"/>
              <a:gd name="T28" fmla="*/ 62 w 167"/>
              <a:gd name="T29" fmla="*/ 185 h 259"/>
              <a:gd name="T30" fmla="*/ 55 w 167"/>
              <a:gd name="T31" fmla="*/ 184 h 259"/>
              <a:gd name="T32" fmla="*/ 51 w 167"/>
              <a:gd name="T33" fmla="*/ 183 h 259"/>
              <a:gd name="T34" fmla="*/ 45 w 167"/>
              <a:gd name="T35" fmla="*/ 182 h 259"/>
              <a:gd name="T36" fmla="*/ 42 w 167"/>
              <a:gd name="T37" fmla="*/ 180 h 259"/>
              <a:gd name="T38" fmla="*/ 39 w 167"/>
              <a:gd name="T39" fmla="*/ 177 h 259"/>
              <a:gd name="T40" fmla="*/ 36 w 167"/>
              <a:gd name="T41" fmla="*/ 174 h 259"/>
              <a:gd name="T42" fmla="*/ 34 w 167"/>
              <a:gd name="T43" fmla="*/ 170 h 259"/>
              <a:gd name="T44" fmla="*/ 32 w 167"/>
              <a:gd name="T45" fmla="*/ 167 h 259"/>
              <a:gd name="T46" fmla="*/ 30 w 167"/>
              <a:gd name="T47" fmla="*/ 158 h 259"/>
              <a:gd name="T48" fmla="*/ 29 w 167"/>
              <a:gd name="T49" fmla="*/ 149 h 259"/>
              <a:gd name="T50" fmla="*/ 28 w 167"/>
              <a:gd name="T51" fmla="*/ 140 h 259"/>
              <a:gd name="T52" fmla="*/ 28 w 167"/>
              <a:gd name="T53" fmla="*/ 129 h 259"/>
              <a:gd name="T54" fmla="*/ 21 w 167"/>
              <a:gd name="T55" fmla="*/ 129 h 259"/>
              <a:gd name="T56" fmla="*/ 16 w 167"/>
              <a:gd name="T57" fmla="*/ 127 h 259"/>
              <a:gd name="T58" fmla="*/ 11 w 167"/>
              <a:gd name="T59" fmla="*/ 125 h 259"/>
              <a:gd name="T60" fmla="*/ 7 w 167"/>
              <a:gd name="T61" fmla="*/ 121 h 259"/>
              <a:gd name="T62" fmla="*/ 5 w 167"/>
              <a:gd name="T63" fmla="*/ 117 h 259"/>
              <a:gd name="T64" fmla="*/ 2 w 167"/>
              <a:gd name="T65" fmla="*/ 112 h 259"/>
              <a:gd name="T66" fmla="*/ 0 w 167"/>
              <a:gd name="T67" fmla="*/ 107 h 259"/>
              <a:gd name="T68" fmla="*/ 0 w 167"/>
              <a:gd name="T69" fmla="*/ 101 h 259"/>
              <a:gd name="T70" fmla="*/ 0 w 167"/>
              <a:gd name="T71" fmla="*/ 75 h 259"/>
              <a:gd name="T72" fmla="*/ 1 w 167"/>
              <a:gd name="T73" fmla="*/ 50 h 259"/>
              <a:gd name="T74" fmla="*/ 12 w 167"/>
              <a:gd name="T75" fmla="*/ 52 h 259"/>
              <a:gd name="T76" fmla="*/ 22 w 167"/>
              <a:gd name="T77" fmla="*/ 53 h 259"/>
              <a:gd name="T78" fmla="*/ 32 w 167"/>
              <a:gd name="T79" fmla="*/ 53 h 259"/>
              <a:gd name="T80" fmla="*/ 42 w 167"/>
              <a:gd name="T81" fmla="*/ 52 h 259"/>
              <a:gd name="T82" fmla="*/ 50 w 167"/>
              <a:gd name="T83" fmla="*/ 51 h 259"/>
              <a:gd name="T84" fmla="*/ 58 w 167"/>
              <a:gd name="T85" fmla="*/ 49 h 259"/>
              <a:gd name="T86" fmla="*/ 66 w 167"/>
              <a:gd name="T87" fmla="*/ 47 h 259"/>
              <a:gd name="T88" fmla="*/ 73 w 167"/>
              <a:gd name="T89" fmla="*/ 44 h 259"/>
              <a:gd name="T90" fmla="*/ 79 w 167"/>
              <a:gd name="T91" fmla="*/ 40 h 259"/>
              <a:gd name="T92" fmla="*/ 86 w 167"/>
              <a:gd name="T93" fmla="*/ 36 h 259"/>
              <a:gd name="T94" fmla="*/ 91 w 167"/>
              <a:gd name="T95" fmla="*/ 31 h 259"/>
              <a:gd name="T96" fmla="*/ 97 w 167"/>
              <a:gd name="T97" fmla="*/ 26 h 259"/>
              <a:gd name="T98" fmla="*/ 107 w 167"/>
              <a:gd name="T99" fmla="*/ 13 h 259"/>
              <a:gd name="T100" fmla="*/ 114 w 167"/>
              <a:gd name="T101" fmla="*/ 0 h 2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67" h="259">
                <a:moveTo>
                  <a:pt x="114" y="0"/>
                </a:moveTo>
                <a:lnTo>
                  <a:pt x="167" y="155"/>
                </a:lnTo>
                <a:lnTo>
                  <a:pt x="121" y="259"/>
                </a:lnTo>
                <a:lnTo>
                  <a:pt x="113" y="259"/>
                </a:lnTo>
                <a:lnTo>
                  <a:pt x="107" y="257"/>
                </a:lnTo>
                <a:lnTo>
                  <a:pt x="100" y="254"/>
                </a:lnTo>
                <a:lnTo>
                  <a:pt x="95" y="251"/>
                </a:lnTo>
                <a:lnTo>
                  <a:pt x="89" y="245"/>
                </a:lnTo>
                <a:lnTo>
                  <a:pt x="85" y="240"/>
                </a:lnTo>
                <a:lnTo>
                  <a:pt x="80" y="235"/>
                </a:lnTo>
                <a:lnTo>
                  <a:pt x="76" y="229"/>
                </a:lnTo>
                <a:lnTo>
                  <a:pt x="69" y="217"/>
                </a:lnTo>
                <a:lnTo>
                  <a:pt x="65" y="205"/>
                </a:lnTo>
                <a:lnTo>
                  <a:pt x="62" y="194"/>
                </a:lnTo>
                <a:lnTo>
                  <a:pt x="62" y="185"/>
                </a:lnTo>
                <a:lnTo>
                  <a:pt x="55" y="184"/>
                </a:lnTo>
                <a:lnTo>
                  <a:pt x="51" y="183"/>
                </a:lnTo>
                <a:lnTo>
                  <a:pt x="45" y="182"/>
                </a:lnTo>
                <a:lnTo>
                  <a:pt x="42" y="180"/>
                </a:lnTo>
                <a:lnTo>
                  <a:pt x="39" y="177"/>
                </a:lnTo>
                <a:lnTo>
                  <a:pt x="36" y="174"/>
                </a:lnTo>
                <a:lnTo>
                  <a:pt x="34" y="170"/>
                </a:lnTo>
                <a:lnTo>
                  <a:pt x="32" y="167"/>
                </a:lnTo>
                <a:lnTo>
                  <a:pt x="30" y="158"/>
                </a:lnTo>
                <a:lnTo>
                  <a:pt x="29" y="149"/>
                </a:lnTo>
                <a:lnTo>
                  <a:pt x="28" y="140"/>
                </a:lnTo>
                <a:lnTo>
                  <a:pt x="28" y="129"/>
                </a:lnTo>
                <a:lnTo>
                  <a:pt x="21" y="129"/>
                </a:lnTo>
                <a:lnTo>
                  <a:pt x="16" y="127"/>
                </a:lnTo>
                <a:lnTo>
                  <a:pt x="11" y="125"/>
                </a:lnTo>
                <a:lnTo>
                  <a:pt x="7" y="121"/>
                </a:lnTo>
                <a:lnTo>
                  <a:pt x="5" y="117"/>
                </a:lnTo>
                <a:lnTo>
                  <a:pt x="2" y="112"/>
                </a:lnTo>
                <a:lnTo>
                  <a:pt x="0" y="107"/>
                </a:lnTo>
                <a:lnTo>
                  <a:pt x="0" y="101"/>
                </a:lnTo>
                <a:lnTo>
                  <a:pt x="0" y="75"/>
                </a:lnTo>
                <a:lnTo>
                  <a:pt x="1" y="50"/>
                </a:lnTo>
                <a:lnTo>
                  <a:pt x="12" y="52"/>
                </a:lnTo>
                <a:lnTo>
                  <a:pt x="22" y="53"/>
                </a:lnTo>
                <a:lnTo>
                  <a:pt x="32" y="53"/>
                </a:lnTo>
                <a:lnTo>
                  <a:pt x="42" y="52"/>
                </a:lnTo>
                <a:lnTo>
                  <a:pt x="50" y="51"/>
                </a:lnTo>
                <a:lnTo>
                  <a:pt x="58" y="49"/>
                </a:lnTo>
                <a:lnTo>
                  <a:pt x="66" y="47"/>
                </a:lnTo>
                <a:lnTo>
                  <a:pt x="73" y="44"/>
                </a:lnTo>
                <a:lnTo>
                  <a:pt x="79" y="40"/>
                </a:lnTo>
                <a:lnTo>
                  <a:pt x="86" y="36"/>
                </a:lnTo>
                <a:lnTo>
                  <a:pt x="91" y="31"/>
                </a:lnTo>
                <a:lnTo>
                  <a:pt x="97" y="26"/>
                </a:lnTo>
                <a:lnTo>
                  <a:pt x="107" y="13"/>
                </a:lnTo>
                <a:lnTo>
                  <a:pt x="1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82" name="Freeform 234"/>
          <p:cNvSpPr>
            <a:spLocks/>
          </p:cNvSpPr>
          <p:nvPr>
            <p:custDataLst>
              <p:tags r:id="rId161"/>
            </p:custDataLst>
          </p:nvPr>
        </p:nvSpPr>
        <p:spPr bwMode="auto">
          <a:xfrm>
            <a:off x="5305425" y="1901826"/>
            <a:ext cx="96838" cy="144463"/>
          </a:xfrm>
          <a:custGeom>
            <a:avLst/>
            <a:gdLst>
              <a:gd name="T0" fmla="*/ 185 w 225"/>
              <a:gd name="T1" fmla="*/ 67 h 273"/>
              <a:gd name="T2" fmla="*/ 173 w 225"/>
              <a:gd name="T3" fmla="*/ 78 h 273"/>
              <a:gd name="T4" fmla="*/ 159 w 225"/>
              <a:gd name="T5" fmla="*/ 82 h 273"/>
              <a:gd name="T6" fmla="*/ 163 w 225"/>
              <a:gd name="T7" fmla="*/ 93 h 273"/>
              <a:gd name="T8" fmla="*/ 174 w 225"/>
              <a:gd name="T9" fmla="*/ 101 h 273"/>
              <a:gd name="T10" fmla="*/ 195 w 225"/>
              <a:gd name="T11" fmla="*/ 105 h 273"/>
              <a:gd name="T12" fmla="*/ 225 w 225"/>
              <a:gd name="T13" fmla="*/ 106 h 273"/>
              <a:gd name="T14" fmla="*/ 225 w 225"/>
              <a:gd name="T15" fmla="*/ 152 h 273"/>
              <a:gd name="T16" fmla="*/ 224 w 225"/>
              <a:gd name="T17" fmla="*/ 176 h 273"/>
              <a:gd name="T18" fmla="*/ 215 w 225"/>
              <a:gd name="T19" fmla="*/ 187 h 273"/>
              <a:gd name="T20" fmla="*/ 197 w 225"/>
              <a:gd name="T21" fmla="*/ 205 h 273"/>
              <a:gd name="T22" fmla="*/ 192 w 225"/>
              <a:gd name="T23" fmla="*/ 214 h 273"/>
              <a:gd name="T24" fmla="*/ 179 w 225"/>
              <a:gd name="T25" fmla="*/ 218 h 273"/>
              <a:gd name="T26" fmla="*/ 164 w 225"/>
              <a:gd name="T27" fmla="*/ 225 h 273"/>
              <a:gd name="T28" fmla="*/ 159 w 225"/>
              <a:gd name="T29" fmla="*/ 236 h 273"/>
              <a:gd name="T30" fmla="*/ 140 w 225"/>
              <a:gd name="T31" fmla="*/ 242 h 273"/>
              <a:gd name="T32" fmla="*/ 128 w 225"/>
              <a:gd name="T33" fmla="*/ 252 h 273"/>
              <a:gd name="T34" fmla="*/ 101 w 225"/>
              <a:gd name="T35" fmla="*/ 255 h 273"/>
              <a:gd name="T36" fmla="*/ 60 w 225"/>
              <a:gd name="T37" fmla="*/ 261 h 273"/>
              <a:gd name="T38" fmla="*/ 19 w 225"/>
              <a:gd name="T39" fmla="*/ 261 h 273"/>
              <a:gd name="T40" fmla="*/ 0 w 225"/>
              <a:gd name="T41" fmla="*/ 217 h 273"/>
              <a:gd name="T42" fmla="*/ 21 w 225"/>
              <a:gd name="T43" fmla="*/ 212 h 273"/>
              <a:gd name="T44" fmla="*/ 26 w 225"/>
              <a:gd name="T45" fmla="*/ 205 h 273"/>
              <a:gd name="T46" fmla="*/ 60 w 225"/>
              <a:gd name="T47" fmla="*/ 202 h 273"/>
              <a:gd name="T48" fmla="*/ 72 w 225"/>
              <a:gd name="T49" fmla="*/ 193 h 273"/>
              <a:gd name="T50" fmla="*/ 48 w 225"/>
              <a:gd name="T51" fmla="*/ 198 h 273"/>
              <a:gd name="T52" fmla="*/ 40 w 225"/>
              <a:gd name="T53" fmla="*/ 197 h 273"/>
              <a:gd name="T54" fmla="*/ 39 w 225"/>
              <a:gd name="T55" fmla="*/ 188 h 273"/>
              <a:gd name="T56" fmla="*/ 46 w 225"/>
              <a:gd name="T57" fmla="*/ 173 h 273"/>
              <a:gd name="T58" fmla="*/ 39 w 225"/>
              <a:gd name="T59" fmla="*/ 160 h 273"/>
              <a:gd name="T60" fmla="*/ 14 w 225"/>
              <a:gd name="T61" fmla="*/ 150 h 273"/>
              <a:gd name="T62" fmla="*/ 6 w 225"/>
              <a:gd name="T63" fmla="*/ 130 h 273"/>
              <a:gd name="T64" fmla="*/ 22 w 225"/>
              <a:gd name="T65" fmla="*/ 115 h 273"/>
              <a:gd name="T66" fmla="*/ 35 w 225"/>
              <a:gd name="T67" fmla="*/ 102 h 273"/>
              <a:gd name="T68" fmla="*/ 68 w 225"/>
              <a:gd name="T69" fmla="*/ 94 h 273"/>
              <a:gd name="T70" fmla="*/ 90 w 225"/>
              <a:gd name="T71" fmla="*/ 94 h 273"/>
              <a:gd name="T72" fmla="*/ 100 w 225"/>
              <a:gd name="T73" fmla="*/ 88 h 273"/>
              <a:gd name="T74" fmla="*/ 108 w 225"/>
              <a:gd name="T75" fmla="*/ 52 h 273"/>
              <a:gd name="T76" fmla="*/ 120 w 225"/>
              <a:gd name="T77" fmla="*/ 31 h 273"/>
              <a:gd name="T78" fmla="*/ 130 w 225"/>
              <a:gd name="T79" fmla="*/ 20 h 273"/>
              <a:gd name="T80" fmla="*/ 141 w 225"/>
              <a:gd name="T81" fmla="*/ 7 h 273"/>
              <a:gd name="T82" fmla="*/ 155 w 225"/>
              <a:gd name="T83" fmla="*/ 1 h 273"/>
              <a:gd name="T84" fmla="*/ 179 w 225"/>
              <a:gd name="T85" fmla="*/ 3 h 273"/>
              <a:gd name="T86" fmla="*/ 195 w 225"/>
              <a:gd name="T87" fmla="*/ 38 h 273"/>
              <a:gd name="T88" fmla="*/ 196 w 225"/>
              <a:gd name="T89" fmla="*/ 47 h 273"/>
              <a:gd name="T90" fmla="*/ 190 w 225"/>
              <a:gd name="T91" fmla="*/ 56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225" h="273">
                <a:moveTo>
                  <a:pt x="192" y="58"/>
                </a:moveTo>
                <a:lnTo>
                  <a:pt x="189" y="63"/>
                </a:lnTo>
                <a:lnTo>
                  <a:pt x="185" y="67"/>
                </a:lnTo>
                <a:lnTo>
                  <a:pt x="182" y="71"/>
                </a:lnTo>
                <a:lnTo>
                  <a:pt x="178" y="75"/>
                </a:lnTo>
                <a:lnTo>
                  <a:pt x="173" y="78"/>
                </a:lnTo>
                <a:lnTo>
                  <a:pt x="169" y="80"/>
                </a:lnTo>
                <a:lnTo>
                  <a:pt x="163" y="82"/>
                </a:lnTo>
                <a:lnTo>
                  <a:pt x="159" y="82"/>
                </a:lnTo>
                <a:lnTo>
                  <a:pt x="159" y="86"/>
                </a:lnTo>
                <a:lnTo>
                  <a:pt x="161" y="90"/>
                </a:lnTo>
                <a:lnTo>
                  <a:pt x="163" y="93"/>
                </a:lnTo>
                <a:lnTo>
                  <a:pt x="167" y="96"/>
                </a:lnTo>
                <a:lnTo>
                  <a:pt x="170" y="99"/>
                </a:lnTo>
                <a:lnTo>
                  <a:pt x="174" y="101"/>
                </a:lnTo>
                <a:lnTo>
                  <a:pt x="179" y="102"/>
                </a:lnTo>
                <a:lnTo>
                  <a:pt x="184" y="103"/>
                </a:lnTo>
                <a:lnTo>
                  <a:pt x="195" y="105"/>
                </a:lnTo>
                <a:lnTo>
                  <a:pt x="206" y="106"/>
                </a:lnTo>
                <a:lnTo>
                  <a:pt x="216" y="106"/>
                </a:lnTo>
                <a:lnTo>
                  <a:pt x="225" y="106"/>
                </a:lnTo>
                <a:lnTo>
                  <a:pt x="225" y="124"/>
                </a:lnTo>
                <a:lnTo>
                  <a:pt x="225" y="138"/>
                </a:lnTo>
                <a:lnTo>
                  <a:pt x="225" y="152"/>
                </a:lnTo>
                <a:lnTo>
                  <a:pt x="225" y="169"/>
                </a:lnTo>
                <a:lnTo>
                  <a:pt x="225" y="172"/>
                </a:lnTo>
                <a:lnTo>
                  <a:pt x="224" y="176"/>
                </a:lnTo>
                <a:lnTo>
                  <a:pt x="222" y="179"/>
                </a:lnTo>
                <a:lnTo>
                  <a:pt x="220" y="182"/>
                </a:lnTo>
                <a:lnTo>
                  <a:pt x="215" y="187"/>
                </a:lnTo>
                <a:lnTo>
                  <a:pt x="208" y="193"/>
                </a:lnTo>
                <a:lnTo>
                  <a:pt x="203" y="199"/>
                </a:lnTo>
                <a:lnTo>
                  <a:pt x="197" y="205"/>
                </a:lnTo>
                <a:lnTo>
                  <a:pt x="195" y="208"/>
                </a:lnTo>
                <a:lnTo>
                  <a:pt x="193" y="211"/>
                </a:lnTo>
                <a:lnTo>
                  <a:pt x="192" y="214"/>
                </a:lnTo>
                <a:lnTo>
                  <a:pt x="192" y="217"/>
                </a:lnTo>
                <a:lnTo>
                  <a:pt x="184" y="218"/>
                </a:lnTo>
                <a:lnTo>
                  <a:pt x="179" y="218"/>
                </a:lnTo>
                <a:lnTo>
                  <a:pt x="172" y="220"/>
                </a:lnTo>
                <a:lnTo>
                  <a:pt x="168" y="223"/>
                </a:lnTo>
                <a:lnTo>
                  <a:pt x="164" y="225"/>
                </a:lnTo>
                <a:lnTo>
                  <a:pt x="161" y="229"/>
                </a:lnTo>
                <a:lnTo>
                  <a:pt x="159" y="232"/>
                </a:lnTo>
                <a:lnTo>
                  <a:pt x="159" y="236"/>
                </a:lnTo>
                <a:lnTo>
                  <a:pt x="151" y="237"/>
                </a:lnTo>
                <a:lnTo>
                  <a:pt x="146" y="239"/>
                </a:lnTo>
                <a:lnTo>
                  <a:pt x="140" y="242"/>
                </a:lnTo>
                <a:lnTo>
                  <a:pt x="136" y="246"/>
                </a:lnTo>
                <a:lnTo>
                  <a:pt x="131" y="249"/>
                </a:lnTo>
                <a:lnTo>
                  <a:pt x="128" y="252"/>
                </a:lnTo>
                <a:lnTo>
                  <a:pt x="124" y="254"/>
                </a:lnTo>
                <a:lnTo>
                  <a:pt x="118" y="255"/>
                </a:lnTo>
                <a:lnTo>
                  <a:pt x="101" y="255"/>
                </a:lnTo>
                <a:lnTo>
                  <a:pt x="85" y="257"/>
                </a:lnTo>
                <a:lnTo>
                  <a:pt x="72" y="259"/>
                </a:lnTo>
                <a:lnTo>
                  <a:pt x="60" y="261"/>
                </a:lnTo>
                <a:lnTo>
                  <a:pt x="38" y="267"/>
                </a:lnTo>
                <a:lnTo>
                  <a:pt x="13" y="273"/>
                </a:lnTo>
                <a:lnTo>
                  <a:pt x="19" y="261"/>
                </a:lnTo>
                <a:lnTo>
                  <a:pt x="10" y="261"/>
                </a:lnTo>
                <a:lnTo>
                  <a:pt x="0" y="261"/>
                </a:lnTo>
                <a:lnTo>
                  <a:pt x="0" y="217"/>
                </a:lnTo>
                <a:lnTo>
                  <a:pt x="8" y="216"/>
                </a:lnTo>
                <a:lnTo>
                  <a:pt x="17" y="214"/>
                </a:lnTo>
                <a:lnTo>
                  <a:pt x="21" y="212"/>
                </a:lnTo>
                <a:lnTo>
                  <a:pt x="24" y="210"/>
                </a:lnTo>
                <a:lnTo>
                  <a:pt x="25" y="208"/>
                </a:lnTo>
                <a:lnTo>
                  <a:pt x="26" y="205"/>
                </a:lnTo>
                <a:lnTo>
                  <a:pt x="40" y="205"/>
                </a:lnTo>
                <a:lnTo>
                  <a:pt x="54" y="204"/>
                </a:lnTo>
                <a:lnTo>
                  <a:pt x="60" y="202"/>
                </a:lnTo>
                <a:lnTo>
                  <a:pt x="64" y="200"/>
                </a:lnTo>
                <a:lnTo>
                  <a:pt x="69" y="197"/>
                </a:lnTo>
                <a:lnTo>
                  <a:pt x="72" y="193"/>
                </a:lnTo>
                <a:lnTo>
                  <a:pt x="64" y="195"/>
                </a:lnTo>
                <a:lnTo>
                  <a:pt x="54" y="198"/>
                </a:lnTo>
                <a:lnTo>
                  <a:pt x="48" y="198"/>
                </a:lnTo>
                <a:lnTo>
                  <a:pt x="44" y="198"/>
                </a:lnTo>
                <a:lnTo>
                  <a:pt x="41" y="198"/>
                </a:lnTo>
                <a:lnTo>
                  <a:pt x="40" y="197"/>
                </a:lnTo>
                <a:lnTo>
                  <a:pt x="39" y="195"/>
                </a:lnTo>
                <a:lnTo>
                  <a:pt x="39" y="193"/>
                </a:lnTo>
                <a:lnTo>
                  <a:pt x="39" y="188"/>
                </a:lnTo>
                <a:lnTo>
                  <a:pt x="41" y="183"/>
                </a:lnTo>
                <a:lnTo>
                  <a:pt x="44" y="178"/>
                </a:lnTo>
                <a:lnTo>
                  <a:pt x="46" y="173"/>
                </a:lnTo>
                <a:lnTo>
                  <a:pt x="50" y="166"/>
                </a:lnTo>
                <a:lnTo>
                  <a:pt x="52" y="162"/>
                </a:lnTo>
                <a:lnTo>
                  <a:pt x="39" y="160"/>
                </a:lnTo>
                <a:lnTo>
                  <a:pt x="28" y="157"/>
                </a:lnTo>
                <a:lnTo>
                  <a:pt x="21" y="154"/>
                </a:lnTo>
                <a:lnTo>
                  <a:pt x="14" y="150"/>
                </a:lnTo>
                <a:lnTo>
                  <a:pt x="10" y="145"/>
                </a:lnTo>
                <a:lnTo>
                  <a:pt x="7" y="138"/>
                </a:lnTo>
                <a:lnTo>
                  <a:pt x="6" y="130"/>
                </a:lnTo>
                <a:lnTo>
                  <a:pt x="6" y="120"/>
                </a:lnTo>
                <a:lnTo>
                  <a:pt x="15" y="117"/>
                </a:lnTo>
                <a:lnTo>
                  <a:pt x="22" y="115"/>
                </a:lnTo>
                <a:lnTo>
                  <a:pt x="26" y="112"/>
                </a:lnTo>
                <a:lnTo>
                  <a:pt x="30" y="109"/>
                </a:lnTo>
                <a:lnTo>
                  <a:pt x="35" y="102"/>
                </a:lnTo>
                <a:lnTo>
                  <a:pt x="39" y="94"/>
                </a:lnTo>
                <a:lnTo>
                  <a:pt x="56" y="94"/>
                </a:lnTo>
                <a:lnTo>
                  <a:pt x="68" y="94"/>
                </a:lnTo>
                <a:lnTo>
                  <a:pt x="77" y="94"/>
                </a:lnTo>
                <a:lnTo>
                  <a:pt x="85" y="94"/>
                </a:lnTo>
                <a:lnTo>
                  <a:pt x="90" y="94"/>
                </a:lnTo>
                <a:lnTo>
                  <a:pt x="94" y="93"/>
                </a:lnTo>
                <a:lnTo>
                  <a:pt x="97" y="91"/>
                </a:lnTo>
                <a:lnTo>
                  <a:pt x="100" y="88"/>
                </a:lnTo>
                <a:lnTo>
                  <a:pt x="104" y="82"/>
                </a:lnTo>
                <a:lnTo>
                  <a:pt x="106" y="73"/>
                </a:lnTo>
                <a:lnTo>
                  <a:pt x="108" y="52"/>
                </a:lnTo>
                <a:lnTo>
                  <a:pt x="112" y="33"/>
                </a:lnTo>
                <a:lnTo>
                  <a:pt x="117" y="32"/>
                </a:lnTo>
                <a:lnTo>
                  <a:pt x="120" y="31"/>
                </a:lnTo>
                <a:lnTo>
                  <a:pt x="124" y="29"/>
                </a:lnTo>
                <a:lnTo>
                  <a:pt x="126" y="26"/>
                </a:lnTo>
                <a:lnTo>
                  <a:pt x="130" y="20"/>
                </a:lnTo>
                <a:lnTo>
                  <a:pt x="136" y="13"/>
                </a:lnTo>
                <a:lnTo>
                  <a:pt x="138" y="10"/>
                </a:lnTo>
                <a:lnTo>
                  <a:pt x="141" y="7"/>
                </a:lnTo>
                <a:lnTo>
                  <a:pt x="145" y="4"/>
                </a:lnTo>
                <a:lnTo>
                  <a:pt x="149" y="2"/>
                </a:lnTo>
                <a:lnTo>
                  <a:pt x="155" y="1"/>
                </a:lnTo>
                <a:lnTo>
                  <a:pt x="161" y="0"/>
                </a:lnTo>
                <a:lnTo>
                  <a:pt x="169" y="1"/>
                </a:lnTo>
                <a:lnTo>
                  <a:pt x="179" y="3"/>
                </a:lnTo>
                <a:lnTo>
                  <a:pt x="186" y="20"/>
                </a:lnTo>
                <a:lnTo>
                  <a:pt x="194" y="34"/>
                </a:lnTo>
                <a:lnTo>
                  <a:pt x="195" y="38"/>
                </a:lnTo>
                <a:lnTo>
                  <a:pt x="196" y="41"/>
                </a:lnTo>
                <a:lnTo>
                  <a:pt x="196" y="44"/>
                </a:lnTo>
                <a:lnTo>
                  <a:pt x="196" y="47"/>
                </a:lnTo>
                <a:lnTo>
                  <a:pt x="195" y="50"/>
                </a:lnTo>
                <a:lnTo>
                  <a:pt x="193" y="52"/>
                </a:lnTo>
                <a:lnTo>
                  <a:pt x="190" y="56"/>
                </a:lnTo>
                <a:lnTo>
                  <a:pt x="185" y="58"/>
                </a:lnTo>
                <a:lnTo>
                  <a:pt x="192" y="5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83" name="Freeform 235"/>
          <p:cNvSpPr>
            <a:spLocks/>
          </p:cNvSpPr>
          <p:nvPr>
            <p:custDataLst>
              <p:tags r:id="rId162"/>
            </p:custDataLst>
          </p:nvPr>
        </p:nvSpPr>
        <p:spPr bwMode="auto">
          <a:xfrm>
            <a:off x="5118100" y="2813051"/>
            <a:ext cx="306388" cy="390525"/>
          </a:xfrm>
          <a:custGeom>
            <a:avLst/>
            <a:gdLst>
              <a:gd name="T0" fmla="*/ 94 w 232"/>
              <a:gd name="T1" fmla="*/ 246 h 248"/>
              <a:gd name="T2" fmla="*/ 96 w 232"/>
              <a:gd name="T3" fmla="*/ 243 h 248"/>
              <a:gd name="T4" fmla="*/ 98 w 232"/>
              <a:gd name="T5" fmla="*/ 238 h 248"/>
              <a:gd name="T6" fmla="*/ 100 w 232"/>
              <a:gd name="T7" fmla="*/ 232 h 248"/>
              <a:gd name="T8" fmla="*/ 103 w 232"/>
              <a:gd name="T9" fmla="*/ 231 h 248"/>
              <a:gd name="T10" fmla="*/ 104 w 232"/>
              <a:gd name="T11" fmla="*/ 238 h 248"/>
              <a:gd name="T12" fmla="*/ 106 w 232"/>
              <a:gd name="T13" fmla="*/ 241 h 248"/>
              <a:gd name="T14" fmla="*/ 108 w 232"/>
              <a:gd name="T15" fmla="*/ 242 h 248"/>
              <a:gd name="T16" fmla="*/ 110 w 232"/>
              <a:gd name="T17" fmla="*/ 242 h 248"/>
              <a:gd name="T18" fmla="*/ 113 w 232"/>
              <a:gd name="T19" fmla="*/ 241 h 248"/>
              <a:gd name="T20" fmla="*/ 116 w 232"/>
              <a:gd name="T21" fmla="*/ 238 h 248"/>
              <a:gd name="T22" fmla="*/ 216 w 232"/>
              <a:gd name="T23" fmla="*/ 234 h 248"/>
              <a:gd name="T24" fmla="*/ 213 w 232"/>
              <a:gd name="T25" fmla="*/ 204 h 248"/>
              <a:gd name="T26" fmla="*/ 207 w 232"/>
              <a:gd name="T27" fmla="*/ 138 h 248"/>
              <a:gd name="T28" fmla="*/ 201 w 232"/>
              <a:gd name="T29" fmla="*/ 73 h 248"/>
              <a:gd name="T30" fmla="*/ 198 w 232"/>
              <a:gd name="T31" fmla="*/ 43 h 248"/>
              <a:gd name="T32" fmla="*/ 215 w 232"/>
              <a:gd name="T33" fmla="*/ 44 h 248"/>
              <a:gd name="T34" fmla="*/ 232 w 232"/>
              <a:gd name="T35" fmla="*/ 46 h 248"/>
              <a:gd name="T36" fmla="*/ 161 w 232"/>
              <a:gd name="T37" fmla="*/ 2 h 248"/>
              <a:gd name="T38" fmla="*/ 160 w 232"/>
              <a:gd name="T39" fmla="*/ 8 h 248"/>
              <a:gd name="T40" fmla="*/ 161 w 232"/>
              <a:gd name="T41" fmla="*/ 18 h 248"/>
              <a:gd name="T42" fmla="*/ 98 w 232"/>
              <a:gd name="T43" fmla="*/ 24 h 248"/>
              <a:gd name="T44" fmla="*/ 98 w 232"/>
              <a:gd name="T45" fmla="*/ 74 h 248"/>
              <a:gd name="T46" fmla="*/ 95 w 232"/>
              <a:gd name="T47" fmla="*/ 76 h 248"/>
              <a:gd name="T48" fmla="*/ 87 w 232"/>
              <a:gd name="T49" fmla="*/ 78 h 248"/>
              <a:gd name="T50" fmla="*/ 72 w 232"/>
              <a:gd name="T51" fmla="*/ 82 h 248"/>
              <a:gd name="T52" fmla="*/ 74 w 232"/>
              <a:gd name="T53" fmla="*/ 88 h 248"/>
              <a:gd name="T54" fmla="*/ 78 w 232"/>
              <a:gd name="T55" fmla="*/ 96 h 248"/>
              <a:gd name="T56" fmla="*/ 80 w 232"/>
              <a:gd name="T57" fmla="*/ 105 h 248"/>
              <a:gd name="T58" fmla="*/ 81 w 232"/>
              <a:gd name="T59" fmla="*/ 115 h 248"/>
              <a:gd name="T60" fmla="*/ 9 w 232"/>
              <a:gd name="T61" fmla="*/ 119 h 248"/>
              <a:gd name="T62" fmla="*/ 5 w 232"/>
              <a:gd name="T63" fmla="*/ 130 h 248"/>
              <a:gd name="T64" fmla="*/ 6 w 232"/>
              <a:gd name="T65" fmla="*/ 143 h 248"/>
              <a:gd name="T66" fmla="*/ 8 w 232"/>
              <a:gd name="T67" fmla="*/ 155 h 248"/>
              <a:gd name="T68" fmla="*/ 9 w 232"/>
              <a:gd name="T69" fmla="*/ 168 h 248"/>
              <a:gd name="T70" fmla="*/ 9 w 232"/>
              <a:gd name="T71" fmla="*/ 182 h 248"/>
              <a:gd name="T72" fmla="*/ 8 w 232"/>
              <a:gd name="T73" fmla="*/ 194 h 248"/>
              <a:gd name="T74" fmla="*/ 6 w 232"/>
              <a:gd name="T75" fmla="*/ 206 h 248"/>
              <a:gd name="T76" fmla="*/ 2 w 232"/>
              <a:gd name="T77" fmla="*/ 216 h 248"/>
              <a:gd name="T78" fmla="*/ 2 w 232"/>
              <a:gd name="T79" fmla="*/ 219 h 248"/>
              <a:gd name="T80" fmla="*/ 3 w 232"/>
              <a:gd name="T81" fmla="*/ 220 h 248"/>
              <a:gd name="T82" fmla="*/ 3 w 232"/>
              <a:gd name="T83" fmla="*/ 222 h 248"/>
              <a:gd name="T84" fmla="*/ 7 w 232"/>
              <a:gd name="T85" fmla="*/ 217 h 248"/>
              <a:gd name="T86" fmla="*/ 18 w 232"/>
              <a:gd name="T87" fmla="*/ 213 h 248"/>
              <a:gd name="T88" fmla="*/ 36 w 232"/>
              <a:gd name="T89" fmla="*/ 207 h 248"/>
              <a:gd name="T90" fmla="*/ 45 w 232"/>
              <a:gd name="T91" fmla="*/ 208 h 248"/>
              <a:gd name="T92" fmla="*/ 51 w 232"/>
              <a:gd name="T93" fmla="*/ 212 h 248"/>
              <a:gd name="T94" fmla="*/ 56 w 232"/>
              <a:gd name="T95" fmla="*/ 214 h 248"/>
              <a:gd name="T96" fmla="*/ 62 w 232"/>
              <a:gd name="T97" fmla="*/ 215 h 248"/>
              <a:gd name="T98" fmla="*/ 66 w 232"/>
              <a:gd name="T99" fmla="*/ 219 h 248"/>
              <a:gd name="T100" fmla="*/ 67 w 232"/>
              <a:gd name="T101" fmla="*/ 225 h 248"/>
              <a:gd name="T102" fmla="*/ 70 w 232"/>
              <a:gd name="T103" fmla="*/ 231 h 248"/>
              <a:gd name="T104" fmla="*/ 74 w 232"/>
              <a:gd name="T105" fmla="*/ 235 h 248"/>
              <a:gd name="T106" fmla="*/ 85 w 232"/>
              <a:gd name="T107" fmla="*/ 243 h 2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32" h="248">
                <a:moveTo>
                  <a:pt x="91" y="248"/>
                </a:moveTo>
                <a:lnTo>
                  <a:pt x="94" y="246"/>
                </a:lnTo>
                <a:lnTo>
                  <a:pt x="95" y="245"/>
                </a:lnTo>
                <a:lnTo>
                  <a:pt x="96" y="243"/>
                </a:lnTo>
                <a:lnTo>
                  <a:pt x="97" y="240"/>
                </a:lnTo>
                <a:lnTo>
                  <a:pt x="98" y="238"/>
                </a:lnTo>
                <a:lnTo>
                  <a:pt x="99" y="235"/>
                </a:lnTo>
                <a:lnTo>
                  <a:pt x="100" y="232"/>
                </a:lnTo>
                <a:lnTo>
                  <a:pt x="103" y="230"/>
                </a:lnTo>
                <a:lnTo>
                  <a:pt x="103" y="231"/>
                </a:lnTo>
                <a:lnTo>
                  <a:pt x="103" y="236"/>
                </a:lnTo>
                <a:lnTo>
                  <a:pt x="104" y="238"/>
                </a:lnTo>
                <a:lnTo>
                  <a:pt x="105" y="240"/>
                </a:lnTo>
                <a:lnTo>
                  <a:pt x="106" y="241"/>
                </a:lnTo>
                <a:lnTo>
                  <a:pt x="107" y="241"/>
                </a:lnTo>
                <a:lnTo>
                  <a:pt x="108" y="242"/>
                </a:lnTo>
                <a:lnTo>
                  <a:pt x="109" y="242"/>
                </a:lnTo>
                <a:lnTo>
                  <a:pt x="110" y="242"/>
                </a:lnTo>
                <a:lnTo>
                  <a:pt x="112" y="241"/>
                </a:lnTo>
                <a:lnTo>
                  <a:pt x="113" y="241"/>
                </a:lnTo>
                <a:lnTo>
                  <a:pt x="114" y="240"/>
                </a:lnTo>
                <a:lnTo>
                  <a:pt x="116" y="238"/>
                </a:lnTo>
                <a:lnTo>
                  <a:pt x="118" y="236"/>
                </a:lnTo>
                <a:lnTo>
                  <a:pt x="216" y="234"/>
                </a:lnTo>
                <a:lnTo>
                  <a:pt x="215" y="225"/>
                </a:lnTo>
                <a:lnTo>
                  <a:pt x="213" y="204"/>
                </a:lnTo>
                <a:lnTo>
                  <a:pt x="210" y="173"/>
                </a:lnTo>
                <a:lnTo>
                  <a:pt x="207" y="138"/>
                </a:lnTo>
                <a:lnTo>
                  <a:pt x="204" y="103"/>
                </a:lnTo>
                <a:lnTo>
                  <a:pt x="201" y="73"/>
                </a:lnTo>
                <a:lnTo>
                  <a:pt x="199" y="51"/>
                </a:lnTo>
                <a:lnTo>
                  <a:pt x="198" y="43"/>
                </a:lnTo>
                <a:lnTo>
                  <a:pt x="203" y="43"/>
                </a:lnTo>
                <a:lnTo>
                  <a:pt x="215" y="44"/>
                </a:lnTo>
                <a:lnTo>
                  <a:pt x="226" y="45"/>
                </a:lnTo>
                <a:lnTo>
                  <a:pt x="232" y="46"/>
                </a:lnTo>
                <a:lnTo>
                  <a:pt x="161" y="0"/>
                </a:lnTo>
                <a:lnTo>
                  <a:pt x="161" y="2"/>
                </a:lnTo>
                <a:lnTo>
                  <a:pt x="160" y="5"/>
                </a:lnTo>
                <a:lnTo>
                  <a:pt x="160" y="8"/>
                </a:lnTo>
                <a:lnTo>
                  <a:pt x="161" y="11"/>
                </a:lnTo>
                <a:lnTo>
                  <a:pt x="161" y="18"/>
                </a:lnTo>
                <a:lnTo>
                  <a:pt x="161" y="24"/>
                </a:lnTo>
                <a:lnTo>
                  <a:pt x="98" y="24"/>
                </a:lnTo>
                <a:lnTo>
                  <a:pt x="94" y="22"/>
                </a:lnTo>
                <a:lnTo>
                  <a:pt x="98" y="74"/>
                </a:lnTo>
                <a:lnTo>
                  <a:pt x="97" y="75"/>
                </a:lnTo>
                <a:lnTo>
                  <a:pt x="95" y="76"/>
                </a:lnTo>
                <a:lnTo>
                  <a:pt x="91" y="77"/>
                </a:lnTo>
                <a:lnTo>
                  <a:pt x="87" y="78"/>
                </a:lnTo>
                <a:lnTo>
                  <a:pt x="78" y="80"/>
                </a:lnTo>
                <a:lnTo>
                  <a:pt x="72" y="82"/>
                </a:lnTo>
                <a:lnTo>
                  <a:pt x="73" y="85"/>
                </a:lnTo>
                <a:lnTo>
                  <a:pt x="74" y="88"/>
                </a:lnTo>
                <a:lnTo>
                  <a:pt x="76" y="92"/>
                </a:lnTo>
                <a:lnTo>
                  <a:pt x="78" y="96"/>
                </a:lnTo>
                <a:lnTo>
                  <a:pt x="79" y="99"/>
                </a:lnTo>
                <a:lnTo>
                  <a:pt x="80" y="105"/>
                </a:lnTo>
                <a:lnTo>
                  <a:pt x="80" y="112"/>
                </a:lnTo>
                <a:lnTo>
                  <a:pt x="81" y="115"/>
                </a:lnTo>
                <a:lnTo>
                  <a:pt x="13" y="115"/>
                </a:lnTo>
                <a:lnTo>
                  <a:pt x="9" y="119"/>
                </a:lnTo>
                <a:lnTo>
                  <a:pt x="4" y="123"/>
                </a:lnTo>
                <a:lnTo>
                  <a:pt x="5" y="130"/>
                </a:lnTo>
                <a:lnTo>
                  <a:pt x="5" y="137"/>
                </a:lnTo>
                <a:lnTo>
                  <a:pt x="6" y="143"/>
                </a:lnTo>
                <a:lnTo>
                  <a:pt x="7" y="149"/>
                </a:lnTo>
                <a:lnTo>
                  <a:pt x="8" y="155"/>
                </a:lnTo>
                <a:lnTo>
                  <a:pt x="8" y="161"/>
                </a:lnTo>
                <a:lnTo>
                  <a:pt x="9" y="168"/>
                </a:lnTo>
                <a:lnTo>
                  <a:pt x="9" y="176"/>
                </a:lnTo>
                <a:lnTo>
                  <a:pt x="9" y="182"/>
                </a:lnTo>
                <a:lnTo>
                  <a:pt x="8" y="188"/>
                </a:lnTo>
                <a:lnTo>
                  <a:pt x="8" y="194"/>
                </a:lnTo>
                <a:lnTo>
                  <a:pt x="7" y="200"/>
                </a:lnTo>
                <a:lnTo>
                  <a:pt x="6" y="206"/>
                </a:lnTo>
                <a:lnTo>
                  <a:pt x="4" y="211"/>
                </a:lnTo>
                <a:lnTo>
                  <a:pt x="2" y="216"/>
                </a:lnTo>
                <a:lnTo>
                  <a:pt x="0" y="221"/>
                </a:lnTo>
                <a:lnTo>
                  <a:pt x="2" y="219"/>
                </a:lnTo>
                <a:lnTo>
                  <a:pt x="3" y="219"/>
                </a:lnTo>
                <a:lnTo>
                  <a:pt x="3" y="220"/>
                </a:lnTo>
                <a:lnTo>
                  <a:pt x="3" y="221"/>
                </a:lnTo>
                <a:lnTo>
                  <a:pt x="3" y="222"/>
                </a:lnTo>
                <a:lnTo>
                  <a:pt x="4" y="217"/>
                </a:lnTo>
                <a:lnTo>
                  <a:pt x="7" y="217"/>
                </a:lnTo>
                <a:lnTo>
                  <a:pt x="12" y="215"/>
                </a:lnTo>
                <a:lnTo>
                  <a:pt x="18" y="213"/>
                </a:lnTo>
                <a:lnTo>
                  <a:pt x="25" y="211"/>
                </a:lnTo>
                <a:lnTo>
                  <a:pt x="36" y="207"/>
                </a:lnTo>
                <a:lnTo>
                  <a:pt x="41" y="205"/>
                </a:lnTo>
                <a:lnTo>
                  <a:pt x="45" y="208"/>
                </a:lnTo>
                <a:lnTo>
                  <a:pt x="48" y="210"/>
                </a:lnTo>
                <a:lnTo>
                  <a:pt x="51" y="212"/>
                </a:lnTo>
                <a:lnTo>
                  <a:pt x="53" y="213"/>
                </a:lnTo>
                <a:lnTo>
                  <a:pt x="56" y="214"/>
                </a:lnTo>
                <a:lnTo>
                  <a:pt x="59" y="215"/>
                </a:lnTo>
                <a:lnTo>
                  <a:pt x="62" y="215"/>
                </a:lnTo>
                <a:lnTo>
                  <a:pt x="66" y="215"/>
                </a:lnTo>
                <a:lnTo>
                  <a:pt x="66" y="219"/>
                </a:lnTo>
                <a:lnTo>
                  <a:pt x="66" y="222"/>
                </a:lnTo>
                <a:lnTo>
                  <a:pt x="67" y="225"/>
                </a:lnTo>
                <a:lnTo>
                  <a:pt x="69" y="228"/>
                </a:lnTo>
                <a:lnTo>
                  <a:pt x="70" y="231"/>
                </a:lnTo>
                <a:lnTo>
                  <a:pt x="72" y="233"/>
                </a:lnTo>
                <a:lnTo>
                  <a:pt x="74" y="235"/>
                </a:lnTo>
                <a:lnTo>
                  <a:pt x="76" y="237"/>
                </a:lnTo>
                <a:lnTo>
                  <a:pt x="85" y="243"/>
                </a:lnTo>
                <a:lnTo>
                  <a:pt x="91" y="24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84" name="Freeform 236"/>
          <p:cNvSpPr>
            <a:spLocks/>
          </p:cNvSpPr>
          <p:nvPr>
            <p:custDataLst>
              <p:tags r:id="rId163"/>
            </p:custDataLst>
          </p:nvPr>
        </p:nvSpPr>
        <p:spPr bwMode="auto">
          <a:xfrm>
            <a:off x="5233989" y="2873376"/>
            <a:ext cx="414337" cy="468313"/>
          </a:xfrm>
          <a:custGeom>
            <a:avLst/>
            <a:gdLst>
              <a:gd name="T0" fmla="*/ 90 w 948"/>
              <a:gd name="T1" fmla="*/ 788 h 893"/>
              <a:gd name="T2" fmla="*/ 121 w 948"/>
              <a:gd name="T3" fmla="*/ 788 h 893"/>
              <a:gd name="T4" fmla="*/ 146 w 948"/>
              <a:gd name="T5" fmla="*/ 783 h 893"/>
              <a:gd name="T6" fmla="*/ 186 w 948"/>
              <a:gd name="T7" fmla="*/ 776 h 893"/>
              <a:gd name="T8" fmla="*/ 197 w 948"/>
              <a:gd name="T9" fmla="*/ 813 h 893"/>
              <a:gd name="T10" fmla="*/ 212 w 948"/>
              <a:gd name="T11" fmla="*/ 835 h 893"/>
              <a:gd name="T12" fmla="*/ 226 w 948"/>
              <a:gd name="T13" fmla="*/ 846 h 893"/>
              <a:gd name="T14" fmla="*/ 246 w 948"/>
              <a:gd name="T15" fmla="*/ 850 h 893"/>
              <a:gd name="T16" fmla="*/ 246 w 948"/>
              <a:gd name="T17" fmla="*/ 881 h 893"/>
              <a:gd name="T18" fmla="*/ 326 w 948"/>
              <a:gd name="T19" fmla="*/ 889 h 893"/>
              <a:gd name="T20" fmla="*/ 334 w 948"/>
              <a:gd name="T21" fmla="*/ 876 h 893"/>
              <a:gd name="T22" fmla="*/ 347 w 948"/>
              <a:gd name="T23" fmla="*/ 871 h 893"/>
              <a:gd name="T24" fmla="*/ 348 w 948"/>
              <a:gd name="T25" fmla="*/ 888 h 893"/>
              <a:gd name="T26" fmla="*/ 358 w 948"/>
              <a:gd name="T27" fmla="*/ 893 h 893"/>
              <a:gd name="T28" fmla="*/ 385 w 948"/>
              <a:gd name="T29" fmla="*/ 893 h 893"/>
              <a:gd name="T30" fmla="*/ 401 w 948"/>
              <a:gd name="T31" fmla="*/ 854 h 893"/>
              <a:gd name="T32" fmla="*/ 412 w 948"/>
              <a:gd name="T33" fmla="*/ 788 h 893"/>
              <a:gd name="T34" fmla="*/ 424 w 948"/>
              <a:gd name="T35" fmla="*/ 771 h 893"/>
              <a:gd name="T36" fmla="*/ 452 w 948"/>
              <a:gd name="T37" fmla="*/ 754 h 893"/>
              <a:gd name="T38" fmla="*/ 485 w 948"/>
              <a:gd name="T39" fmla="*/ 743 h 893"/>
              <a:gd name="T40" fmla="*/ 501 w 948"/>
              <a:gd name="T41" fmla="*/ 729 h 893"/>
              <a:gd name="T42" fmla="*/ 515 w 948"/>
              <a:gd name="T43" fmla="*/ 702 h 893"/>
              <a:gd name="T44" fmla="*/ 535 w 948"/>
              <a:gd name="T45" fmla="*/ 668 h 893"/>
              <a:gd name="T46" fmla="*/ 547 w 948"/>
              <a:gd name="T47" fmla="*/ 660 h 893"/>
              <a:gd name="T48" fmla="*/ 572 w 948"/>
              <a:gd name="T49" fmla="*/ 659 h 893"/>
              <a:gd name="T50" fmla="*/ 605 w 948"/>
              <a:gd name="T51" fmla="*/ 644 h 893"/>
              <a:gd name="T52" fmla="*/ 639 w 948"/>
              <a:gd name="T53" fmla="*/ 624 h 893"/>
              <a:gd name="T54" fmla="*/ 674 w 948"/>
              <a:gd name="T55" fmla="*/ 613 h 893"/>
              <a:gd name="T56" fmla="*/ 724 w 948"/>
              <a:gd name="T57" fmla="*/ 610 h 893"/>
              <a:gd name="T58" fmla="*/ 788 w 948"/>
              <a:gd name="T59" fmla="*/ 602 h 893"/>
              <a:gd name="T60" fmla="*/ 815 w 948"/>
              <a:gd name="T61" fmla="*/ 594 h 893"/>
              <a:gd name="T62" fmla="*/ 863 w 948"/>
              <a:gd name="T63" fmla="*/ 590 h 893"/>
              <a:gd name="T64" fmla="*/ 901 w 948"/>
              <a:gd name="T65" fmla="*/ 583 h 893"/>
              <a:gd name="T66" fmla="*/ 913 w 948"/>
              <a:gd name="T67" fmla="*/ 574 h 893"/>
              <a:gd name="T68" fmla="*/ 931 w 948"/>
              <a:gd name="T69" fmla="*/ 544 h 893"/>
              <a:gd name="T70" fmla="*/ 943 w 948"/>
              <a:gd name="T71" fmla="*/ 504 h 893"/>
              <a:gd name="T72" fmla="*/ 948 w 948"/>
              <a:gd name="T73" fmla="*/ 461 h 893"/>
              <a:gd name="T74" fmla="*/ 947 w 948"/>
              <a:gd name="T75" fmla="*/ 421 h 893"/>
              <a:gd name="T76" fmla="*/ 943 w 948"/>
              <a:gd name="T77" fmla="*/ 363 h 893"/>
              <a:gd name="T78" fmla="*/ 922 w 948"/>
              <a:gd name="T79" fmla="*/ 356 h 893"/>
              <a:gd name="T80" fmla="*/ 862 w 948"/>
              <a:gd name="T81" fmla="*/ 322 h 893"/>
              <a:gd name="T82" fmla="*/ 794 w 948"/>
              <a:gd name="T83" fmla="*/ 278 h 893"/>
              <a:gd name="T84" fmla="*/ 738 w 948"/>
              <a:gd name="T85" fmla="*/ 216 h 893"/>
              <a:gd name="T86" fmla="*/ 412 w 948"/>
              <a:gd name="T87" fmla="*/ 12 h 893"/>
              <a:gd name="T88" fmla="*/ 348 w 948"/>
              <a:gd name="T89" fmla="*/ 102 h 893"/>
              <a:gd name="T90" fmla="*/ 379 w 948"/>
              <a:gd name="T91" fmla="*/ 405 h 893"/>
              <a:gd name="T92" fmla="*/ 392 w 948"/>
              <a:gd name="T93" fmla="*/ 565 h 893"/>
              <a:gd name="T94" fmla="*/ 93 w 948"/>
              <a:gd name="T95" fmla="*/ 591 h 893"/>
              <a:gd name="T96" fmla="*/ 79 w 948"/>
              <a:gd name="T97" fmla="*/ 606 h 893"/>
              <a:gd name="T98" fmla="*/ 67 w 948"/>
              <a:gd name="T99" fmla="*/ 610 h 893"/>
              <a:gd name="T100" fmla="*/ 57 w 948"/>
              <a:gd name="T101" fmla="*/ 607 h 893"/>
              <a:gd name="T102" fmla="*/ 49 w 948"/>
              <a:gd name="T103" fmla="*/ 591 h 893"/>
              <a:gd name="T104" fmla="*/ 40 w 948"/>
              <a:gd name="T105" fmla="*/ 581 h 893"/>
              <a:gd name="T106" fmla="*/ 29 w 948"/>
              <a:gd name="T107" fmla="*/ 605 h 893"/>
              <a:gd name="T108" fmla="*/ 15 w 948"/>
              <a:gd name="T109" fmla="*/ 623 h 893"/>
              <a:gd name="T110" fmla="*/ 67 w 948"/>
              <a:gd name="T111" fmla="*/ 733 h 893"/>
              <a:gd name="T112" fmla="*/ 61 w 948"/>
              <a:gd name="T113" fmla="*/ 748 h 893"/>
              <a:gd name="T114" fmla="*/ 62 w 948"/>
              <a:gd name="T115" fmla="*/ 760 h 893"/>
              <a:gd name="T116" fmla="*/ 54 w 948"/>
              <a:gd name="T117" fmla="*/ 788 h 8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948" h="893">
                <a:moveTo>
                  <a:pt x="54" y="788"/>
                </a:moveTo>
                <a:lnTo>
                  <a:pt x="74" y="788"/>
                </a:lnTo>
                <a:lnTo>
                  <a:pt x="90" y="788"/>
                </a:lnTo>
                <a:lnTo>
                  <a:pt x="100" y="788"/>
                </a:lnTo>
                <a:lnTo>
                  <a:pt x="106" y="788"/>
                </a:lnTo>
                <a:lnTo>
                  <a:pt x="121" y="788"/>
                </a:lnTo>
                <a:lnTo>
                  <a:pt x="135" y="787"/>
                </a:lnTo>
                <a:lnTo>
                  <a:pt x="140" y="785"/>
                </a:lnTo>
                <a:lnTo>
                  <a:pt x="146" y="783"/>
                </a:lnTo>
                <a:lnTo>
                  <a:pt x="150" y="780"/>
                </a:lnTo>
                <a:lnTo>
                  <a:pt x="152" y="776"/>
                </a:lnTo>
                <a:lnTo>
                  <a:pt x="186" y="776"/>
                </a:lnTo>
                <a:lnTo>
                  <a:pt x="189" y="788"/>
                </a:lnTo>
                <a:lnTo>
                  <a:pt x="193" y="800"/>
                </a:lnTo>
                <a:lnTo>
                  <a:pt x="197" y="813"/>
                </a:lnTo>
                <a:lnTo>
                  <a:pt x="204" y="825"/>
                </a:lnTo>
                <a:lnTo>
                  <a:pt x="207" y="830"/>
                </a:lnTo>
                <a:lnTo>
                  <a:pt x="212" y="835"/>
                </a:lnTo>
                <a:lnTo>
                  <a:pt x="216" y="839"/>
                </a:lnTo>
                <a:lnTo>
                  <a:pt x="221" y="843"/>
                </a:lnTo>
                <a:lnTo>
                  <a:pt x="226" y="846"/>
                </a:lnTo>
                <a:lnTo>
                  <a:pt x="233" y="848"/>
                </a:lnTo>
                <a:lnTo>
                  <a:pt x="239" y="849"/>
                </a:lnTo>
                <a:lnTo>
                  <a:pt x="246" y="850"/>
                </a:lnTo>
                <a:lnTo>
                  <a:pt x="246" y="862"/>
                </a:lnTo>
                <a:lnTo>
                  <a:pt x="246" y="871"/>
                </a:lnTo>
                <a:lnTo>
                  <a:pt x="246" y="881"/>
                </a:lnTo>
                <a:lnTo>
                  <a:pt x="246" y="893"/>
                </a:lnTo>
                <a:lnTo>
                  <a:pt x="326" y="893"/>
                </a:lnTo>
                <a:lnTo>
                  <a:pt x="326" y="889"/>
                </a:lnTo>
                <a:lnTo>
                  <a:pt x="328" y="884"/>
                </a:lnTo>
                <a:lnTo>
                  <a:pt x="330" y="880"/>
                </a:lnTo>
                <a:lnTo>
                  <a:pt x="334" y="876"/>
                </a:lnTo>
                <a:lnTo>
                  <a:pt x="339" y="868"/>
                </a:lnTo>
                <a:lnTo>
                  <a:pt x="346" y="862"/>
                </a:lnTo>
                <a:lnTo>
                  <a:pt x="347" y="871"/>
                </a:lnTo>
                <a:lnTo>
                  <a:pt x="348" y="880"/>
                </a:lnTo>
                <a:lnTo>
                  <a:pt x="349" y="884"/>
                </a:lnTo>
                <a:lnTo>
                  <a:pt x="348" y="888"/>
                </a:lnTo>
                <a:lnTo>
                  <a:pt x="348" y="891"/>
                </a:lnTo>
                <a:lnTo>
                  <a:pt x="346" y="893"/>
                </a:lnTo>
                <a:lnTo>
                  <a:pt x="358" y="893"/>
                </a:lnTo>
                <a:lnTo>
                  <a:pt x="371" y="893"/>
                </a:lnTo>
                <a:lnTo>
                  <a:pt x="381" y="893"/>
                </a:lnTo>
                <a:lnTo>
                  <a:pt x="385" y="893"/>
                </a:lnTo>
                <a:lnTo>
                  <a:pt x="392" y="881"/>
                </a:lnTo>
                <a:lnTo>
                  <a:pt x="397" y="868"/>
                </a:lnTo>
                <a:lnTo>
                  <a:pt x="401" y="854"/>
                </a:lnTo>
                <a:lnTo>
                  <a:pt x="404" y="841"/>
                </a:lnTo>
                <a:lnTo>
                  <a:pt x="408" y="813"/>
                </a:lnTo>
                <a:lnTo>
                  <a:pt x="412" y="788"/>
                </a:lnTo>
                <a:lnTo>
                  <a:pt x="415" y="782"/>
                </a:lnTo>
                <a:lnTo>
                  <a:pt x="418" y="776"/>
                </a:lnTo>
                <a:lnTo>
                  <a:pt x="424" y="771"/>
                </a:lnTo>
                <a:lnTo>
                  <a:pt x="428" y="767"/>
                </a:lnTo>
                <a:lnTo>
                  <a:pt x="440" y="759"/>
                </a:lnTo>
                <a:lnTo>
                  <a:pt x="452" y="754"/>
                </a:lnTo>
                <a:lnTo>
                  <a:pt x="464" y="750"/>
                </a:lnTo>
                <a:lnTo>
                  <a:pt x="475" y="746"/>
                </a:lnTo>
                <a:lnTo>
                  <a:pt x="485" y="743"/>
                </a:lnTo>
                <a:lnTo>
                  <a:pt x="492" y="739"/>
                </a:lnTo>
                <a:lnTo>
                  <a:pt x="496" y="734"/>
                </a:lnTo>
                <a:lnTo>
                  <a:pt x="501" y="729"/>
                </a:lnTo>
                <a:lnTo>
                  <a:pt x="505" y="723"/>
                </a:lnTo>
                <a:lnTo>
                  <a:pt x="508" y="716"/>
                </a:lnTo>
                <a:lnTo>
                  <a:pt x="515" y="702"/>
                </a:lnTo>
                <a:lnTo>
                  <a:pt x="521" y="690"/>
                </a:lnTo>
                <a:lnTo>
                  <a:pt x="528" y="678"/>
                </a:lnTo>
                <a:lnTo>
                  <a:pt x="535" y="668"/>
                </a:lnTo>
                <a:lnTo>
                  <a:pt x="539" y="664"/>
                </a:lnTo>
                <a:lnTo>
                  <a:pt x="542" y="662"/>
                </a:lnTo>
                <a:lnTo>
                  <a:pt x="547" y="660"/>
                </a:lnTo>
                <a:lnTo>
                  <a:pt x="551" y="659"/>
                </a:lnTo>
                <a:lnTo>
                  <a:pt x="562" y="660"/>
                </a:lnTo>
                <a:lnTo>
                  <a:pt x="572" y="659"/>
                </a:lnTo>
                <a:lnTo>
                  <a:pt x="581" y="657"/>
                </a:lnTo>
                <a:lnTo>
                  <a:pt x="588" y="653"/>
                </a:lnTo>
                <a:lnTo>
                  <a:pt x="605" y="644"/>
                </a:lnTo>
                <a:lnTo>
                  <a:pt x="620" y="634"/>
                </a:lnTo>
                <a:lnTo>
                  <a:pt x="629" y="629"/>
                </a:lnTo>
                <a:lnTo>
                  <a:pt x="639" y="624"/>
                </a:lnTo>
                <a:lnTo>
                  <a:pt x="649" y="620"/>
                </a:lnTo>
                <a:lnTo>
                  <a:pt x="661" y="616"/>
                </a:lnTo>
                <a:lnTo>
                  <a:pt x="674" y="613"/>
                </a:lnTo>
                <a:lnTo>
                  <a:pt x="688" y="610"/>
                </a:lnTo>
                <a:lnTo>
                  <a:pt x="706" y="609"/>
                </a:lnTo>
                <a:lnTo>
                  <a:pt x="724" y="610"/>
                </a:lnTo>
                <a:lnTo>
                  <a:pt x="777" y="610"/>
                </a:lnTo>
                <a:lnTo>
                  <a:pt x="783" y="606"/>
                </a:lnTo>
                <a:lnTo>
                  <a:pt x="788" y="602"/>
                </a:lnTo>
                <a:lnTo>
                  <a:pt x="795" y="600"/>
                </a:lnTo>
                <a:lnTo>
                  <a:pt x="800" y="598"/>
                </a:lnTo>
                <a:lnTo>
                  <a:pt x="815" y="594"/>
                </a:lnTo>
                <a:lnTo>
                  <a:pt x="830" y="592"/>
                </a:lnTo>
                <a:lnTo>
                  <a:pt x="845" y="591"/>
                </a:lnTo>
                <a:lnTo>
                  <a:pt x="863" y="590"/>
                </a:lnTo>
                <a:lnTo>
                  <a:pt x="879" y="588"/>
                </a:lnTo>
                <a:lnTo>
                  <a:pt x="897" y="585"/>
                </a:lnTo>
                <a:lnTo>
                  <a:pt x="901" y="583"/>
                </a:lnTo>
                <a:lnTo>
                  <a:pt x="906" y="580"/>
                </a:lnTo>
                <a:lnTo>
                  <a:pt x="909" y="577"/>
                </a:lnTo>
                <a:lnTo>
                  <a:pt x="913" y="574"/>
                </a:lnTo>
                <a:lnTo>
                  <a:pt x="920" y="565"/>
                </a:lnTo>
                <a:lnTo>
                  <a:pt x="925" y="555"/>
                </a:lnTo>
                <a:lnTo>
                  <a:pt x="931" y="544"/>
                </a:lnTo>
                <a:lnTo>
                  <a:pt x="935" y="531"/>
                </a:lnTo>
                <a:lnTo>
                  <a:pt x="940" y="518"/>
                </a:lnTo>
                <a:lnTo>
                  <a:pt x="943" y="504"/>
                </a:lnTo>
                <a:lnTo>
                  <a:pt x="945" y="490"/>
                </a:lnTo>
                <a:lnTo>
                  <a:pt x="947" y="475"/>
                </a:lnTo>
                <a:lnTo>
                  <a:pt x="948" y="461"/>
                </a:lnTo>
                <a:lnTo>
                  <a:pt x="948" y="447"/>
                </a:lnTo>
                <a:lnTo>
                  <a:pt x="948" y="434"/>
                </a:lnTo>
                <a:lnTo>
                  <a:pt x="947" y="421"/>
                </a:lnTo>
                <a:lnTo>
                  <a:pt x="945" y="410"/>
                </a:lnTo>
                <a:lnTo>
                  <a:pt x="943" y="400"/>
                </a:lnTo>
                <a:lnTo>
                  <a:pt x="943" y="363"/>
                </a:lnTo>
                <a:lnTo>
                  <a:pt x="939" y="362"/>
                </a:lnTo>
                <a:lnTo>
                  <a:pt x="931" y="359"/>
                </a:lnTo>
                <a:lnTo>
                  <a:pt x="922" y="356"/>
                </a:lnTo>
                <a:lnTo>
                  <a:pt x="912" y="350"/>
                </a:lnTo>
                <a:lnTo>
                  <a:pt x="888" y="337"/>
                </a:lnTo>
                <a:lnTo>
                  <a:pt x="862" y="322"/>
                </a:lnTo>
                <a:lnTo>
                  <a:pt x="835" y="305"/>
                </a:lnTo>
                <a:lnTo>
                  <a:pt x="811" y="290"/>
                </a:lnTo>
                <a:lnTo>
                  <a:pt x="794" y="278"/>
                </a:lnTo>
                <a:lnTo>
                  <a:pt x="784" y="271"/>
                </a:lnTo>
                <a:lnTo>
                  <a:pt x="764" y="240"/>
                </a:lnTo>
                <a:lnTo>
                  <a:pt x="738" y="216"/>
                </a:lnTo>
                <a:lnTo>
                  <a:pt x="405" y="0"/>
                </a:lnTo>
                <a:lnTo>
                  <a:pt x="408" y="6"/>
                </a:lnTo>
                <a:lnTo>
                  <a:pt x="412" y="12"/>
                </a:lnTo>
                <a:lnTo>
                  <a:pt x="339" y="12"/>
                </a:lnTo>
                <a:lnTo>
                  <a:pt x="341" y="36"/>
                </a:lnTo>
                <a:lnTo>
                  <a:pt x="348" y="102"/>
                </a:lnTo>
                <a:lnTo>
                  <a:pt x="358" y="193"/>
                </a:lnTo>
                <a:lnTo>
                  <a:pt x="368" y="299"/>
                </a:lnTo>
                <a:lnTo>
                  <a:pt x="379" y="405"/>
                </a:lnTo>
                <a:lnTo>
                  <a:pt x="386" y="498"/>
                </a:lnTo>
                <a:lnTo>
                  <a:pt x="390" y="535"/>
                </a:lnTo>
                <a:lnTo>
                  <a:pt x="392" y="565"/>
                </a:lnTo>
                <a:lnTo>
                  <a:pt x="393" y="583"/>
                </a:lnTo>
                <a:lnTo>
                  <a:pt x="392" y="591"/>
                </a:lnTo>
                <a:lnTo>
                  <a:pt x="93" y="591"/>
                </a:lnTo>
                <a:lnTo>
                  <a:pt x="88" y="597"/>
                </a:lnTo>
                <a:lnTo>
                  <a:pt x="82" y="603"/>
                </a:lnTo>
                <a:lnTo>
                  <a:pt x="79" y="606"/>
                </a:lnTo>
                <a:lnTo>
                  <a:pt x="76" y="608"/>
                </a:lnTo>
                <a:lnTo>
                  <a:pt x="71" y="609"/>
                </a:lnTo>
                <a:lnTo>
                  <a:pt x="67" y="610"/>
                </a:lnTo>
                <a:lnTo>
                  <a:pt x="64" y="609"/>
                </a:lnTo>
                <a:lnTo>
                  <a:pt x="60" y="608"/>
                </a:lnTo>
                <a:lnTo>
                  <a:pt x="57" y="607"/>
                </a:lnTo>
                <a:lnTo>
                  <a:pt x="55" y="604"/>
                </a:lnTo>
                <a:lnTo>
                  <a:pt x="51" y="598"/>
                </a:lnTo>
                <a:lnTo>
                  <a:pt x="49" y="591"/>
                </a:lnTo>
                <a:lnTo>
                  <a:pt x="47" y="578"/>
                </a:lnTo>
                <a:lnTo>
                  <a:pt x="47" y="573"/>
                </a:lnTo>
                <a:lnTo>
                  <a:pt x="40" y="581"/>
                </a:lnTo>
                <a:lnTo>
                  <a:pt x="36" y="590"/>
                </a:lnTo>
                <a:lnTo>
                  <a:pt x="33" y="598"/>
                </a:lnTo>
                <a:lnTo>
                  <a:pt x="29" y="605"/>
                </a:lnTo>
                <a:lnTo>
                  <a:pt x="26" y="612"/>
                </a:lnTo>
                <a:lnTo>
                  <a:pt x="22" y="618"/>
                </a:lnTo>
                <a:lnTo>
                  <a:pt x="15" y="623"/>
                </a:lnTo>
                <a:lnTo>
                  <a:pt x="6" y="628"/>
                </a:lnTo>
                <a:lnTo>
                  <a:pt x="0" y="709"/>
                </a:lnTo>
                <a:lnTo>
                  <a:pt x="67" y="733"/>
                </a:lnTo>
                <a:lnTo>
                  <a:pt x="65" y="738"/>
                </a:lnTo>
                <a:lnTo>
                  <a:pt x="62" y="743"/>
                </a:lnTo>
                <a:lnTo>
                  <a:pt x="61" y="748"/>
                </a:lnTo>
                <a:lnTo>
                  <a:pt x="61" y="753"/>
                </a:lnTo>
                <a:lnTo>
                  <a:pt x="61" y="757"/>
                </a:lnTo>
                <a:lnTo>
                  <a:pt x="62" y="760"/>
                </a:lnTo>
                <a:lnTo>
                  <a:pt x="65" y="763"/>
                </a:lnTo>
                <a:lnTo>
                  <a:pt x="67" y="764"/>
                </a:lnTo>
                <a:lnTo>
                  <a:pt x="54" y="78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85" name="Freeform 237"/>
          <p:cNvSpPr>
            <a:spLocks/>
          </p:cNvSpPr>
          <p:nvPr>
            <p:custDataLst>
              <p:tags r:id="rId164"/>
            </p:custDataLst>
          </p:nvPr>
        </p:nvSpPr>
        <p:spPr bwMode="auto">
          <a:xfrm>
            <a:off x="5332413" y="2479675"/>
            <a:ext cx="493712" cy="579438"/>
          </a:xfrm>
          <a:custGeom>
            <a:avLst/>
            <a:gdLst>
              <a:gd name="T0" fmla="*/ 238 w 373"/>
              <a:gd name="T1" fmla="*/ 367 h 370"/>
              <a:gd name="T2" fmla="*/ 244 w 373"/>
              <a:gd name="T3" fmla="*/ 365 h 370"/>
              <a:gd name="T4" fmla="*/ 255 w 373"/>
              <a:gd name="T5" fmla="*/ 368 h 370"/>
              <a:gd name="T6" fmla="*/ 372 w 373"/>
              <a:gd name="T7" fmla="*/ 277 h 370"/>
              <a:gd name="T8" fmla="*/ 369 w 373"/>
              <a:gd name="T9" fmla="*/ 270 h 370"/>
              <a:gd name="T10" fmla="*/ 361 w 373"/>
              <a:gd name="T11" fmla="*/ 264 h 370"/>
              <a:gd name="T12" fmla="*/ 347 w 373"/>
              <a:gd name="T13" fmla="*/ 259 h 370"/>
              <a:gd name="T14" fmla="*/ 339 w 373"/>
              <a:gd name="T15" fmla="*/ 254 h 370"/>
              <a:gd name="T16" fmla="*/ 336 w 373"/>
              <a:gd name="T17" fmla="*/ 247 h 370"/>
              <a:gd name="T18" fmla="*/ 337 w 373"/>
              <a:gd name="T19" fmla="*/ 228 h 370"/>
              <a:gd name="T20" fmla="*/ 337 w 373"/>
              <a:gd name="T21" fmla="*/ 196 h 370"/>
              <a:gd name="T22" fmla="*/ 334 w 373"/>
              <a:gd name="T23" fmla="*/ 168 h 370"/>
              <a:gd name="T24" fmla="*/ 329 w 373"/>
              <a:gd name="T25" fmla="*/ 155 h 370"/>
              <a:gd name="T26" fmla="*/ 323 w 373"/>
              <a:gd name="T27" fmla="*/ 142 h 370"/>
              <a:gd name="T28" fmla="*/ 315 w 373"/>
              <a:gd name="T29" fmla="*/ 109 h 370"/>
              <a:gd name="T30" fmla="*/ 306 w 373"/>
              <a:gd name="T31" fmla="*/ 90 h 370"/>
              <a:gd name="T32" fmla="*/ 297 w 373"/>
              <a:gd name="T33" fmla="*/ 78 h 370"/>
              <a:gd name="T34" fmla="*/ 300 w 373"/>
              <a:gd name="T35" fmla="*/ 63 h 370"/>
              <a:gd name="T36" fmla="*/ 301 w 373"/>
              <a:gd name="T37" fmla="*/ 43 h 370"/>
              <a:gd name="T38" fmla="*/ 302 w 373"/>
              <a:gd name="T39" fmla="*/ 23 h 370"/>
              <a:gd name="T40" fmla="*/ 310 w 373"/>
              <a:gd name="T41" fmla="*/ 7 h 370"/>
              <a:gd name="T42" fmla="*/ 302 w 373"/>
              <a:gd name="T43" fmla="*/ 6 h 370"/>
              <a:gd name="T44" fmla="*/ 278 w 373"/>
              <a:gd name="T45" fmla="*/ 12 h 370"/>
              <a:gd name="T46" fmla="*/ 245 w 373"/>
              <a:gd name="T47" fmla="*/ 12 h 370"/>
              <a:gd name="T48" fmla="*/ 206 w 373"/>
              <a:gd name="T49" fmla="*/ 14 h 370"/>
              <a:gd name="T50" fmla="*/ 168 w 373"/>
              <a:gd name="T51" fmla="*/ 24 h 370"/>
              <a:gd name="T52" fmla="*/ 145 w 373"/>
              <a:gd name="T53" fmla="*/ 32 h 370"/>
              <a:gd name="T54" fmla="*/ 124 w 373"/>
              <a:gd name="T55" fmla="*/ 44 h 370"/>
              <a:gd name="T56" fmla="*/ 123 w 373"/>
              <a:gd name="T57" fmla="*/ 52 h 370"/>
              <a:gd name="T58" fmla="*/ 131 w 373"/>
              <a:gd name="T59" fmla="*/ 89 h 370"/>
              <a:gd name="T60" fmla="*/ 134 w 373"/>
              <a:gd name="T61" fmla="*/ 93 h 370"/>
              <a:gd name="T62" fmla="*/ 141 w 373"/>
              <a:gd name="T63" fmla="*/ 98 h 370"/>
              <a:gd name="T64" fmla="*/ 142 w 373"/>
              <a:gd name="T65" fmla="*/ 102 h 370"/>
              <a:gd name="T66" fmla="*/ 139 w 373"/>
              <a:gd name="T67" fmla="*/ 107 h 370"/>
              <a:gd name="T68" fmla="*/ 128 w 373"/>
              <a:gd name="T69" fmla="*/ 107 h 370"/>
              <a:gd name="T70" fmla="*/ 106 w 373"/>
              <a:gd name="T71" fmla="*/ 113 h 370"/>
              <a:gd name="T72" fmla="*/ 95 w 373"/>
              <a:gd name="T73" fmla="*/ 122 h 370"/>
              <a:gd name="T74" fmla="*/ 90 w 373"/>
              <a:gd name="T75" fmla="*/ 131 h 370"/>
              <a:gd name="T76" fmla="*/ 82 w 373"/>
              <a:gd name="T77" fmla="*/ 137 h 370"/>
              <a:gd name="T78" fmla="*/ 66 w 373"/>
              <a:gd name="T79" fmla="*/ 150 h 370"/>
              <a:gd name="T80" fmla="*/ 51 w 373"/>
              <a:gd name="T81" fmla="*/ 158 h 370"/>
              <a:gd name="T82" fmla="*/ 31 w 373"/>
              <a:gd name="T83" fmla="*/ 160 h 370"/>
              <a:gd name="T84" fmla="*/ 20 w 373"/>
              <a:gd name="T85" fmla="*/ 164 h 370"/>
              <a:gd name="T86" fmla="*/ 8 w 373"/>
              <a:gd name="T87" fmla="*/ 174 h 370"/>
              <a:gd name="T88" fmla="*/ 0 w 373"/>
              <a:gd name="T89" fmla="*/ 200 h 370"/>
              <a:gd name="T90" fmla="*/ 179 w 373"/>
              <a:gd name="T91" fmla="*/ 331 h 370"/>
              <a:gd name="T92" fmla="*/ 201 w 373"/>
              <a:gd name="T93" fmla="*/ 352 h 370"/>
              <a:gd name="T94" fmla="*/ 229 w 373"/>
              <a:gd name="T95" fmla="*/ 368 h 3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73" h="370">
                <a:moveTo>
                  <a:pt x="235" y="370"/>
                </a:moveTo>
                <a:lnTo>
                  <a:pt x="237" y="369"/>
                </a:lnTo>
                <a:lnTo>
                  <a:pt x="238" y="367"/>
                </a:lnTo>
                <a:lnTo>
                  <a:pt x="238" y="367"/>
                </a:lnTo>
                <a:lnTo>
                  <a:pt x="240" y="366"/>
                </a:lnTo>
                <a:lnTo>
                  <a:pt x="241" y="366"/>
                </a:lnTo>
                <a:lnTo>
                  <a:pt x="242" y="365"/>
                </a:lnTo>
                <a:lnTo>
                  <a:pt x="244" y="365"/>
                </a:lnTo>
                <a:lnTo>
                  <a:pt x="245" y="365"/>
                </a:lnTo>
                <a:lnTo>
                  <a:pt x="249" y="366"/>
                </a:lnTo>
                <a:lnTo>
                  <a:pt x="252" y="367"/>
                </a:lnTo>
                <a:lnTo>
                  <a:pt x="255" y="368"/>
                </a:lnTo>
                <a:lnTo>
                  <a:pt x="257" y="370"/>
                </a:lnTo>
                <a:lnTo>
                  <a:pt x="373" y="282"/>
                </a:lnTo>
                <a:lnTo>
                  <a:pt x="373" y="279"/>
                </a:lnTo>
                <a:lnTo>
                  <a:pt x="372" y="277"/>
                </a:lnTo>
                <a:lnTo>
                  <a:pt x="372" y="275"/>
                </a:lnTo>
                <a:lnTo>
                  <a:pt x="371" y="273"/>
                </a:lnTo>
                <a:lnTo>
                  <a:pt x="370" y="271"/>
                </a:lnTo>
                <a:lnTo>
                  <a:pt x="369" y="270"/>
                </a:lnTo>
                <a:lnTo>
                  <a:pt x="368" y="268"/>
                </a:lnTo>
                <a:lnTo>
                  <a:pt x="367" y="267"/>
                </a:lnTo>
                <a:lnTo>
                  <a:pt x="364" y="265"/>
                </a:lnTo>
                <a:lnTo>
                  <a:pt x="361" y="264"/>
                </a:lnTo>
                <a:lnTo>
                  <a:pt x="358" y="262"/>
                </a:lnTo>
                <a:lnTo>
                  <a:pt x="354" y="261"/>
                </a:lnTo>
                <a:lnTo>
                  <a:pt x="351" y="260"/>
                </a:lnTo>
                <a:lnTo>
                  <a:pt x="347" y="259"/>
                </a:lnTo>
                <a:lnTo>
                  <a:pt x="344" y="258"/>
                </a:lnTo>
                <a:lnTo>
                  <a:pt x="342" y="256"/>
                </a:lnTo>
                <a:lnTo>
                  <a:pt x="340" y="255"/>
                </a:lnTo>
                <a:lnTo>
                  <a:pt x="339" y="254"/>
                </a:lnTo>
                <a:lnTo>
                  <a:pt x="338" y="252"/>
                </a:lnTo>
                <a:lnTo>
                  <a:pt x="337" y="251"/>
                </a:lnTo>
                <a:lnTo>
                  <a:pt x="337" y="249"/>
                </a:lnTo>
                <a:lnTo>
                  <a:pt x="336" y="247"/>
                </a:lnTo>
                <a:lnTo>
                  <a:pt x="336" y="245"/>
                </a:lnTo>
                <a:lnTo>
                  <a:pt x="336" y="243"/>
                </a:lnTo>
                <a:lnTo>
                  <a:pt x="336" y="235"/>
                </a:lnTo>
                <a:lnTo>
                  <a:pt x="337" y="228"/>
                </a:lnTo>
                <a:lnTo>
                  <a:pt x="338" y="220"/>
                </a:lnTo>
                <a:lnTo>
                  <a:pt x="338" y="214"/>
                </a:lnTo>
                <a:lnTo>
                  <a:pt x="338" y="205"/>
                </a:lnTo>
                <a:lnTo>
                  <a:pt x="337" y="196"/>
                </a:lnTo>
                <a:lnTo>
                  <a:pt x="337" y="186"/>
                </a:lnTo>
                <a:lnTo>
                  <a:pt x="336" y="177"/>
                </a:lnTo>
                <a:lnTo>
                  <a:pt x="335" y="172"/>
                </a:lnTo>
                <a:lnTo>
                  <a:pt x="334" y="168"/>
                </a:lnTo>
                <a:lnTo>
                  <a:pt x="333" y="164"/>
                </a:lnTo>
                <a:lnTo>
                  <a:pt x="332" y="160"/>
                </a:lnTo>
                <a:lnTo>
                  <a:pt x="330" y="157"/>
                </a:lnTo>
                <a:lnTo>
                  <a:pt x="329" y="155"/>
                </a:lnTo>
                <a:lnTo>
                  <a:pt x="327" y="153"/>
                </a:lnTo>
                <a:lnTo>
                  <a:pt x="325" y="152"/>
                </a:lnTo>
                <a:lnTo>
                  <a:pt x="324" y="147"/>
                </a:lnTo>
                <a:lnTo>
                  <a:pt x="323" y="142"/>
                </a:lnTo>
                <a:lnTo>
                  <a:pt x="322" y="136"/>
                </a:lnTo>
                <a:lnTo>
                  <a:pt x="321" y="130"/>
                </a:lnTo>
                <a:lnTo>
                  <a:pt x="319" y="120"/>
                </a:lnTo>
                <a:lnTo>
                  <a:pt x="315" y="109"/>
                </a:lnTo>
                <a:lnTo>
                  <a:pt x="313" y="104"/>
                </a:lnTo>
                <a:lnTo>
                  <a:pt x="311" y="99"/>
                </a:lnTo>
                <a:lnTo>
                  <a:pt x="308" y="94"/>
                </a:lnTo>
                <a:lnTo>
                  <a:pt x="306" y="90"/>
                </a:lnTo>
                <a:lnTo>
                  <a:pt x="304" y="86"/>
                </a:lnTo>
                <a:lnTo>
                  <a:pt x="301" y="83"/>
                </a:lnTo>
                <a:lnTo>
                  <a:pt x="299" y="80"/>
                </a:lnTo>
                <a:lnTo>
                  <a:pt x="297" y="78"/>
                </a:lnTo>
                <a:lnTo>
                  <a:pt x="298" y="74"/>
                </a:lnTo>
                <a:lnTo>
                  <a:pt x="299" y="69"/>
                </a:lnTo>
                <a:lnTo>
                  <a:pt x="300" y="66"/>
                </a:lnTo>
                <a:lnTo>
                  <a:pt x="300" y="63"/>
                </a:lnTo>
                <a:lnTo>
                  <a:pt x="301" y="60"/>
                </a:lnTo>
                <a:lnTo>
                  <a:pt x="303" y="57"/>
                </a:lnTo>
                <a:lnTo>
                  <a:pt x="302" y="50"/>
                </a:lnTo>
                <a:lnTo>
                  <a:pt x="301" y="43"/>
                </a:lnTo>
                <a:lnTo>
                  <a:pt x="301" y="37"/>
                </a:lnTo>
                <a:lnTo>
                  <a:pt x="301" y="32"/>
                </a:lnTo>
                <a:lnTo>
                  <a:pt x="301" y="27"/>
                </a:lnTo>
                <a:lnTo>
                  <a:pt x="302" y="23"/>
                </a:lnTo>
                <a:lnTo>
                  <a:pt x="303" y="19"/>
                </a:lnTo>
                <a:lnTo>
                  <a:pt x="304" y="16"/>
                </a:lnTo>
                <a:lnTo>
                  <a:pt x="307" y="11"/>
                </a:lnTo>
                <a:lnTo>
                  <a:pt x="310" y="7"/>
                </a:lnTo>
                <a:lnTo>
                  <a:pt x="312" y="3"/>
                </a:lnTo>
                <a:lnTo>
                  <a:pt x="314" y="0"/>
                </a:lnTo>
                <a:lnTo>
                  <a:pt x="308" y="3"/>
                </a:lnTo>
                <a:lnTo>
                  <a:pt x="302" y="6"/>
                </a:lnTo>
                <a:lnTo>
                  <a:pt x="297" y="8"/>
                </a:lnTo>
                <a:lnTo>
                  <a:pt x="290" y="9"/>
                </a:lnTo>
                <a:lnTo>
                  <a:pt x="284" y="11"/>
                </a:lnTo>
                <a:lnTo>
                  <a:pt x="278" y="12"/>
                </a:lnTo>
                <a:lnTo>
                  <a:pt x="271" y="12"/>
                </a:lnTo>
                <a:lnTo>
                  <a:pt x="264" y="12"/>
                </a:lnTo>
                <a:lnTo>
                  <a:pt x="256" y="12"/>
                </a:lnTo>
                <a:lnTo>
                  <a:pt x="245" y="12"/>
                </a:lnTo>
                <a:lnTo>
                  <a:pt x="233" y="12"/>
                </a:lnTo>
                <a:lnTo>
                  <a:pt x="222" y="12"/>
                </a:lnTo>
                <a:lnTo>
                  <a:pt x="215" y="13"/>
                </a:lnTo>
                <a:lnTo>
                  <a:pt x="206" y="14"/>
                </a:lnTo>
                <a:lnTo>
                  <a:pt x="197" y="16"/>
                </a:lnTo>
                <a:lnTo>
                  <a:pt x="187" y="18"/>
                </a:lnTo>
                <a:lnTo>
                  <a:pt x="177" y="21"/>
                </a:lnTo>
                <a:lnTo>
                  <a:pt x="168" y="24"/>
                </a:lnTo>
                <a:lnTo>
                  <a:pt x="159" y="26"/>
                </a:lnTo>
                <a:lnTo>
                  <a:pt x="153" y="29"/>
                </a:lnTo>
                <a:lnTo>
                  <a:pt x="150" y="30"/>
                </a:lnTo>
                <a:lnTo>
                  <a:pt x="145" y="32"/>
                </a:lnTo>
                <a:lnTo>
                  <a:pt x="140" y="34"/>
                </a:lnTo>
                <a:lnTo>
                  <a:pt x="135" y="37"/>
                </a:lnTo>
                <a:lnTo>
                  <a:pt x="130" y="40"/>
                </a:lnTo>
                <a:lnTo>
                  <a:pt x="124" y="44"/>
                </a:lnTo>
                <a:lnTo>
                  <a:pt x="119" y="48"/>
                </a:lnTo>
                <a:lnTo>
                  <a:pt x="116" y="51"/>
                </a:lnTo>
                <a:lnTo>
                  <a:pt x="118" y="52"/>
                </a:lnTo>
                <a:lnTo>
                  <a:pt x="123" y="52"/>
                </a:lnTo>
                <a:lnTo>
                  <a:pt x="128" y="53"/>
                </a:lnTo>
                <a:lnTo>
                  <a:pt x="131" y="53"/>
                </a:lnTo>
                <a:lnTo>
                  <a:pt x="131" y="88"/>
                </a:lnTo>
                <a:lnTo>
                  <a:pt x="131" y="89"/>
                </a:lnTo>
                <a:lnTo>
                  <a:pt x="131" y="90"/>
                </a:lnTo>
                <a:lnTo>
                  <a:pt x="132" y="91"/>
                </a:lnTo>
                <a:lnTo>
                  <a:pt x="133" y="92"/>
                </a:lnTo>
                <a:lnTo>
                  <a:pt x="134" y="93"/>
                </a:lnTo>
                <a:lnTo>
                  <a:pt x="136" y="94"/>
                </a:lnTo>
                <a:lnTo>
                  <a:pt x="138" y="95"/>
                </a:lnTo>
                <a:lnTo>
                  <a:pt x="140" y="97"/>
                </a:lnTo>
                <a:lnTo>
                  <a:pt x="141" y="98"/>
                </a:lnTo>
                <a:lnTo>
                  <a:pt x="141" y="99"/>
                </a:lnTo>
                <a:lnTo>
                  <a:pt x="142" y="100"/>
                </a:lnTo>
                <a:lnTo>
                  <a:pt x="142" y="101"/>
                </a:lnTo>
                <a:lnTo>
                  <a:pt x="142" y="102"/>
                </a:lnTo>
                <a:lnTo>
                  <a:pt x="141" y="104"/>
                </a:lnTo>
                <a:lnTo>
                  <a:pt x="141" y="105"/>
                </a:lnTo>
                <a:lnTo>
                  <a:pt x="140" y="106"/>
                </a:lnTo>
                <a:lnTo>
                  <a:pt x="139" y="107"/>
                </a:lnTo>
                <a:lnTo>
                  <a:pt x="138" y="107"/>
                </a:lnTo>
                <a:lnTo>
                  <a:pt x="136" y="107"/>
                </a:lnTo>
                <a:lnTo>
                  <a:pt x="135" y="108"/>
                </a:lnTo>
                <a:lnTo>
                  <a:pt x="128" y="107"/>
                </a:lnTo>
                <a:lnTo>
                  <a:pt x="120" y="107"/>
                </a:lnTo>
                <a:lnTo>
                  <a:pt x="116" y="108"/>
                </a:lnTo>
                <a:lnTo>
                  <a:pt x="112" y="111"/>
                </a:lnTo>
                <a:lnTo>
                  <a:pt x="106" y="113"/>
                </a:lnTo>
                <a:lnTo>
                  <a:pt x="101" y="116"/>
                </a:lnTo>
                <a:lnTo>
                  <a:pt x="99" y="118"/>
                </a:lnTo>
                <a:lnTo>
                  <a:pt x="97" y="120"/>
                </a:lnTo>
                <a:lnTo>
                  <a:pt x="95" y="122"/>
                </a:lnTo>
                <a:lnTo>
                  <a:pt x="93" y="124"/>
                </a:lnTo>
                <a:lnTo>
                  <a:pt x="92" y="126"/>
                </a:lnTo>
                <a:lnTo>
                  <a:pt x="91" y="128"/>
                </a:lnTo>
                <a:lnTo>
                  <a:pt x="90" y="131"/>
                </a:lnTo>
                <a:lnTo>
                  <a:pt x="90" y="133"/>
                </a:lnTo>
                <a:lnTo>
                  <a:pt x="87" y="134"/>
                </a:lnTo>
                <a:lnTo>
                  <a:pt x="84" y="135"/>
                </a:lnTo>
                <a:lnTo>
                  <a:pt x="82" y="137"/>
                </a:lnTo>
                <a:lnTo>
                  <a:pt x="79" y="139"/>
                </a:lnTo>
                <a:lnTo>
                  <a:pt x="74" y="143"/>
                </a:lnTo>
                <a:lnTo>
                  <a:pt x="69" y="148"/>
                </a:lnTo>
                <a:lnTo>
                  <a:pt x="66" y="150"/>
                </a:lnTo>
                <a:lnTo>
                  <a:pt x="62" y="152"/>
                </a:lnTo>
                <a:lnTo>
                  <a:pt x="59" y="155"/>
                </a:lnTo>
                <a:lnTo>
                  <a:pt x="55" y="156"/>
                </a:lnTo>
                <a:lnTo>
                  <a:pt x="51" y="158"/>
                </a:lnTo>
                <a:lnTo>
                  <a:pt x="46" y="159"/>
                </a:lnTo>
                <a:lnTo>
                  <a:pt x="41" y="160"/>
                </a:lnTo>
                <a:lnTo>
                  <a:pt x="35" y="160"/>
                </a:lnTo>
                <a:lnTo>
                  <a:pt x="31" y="160"/>
                </a:lnTo>
                <a:lnTo>
                  <a:pt x="29" y="161"/>
                </a:lnTo>
                <a:lnTo>
                  <a:pt x="26" y="161"/>
                </a:lnTo>
                <a:lnTo>
                  <a:pt x="24" y="162"/>
                </a:lnTo>
                <a:lnTo>
                  <a:pt x="20" y="164"/>
                </a:lnTo>
                <a:lnTo>
                  <a:pt x="17" y="167"/>
                </a:lnTo>
                <a:lnTo>
                  <a:pt x="13" y="169"/>
                </a:lnTo>
                <a:lnTo>
                  <a:pt x="10" y="172"/>
                </a:lnTo>
                <a:lnTo>
                  <a:pt x="8" y="174"/>
                </a:lnTo>
                <a:lnTo>
                  <a:pt x="6" y="175"/>
                </a:lnTo>
                <a:lnTo>
                  <a:pt x="3" y="176"/>
                </a:lnTo>
                <a:lnTo>
                  <a:pt x="0" y="177"/>
                </a:lnTo>
                <a:lnTo>
                  <a:pt x="0" y="200"/>
                </a:lnTo>
                <a:lnTo>
                  <a:pt x="0" y="208"/>
                </a:lnTo>
                <a:lnTo>
                  <a:pt x="69" y="253"/>
                </a:lnTo>
                <a:lnTo>
                  <a:pt x="170" y="323"/>
                </a:lnTo>
                <a:lnTo>
                  <a:pt x="179" y="331"/>
                </a:lnTo>
                <a:lnTo>
                  <a:pt x="185" y="341"/>
                </a:lnTo>
                <a:lnTo>
                  <a:pt x="189" y="344"/>
                </a:lnTo>
                <a:lnTo>
                  <a:pt x="194" y="347"/>
                </a:lnTo>
                <a:lnTo>
                  <a:pt x="201" y="352"/>
                </a:lnTo>
                <a:lnTo>
                  <a:pt x="210" y="357"/>
                </a:lnTo>
                <a:lnTo>
                  <a:pt x="218" y="362"/>
                </a:lnTo>
                <a:lnTo>
                  <a:pt x="226" y="366"/>
                </a:lnTo>
                <a:lnTo>
                  <a:pt x="229" y="368"/>
                </a:lnTo>
                <a:lnTo>
                  <a:pt x="232" y="369"/>
                </a:lnTo>
                <a:lnTo>
                  <a:pt x="234" y="370"/>
                </a:lnTo>
                <a:lnTo>
                  <a:pt x="235" y="37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86" name="Freeform 238"/>
          <p:cNvSpPr>
            <a:spLocks/>
          </p:cNvSpPr>
          <p:nvPr>
            <p:custDataLst>
              <p:tags r:id="rId165"/>
            </p:custDataLst>
          </p:nvPr>
        </p:nvSpPr>
        <p:spPr bwMode="auto">
          <a:xfrm>
            <a:off x="5768976" y="2614613"/>
            <a:ext cx="384175" cy="436562"/>
          </a:xfrm>
          <a:custGeom>
            <a:avLst/>
            <a:gdLst>
              <a:gd name="T0" fmla="*/ 36 w 877"/>
              <a:gd name="T1" fmla="*/ 141 h 826"/>
              <a:gd name="T2" fmla="*/ 46 w 877"/>
              <a:gd name="T3" fmla="*/ 109 h 826"/>
              <a:gd name="T4" fmla="*/ 46 w 877"/>
              <a:gd name="T5" fmla="*/ 70 h 826"/>
              <a:gd name="T6" fmla="*/ 61 w 877"/>
              <a:gd name="T7" fmla="*/ 64 h 826"/>
              <a:gd name="T8" fmla="*/ 89 w 877"/>
              <a:gd name="T9" fmla="*/ 55 h 826"/>
              <a:gd name="T10" fmla="*/ 99 w 877"/>
              <a:gd name="T11" fmla="*/ 20 h 826"/>
              <a:gd name="T12" fmla="*/ 168 w 877"/>
              <a:gd name="T13" fmla="*/ 6 h 826"/>
              <a:gd name="T14" fmla="*/ 242 w 877"/>
              <a:gd name="T15" fmla="*/ 24 h 826"/>
              <a:gd name="T16" fmla="*/ 273 w 877"/>
              <a:gd name="T17" fmla="*/ 43 h 826"/>
              <a:gd name="T18" fmla="*/ 285 w 877"/>
              <a:gd name="T19" fmla="*/ 78 h 826"/>
              <a:gd name="T20" fmla="*/ 295 w 877"/>
              <a:gd name="T21" fmla="*/ 101 h 826"/>
              <a:gd name="T22" fmla="*/ 325 w 877"/>
              <a:gd name="T23" fmla="*/ 110 h 826"/>
              <a:gd name="T24" fmla="*/ 363 w 877"/>
              <a:gd name="T25" fmla="*/ 109 h 826"/>
              <a:gd name="T26" fmla="*/ 421 w 877"/>
              <a:gd name="T27" fmla="*/ 133 h 826"/>
              <a:gd name="T28" fmla="*/ 478 w 877"/>
              <a:gd name="T29" fmla="*/ 162 h 826"/>
              <a:gd name="T30" fmla="*/ 513 w 877"/>
              <a:gd name="T31" fmla="*/ 166 h 826"/>
              <a:gd name="T32" fmla="*/ 538 w 877"/>
              <a:gd name="T33" fmla="*/ 158 h 826"/>
              <a:gd name="T34" fmla="*/ 549 w 877"/>
              <a:gd name="T35" fmla="*/ 126 h 826"/>
              <a:gd name="T36" fmla="*/ 544 w 877"/>
              <a:gd name="T37" fmla="*/ 103 h 826"/>
              <a:gd name="T38" fmla="*/ 531 w 877"/>
              <a:gd name="T39" fmla="*/ 81 h 826"/>
              <a:gd name="T40" fmla="*/ 539 w 877"/>
              <a:gd name="T41" fmla="*/ 49 h 826"/>
              <a:gd name="T42" fmla="*/ 574 w 877"/>
              <a:gd name="T43" fmla="*/ 34 h 826"/>
              <a:gd name="T44" fmla="*/ 617 w 877"/>
              <a:gd name="T45" fmla="*/ 4 h 826"/>
              <a:gd name="T46" fmla="*/ 650 w 877"/>
              <a:gd name="T47" fmla="*/ 0 h 826"/>
              <a:gd name="T48" fmla="*/ 681 w 877"/>
              <a:gd name="T49" fmla="*/ 6 h 826"/>
              <a:gd name="T50" fmla="*/ 695 w 877"/>
              <a:gd name="T51" fmla="*/ 24 h 826"/>
              <a:gd name="T52" fmla="*/ 706 w 877"/>
              <a:gd name="T53" fmla="*/ 50 h 826"/>
              <a:gd name="T54" fmla="*/ 728 w 877"/>
              <a:gd name="T55" fmla="*/ 63 h 826"/>
              <a:gd name="T56" fmla="*/ 798 w 877"/>
              <a:gd name="T57" fmla="*/ 71 h 826"/>
              <a:gd name="T58" fmla="*/ 830 w 877"/>
              <a:gd name="T59" fmla="*/ 97 h 826"/>
              <a:gd name="T60" fmla="*/ 834 w 877"/>
              <a:gd name="T61" fmla="*/ 117 h 826"/>
              <a:gd name="T62" fmla="*/ 843 w 877"/>
              <a:gd name="T63" fmla="*/ 140 h 826"/>
              <a:gd name="T64" fmla="*/ 836 w 877"/>
              <a:gd name="T65" fmla="*/ 159 h 826"/>
              <a:gd name="T66" fmla="*/ 824 w 877"/>
              <a:gd name="T67" fmla="*/ 170 h 826"/>
              <a:gd name="T68" fmla="*/ 829 w 877"/>
              <a:gd name="T69" fmla="*/ 207 h 826"/>
              <a:gd name="T70" fmla="*/ 858 w 877"/>
              <a:gd name="T71" fmla="*/ 245 h 826"/>
              <a:gd name="T72" fmla="*/ 876 w 877"/>
              <a:gd name="T73" fmla="*/ 687 h 826"/>
              <a:gd name="T74" fmla="*/ 877 w 877"/>
              <a:gd name="T75" fmla="*/ 741 h 826"/>
              <a:gd name="T76" fmla="*/ 870 w 877"/>
              <a:gd name="T77" fmla="*/ 775 h 826"/>
              <a:gd name="T78" fmla="*/ 848 w 877"/>
              <a:gd name="T79" fmla="*/ 783 h 826"/>
              <a:gd name="T80" fmla="*/ 830 w 877"/>
              <a:gd name="T81" fmla="*/ 804 h 826"/>
              <a:gd name="T82" fmla="*/ 366 w 877"/>
              <a:gd name="T83" fmla="*/ 593 h 826"/>
              <a:gd name="T84" fmla="*/ 331 w 877"/>
              <a:gd name="T85" fmla="*/ 607 h 826"/>
              <a:gd name="T86" fmla="*/ 292 w 877"/>
              <a:gd name="T87" fmla="*/ 626 h 826"/>
              <a:gd name="T88" fmla="*/ 263 w 877"/>
              <a:gd name="T89" fmla="*/ 627 h 826"/>
              <a:gd name="T90" fmla="*/ 230 w 877"/>
              <a:gd name="T91" fmla="*/ 609 h 826"/>
              <a:gd name="T92" fmla="*/ 193 w 877"/>
              <a:gd name="T93" fmla="*/ 586 h 826"/>
              <a:gd name="T94" fmla="*/ 152 w 877"/>
              <a:gd name="T95" fmla="*/ 578 h 826"/>
              <a:gd name="T96" fmla="*/ 138 w 877"/>
              <a:gd name="T97" fmla="*/ 577 h 826"/>
              <a:gd name="T98" fmla="*/ 130 w 877"/>
              <a:gd name="T99" fmla="*/ 553 h 826"/>
              <a:gd name="T100" fmla="*/ 109 w 877"/>
              <a:gd name="T101" fmla="*/ 535 h 826"/>
              <a:gd name="T102" fmla="*/ 63 w 877"/>
              <a:gd name="T103" fmla="*/ 517 h 826"/>
              <a:gd name="T104" fmla="*/ 28 w 877"/>
              <a:gd name="T105" fmla="*/ 499 h 826"/>
              <a:gd name="T106" fmla="*/ 16 w 877"/>
              <a:gd name="T107" fmla="*/ 482 h 826"/>
              <a:gd name="T108" fmla="*/ 14 w 877"/>
              <a:gd name="T109" fmla="*/ 439 h 826"/>
              <a:gd name="T110" fmla="*/ 19 w 877"/>
              <a:gd name="T111" fmla="*/ 352 h 826"/>
              <a:gd name="T112" fmla="*/ 17 w 877"/>
              <a:gd name="T113" fmla="*/ 258 h 826"/>
              <a:gd name="T114" fmla="*/ 4 w 877"/>
              <a:gd name="T115" fmla="*/ 202 h 8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877" h="826">
                <a:moveTo>
                  <a:pt x="0" y="190"/>
                </a:moveTo>
                <a:lnTo>
                  <a:pt x="16" y="167"/>
                </a:lnTo>
                <a:lnTo>
                  <a:pt x="33" y="147"/>
                </a:lnTo>
                <a:lnTo>
                  <a:pt x="36" y="141"/>
                </a:lnTo>
                <a:lnTo>
                  <a:pt x="39" y="133"/>
                </a:lnTo>
                <a:lnTo>
                  <a:pt x="41" y="126"/>
                </a:lnTo>
                <a:lnTo>
                  <a:pt x="43" y="118"/>
                </a:lnTo>
                <a:lnTo>
                  <a:pt x="46" y="109"/>
                </a:lnTo>
                <a:lnTo>
                  <a:pt x="47" y="99"/>
                </a:lnTo>
                <a:lnTo>
                  <a:pt x="47" y="87"/>
                </a:lnTo>
                <a:lnTo>
                  <a:pt x="46" y="73"/>
                </a:lnTo>
                <a:lnTo>
                  <a:pt x="46" y="70"/>
                </a:lnTo>
                <a:lnTo>
                  <a:pt x="47" y="67"/>
                </a:lnTo>
                <a:lnTo>
                  <a:pt x="49" y="66"/>
                </a:lnTo>
                <a:lnTo>
                  <a:pt x="52" y="65"/>
                </a:lnTo>
                <a:lnTo>
                  <a:pt x="61" y="64"/>
                </a:lnTo>
                <a:lnTo>
                  <a:pt x="72" y="63"/>
                </a:lnTo>
                <a:lnTo>
                  <a:pt x="78" y="61"/>
                </a:lnTo>
                <a:lnTo>
                  <a:pt x="83" y="59"/>
                </a:lnTo>
                <a:lnTo>
                  <a:pt x="89" y="55"/>
                </a:lnTo>
                <a:lnTo>
                  <a:pt x="93" y="50"/>
                </a:lnTo>
                <a:lnTo>
                  <a:pt x="96" y="42"/>
                </a:lnTo>
                <a:lnTo>
                  <a:pt x="98" y="33"/>
                </a:lnTo>
                <a:lnTo>
                  <a:pt x="99" y="20"/>
                </a:lnTo>
                <a:lnTo>
                  <a:pt x="98" y="6"/>
                </a:lnTo>
                <a:lnTo>
                  <a:pt x="124" y="4"/>
                </a:lnTo>
                <a:lnTo>
                  <a:pt x="147" y="5"/>
                </a:lnTo>
                <a:lnTo>
                  <a:pt x="168" y="6"/>
                </a:lnTo>
                <a:lnTo>
                  <a:pt x="188" y="9"/>
                </a:lnTo>
                <a:lnTo>
                  <a:pt x="208" y="13"/>
                </a:lnTo>
                <a:lnTo>
                  <a:pt x="226" y="18"/>
                </a:lnTo>
                <a:lnTo>
                  <a:pt x="242" y="24"/>
                </a:lnTo>
                <a:lnTo>
                  <a:pt x="259" y="31"/>
                </a:lnTo>
                <a:lnTo>
                  <a:pt x="264" y="35"/>
                </a:lnTo>
                <a:lnTo>
                  <a:pt x="269" y="39"/>
                </a:lnTo>
                <a:lnTo>
                  <a:pt x="273" y="43"/>
                </a:lnTo>
                <a:lnTo>
                  <a:pt x="276" y="47"/>
                </a:lnTo>
                <a:lnTo>
                  <a:pt x="281" y="57"/>
                </a:lnTo>
                <a:lnTo>
                  <a:pt x="283" y="67"/>
                </a:lnTo>
                <a:lnTo>
                  <a:pt x="285" y="78"/>
                </a:lnTo>
                <a:lnTo>
                  <a:pt x="288" y="88"/>
                </a:lnTo>
                <a:lnTo>
                  <a:pt x="289" y="93"/>
                </a:lnTo>
                <a:lnTo>
                  <a:pt x="292" y="97"/>
                </a:lnTo>
                <a:lnTo>
                  <a:pt x="295" y="101"/>
                </a:lnTo>
                <a:lnTo>
                  <a:pt x="298" y="105"/>
                </a:lnTo>
                <a:lnTo>
                  <a:pt x="306" y="108"/>
                </a:lnTo>
                <a:lnTo>
                  <a:pt x="315" y="110"/>
                </a:lnTo>
                <a:lnTo>
                  <a:pt x="325" y="110"/>
                </a:lnTo>
                <a:lnTo>
                  <a:pt x="334" y="110"/>
                </a:lnTo>
                <a:lnTo>
                  <a:pt x="344" y="109"/>
                </a:lnTo>
                <a:lnTo>
                  <a:pt x="354" y="109"/>
                </a:lnTo>
                <a:lnTo>
                  <a:pt x="363" y="109"/>
                </a:lnTo>
                <a:lnTo>
                  <a:pt x="372" y="111"/>
                </a:lnTo>
                <a:lnTo>
                  <a:pt x="388" y="117"/>
                </a:lnTo>
                <a:lnTo>
                  <a:pt x="405" y="124"/>
                </a:lnTo>
                <a:lnTo>
                  <a:pt x="421" y="133"/>
                </a:lnTo>
                <a:lnTo>
                  <a:pt x="438" y="143"/>
                </a:lnTo>
                <a:lnTo>
                  <a:pt x="454" y="152"/>
                </a:lnTo>
                <a:lnTo>
                  <a:pt x="471" y="159"/>
                </a:lnTo>
                <a:lnTo>
                  <a:pt x="478" y="162"/>
                </a:lnTo>
                <a:lnTo>
                  <a:pt x="487" y="164"/>
                </a:lnTo>
                <a:lnTo>
                  <a:pt x="496" y="166"/>
                </a:lnTo>
                <a:lnTo>
                  <a:pt x="505" y="166"/>
                </a:lnTo>
                <a:lnTo>
                  <a:pt x="513" y="166"/>
                </a:lnTo>
                <a:lnTo>
                  <a:pt x="521" y="166"/>
                </a:lnTo>
                <a:lnTo>
                  <a:pt x="529" y="166"/>
                </a:lnTo>
                <a:lnTo>
                  <a:pt x="538" y="166"/>
                </a:lnTo>
                <a:lnTo>
                  <a:pt x="538" y="158"/>
                </a:lnTo>
                <a:lnTo>
                  <a:pt x="540" y="150"/>
                </a:lnTo>
                <a:lnTo>
                  <a:pt x="542" y="143"/>
                </a:lnTo>
                <a:lnTo>
                  <a:pt x="544" y="137"/>
                </a:lnTo>
                <a:lnTo>
                  <a:pt x="549" y="126"/>
                </a:lnTo>
                <a:lnTo>
                  <a:pt x="551" y="117"/>
                </a:lnTo>
                <a:lnTo>
                  <a:pt x="550" y="112"/>
                </a:lnTo>
                <a:lnTo>
                  <a:pt x="547" y="108"/>
                </a:lnTo>
                <a:lnTo>
                  <a:pt x="544" y="103"/>
                </a:lnTo>
                <a:lnTo>
                  <a:pt x="541" y="98"/>
                </a:lnTo>
                <a:lnTo>
                  <a:pt x="537" y="93"/>
                </a:lnTo>
                <a:lnTo>
                  <a:pt x="534" y="87"/>
                </a:lnTo>
                <a:lnTo>
                  <a:pt x="531" y="81"/>
                </a:lnTo>
                <a:lnTo>
                  <a:pt x="531" y="73"/>
                </a:lnTo>
                <a:lnTo>
                  <a:pt x="531" y="61"/>
                </a:lnTo>
                <a:lnTo>
                  <a:pt x="531" y="49"/>
                </a:lnTo>
                <a:lnTo>
                  <a:pt x="539" y="49"/>
                </a:lnTo>
                <a:lnTo>
                  <a:pt x="547" y="47"/>
                </a:lnTo>
                <a:lnTo>
                  <a:pt x="554" y="45"/>
                </a:lnTo>
                <a:lnTo>
                  <a:pt x="562" y="42"/>
                </a:lnTo>
                <a:lnTo>
                  <a:pt x="574" y="34"/>
                </a:lnTo>
                <a:lnTo>
                  <a:pt x="586" y="24"/>
                </a:lnTo>
                <a:lnTo>
                  <a:pt x="598" y="15"/>
                </a:lnTo>
                <a:lnTo>
                  <a:pt x="610" y="7"/>
                </a:lnTo>
                <a:lnTo>
                  <a:pt x="617" y="4"/>
                </a:lnTo>
                <a:lnTo>
                  <a:pt x="623" y="2"/>
                </a:lnTo>
                <a:lnTo>
                  <a:pt x="630" y="0"/>
                </a:lnTo>
                <a:lnTo>
                  <a:pt x="638" y="0"/>
                </a:lnTo>
                <a:lnTo>
                  <a:pt x="650" y="0"/>
                </a:lnTo>
                <a:lnTo>
                  <a:pt x="659" y="1"/>
                </a:lnTo>
                <a:lnTo>
                  <a:pt x="668" y="2"/>
                </a:lnTo>
                <a:lnTo>
                  <a:pt x="676" y="4"/>
                </a:lnTo>
                <a:lnTo>
                  <a:pt x="681" y="6"/>
                </a:lnTo>
                <a:lnTo>
                  <a:pt x="685" y="9"/>
                </a:lnTo>
                <a:lnTo>
                  <a:pt x="688" y="12"/>
                </a:lnTo>
                <a:lnTo>
                  <a:pt x="691" y="16"/>
                </a:lnTo>
                <a:lnTo>
                  <a:pt x="695" y="24"/>
                </a:lnTo>
                <a:lnTo>
                  <a:pt x="698" y="34"/>
                </a:lnTo>
                <a:lnTo>
                  <a:pt x="700" y="39"/>
                </a:lnTo>
                <a:lnTo>
                  <a:pt x="702" y="44"/>
                </a:lnTo>
                <a:lnTo>
                  <a:pt x="706" y="50"/>
                </a:lnTo>
                <a:lnTo>
                  <a:pt x="710" y="55"/>
                </a:lnTo>
                <a:lnTo>
                  <a:pt x="715" y="58"/>
                </a:lnTo>
                <a:lnTo>
                  <a:pt x="721" y="61"/>
                </a:lnTo>
                <a:lnTo>
                  <a:pt x="728" y="63"/>
                </a:lnTo>
                <a:lnTo>
                  <a:pt x="734" y="65"/>
                </a:lnTo>
                <a:lnTo>
                  <a:pt x="750" y="67"/>
                </a:lnTo>
                <a:lnTo>
                  <a:pt x="765" y="69"/>
                </a:lnTo>
                <a:lnTo>
                  <a:pt x="798" y="71"/>
                </a:lnTo>
                <a:lnTo>
                  <a:pt x="830" y="73"/>
                </a:lnTo>
                <a:lnTo>
                  <a:pt x="830" y="83"/>
                </a:lnTo>
                <a:lnTo>
                  <a:pt x="830" y="90"/>
                </a:lnTo>
                <a:lnTo>
                  <a:pt x="830" y="97"/>
                </a:lnTo>
                <a:lnTo>
                  <a:pt x="830" y="105"/>
                </a:lnTo>
                <a:lnTo>
                  <a:pt x="830" y="109"/>
                </a:lnTo>
                <a:lnTo>
                  <a:pt x="832" y="113"/>
                </a:lnTo>
                <a:lnTo>
                  <a:pt x="834" y="117"/>
                </a:lnTo>
                <a:lnTo>
                  <a:pt x="836" y="121"/>
                </a:lnTo>
                <a:lnTo>
                  <a:pt x="838" y="126"/>
                </a:lnTo>
                <a:lnTo>
                  <a:pt x="841" y="132"/>
                </a:lnTo>
                <a:lnTo>
                  <a:pt x="843" y="140"/>
                </a:lnTo>
                <a:lnTo>
                  <a:pt x="843" y="148"/>
                </a:lnTo>
                <a:lnTo>
                  <a:pt x="842" y="152"/>
                </a:lnTo>
                <a:lnTo>
                  <a:pt x="840" y="156"/>
                </a:lnTo>
                <a:lnTo>
                  <a:pt x="836" y="159"/>
                </a:lnTo>
                <a:lnTo>
                  <a:pt x="833" y="162"/>
                </a:lnTo>
                <a:lnTo>
                  <a:pt x="830" y="165"/>
                </a:lnTo>
                <a:lnTo>
                  <a:pt x="826" y="168"/>
                </a:lnTo>
                <a:lnTo>
                  <a:pt x="824" y="170"/>
                </a:lnTo>
                <a:lnTo>
                  <a:pt x="823" y="172"/>
                </a:lnTo>
                <a:lnTo>
                  <a:pt x="824" y="184"/>
                </a:lnTo>
                <a:lnTo>
                  <a:pt x="825" y="196"/>
                </a:lnTo>
                <a:lnTo>
                  <a:pt x="829" y="207"/>
                </a:lnTo>
                <a:lnTo>
                  <a:pt x="834" y="217"/>
                </a:lnTo>
                <a:lnTo>
                  <a:pt x="841" y="227"/>
                </a:lnTo>
                <a:lnTo>
                  <a:pt x="848" y="236"/>
                </a:lnTo>
                <a:lnTo>
                  <a:pt x="858" y="245"/>
                </a:lnTo>
                <a:lnTo>
                  <a:pt x="869" y="253"/>
                </a:lnTo>
                <a:lnTo>
                  <a:pt x="876" y="671"/>
                </a:lnTo>
                <a:lnTo>
                  <a:pt x="876" y="680"/>
                </a:lnTo>
                <a:lnTo>
                  <a:pt x="876" y="687"/>
                </a:lnTo>
                <a:lnTo>
                  <a:pt x="876" y="697"/>
                </a:lnTo>
                <a:lnTo>
                  <a:pt x="876" y="709"/>
                </a:lnTo>
                <a:lnTo>
                  <a:pt x="877" y="726"/>
                </a:lnTo>
                <a:lnTo>
                  <a:pt x="877" y="741"/>
                </a:lnTo>
                <a:lnTo>
                  <a:pt x="877" y="756"/>
                </a:lnTo>
                <a:lnTo>
                  <a:pt x="876" y="766"/>
                </a:lnTo>
                <a:lnTo>
                  <a:pt x="874" y="771"/>
                </a:lnTo>
                <a:lnTo>
                  <a:pt x="870" y="775"/>
                </a:lnTo>
                <a:lnTo>
                  <a:pt x="867" y="778"/>
                </a:lnTo>
                <a:lnTo>
                  <a:pt x="863" y="780"/>
                </a:lnTo>
                <a:lnTo>
                  <a:pt x="856" y="782"/>
                </a:lnTo>
                <a:lnTo>
                  <a:pt x="848" y="783"/>
                </a:lnTo>
                <a:lnTo>
                  <a:pt x="840" y="783"/>
                </a:lnTo>
                <a:lnTo>
                  <a:pt x="830" y="782"/>
                </a:lnTo>
                <a:lnTo>
                  <a:pt x="830" y="792"/>
                </a:lnTo>
                <a:lnTo>
                  <a:pt x="830" y="804"/>
                </a:lnTo>
                <a:lnTo>
                  <a:pt x="830" y="816"/>
                </a:lnTo>
                <a:lnTo>
                  <a:pt x="830" y="826"/>
                </a:lnTo>
                <a:lnTo>
                  <a:pt x="378" y="592"/>
                </a:lnTo>
                <a:lnTo>
                  <a:pt x="366" y="593"/>
                </a:lnTo>
                <a:lnTo>
                  <a:pt x="359" y="595"/>
                </a:lnTo>
                <a:lnTo>
                  <a:pt x="353" y="597"/>
                </a:lnTo>
                <a:lnTo>
                  <a:pt x="344" y="598"/>
                </a:lnTo>
                <a:lnTo>
                  <a:pt x="331" y="607"/>
                </a:lnTo>
                <a:lnTo>
                  <a:pt x="318" y="616"/>
                </a:lnTo>
                <a:lnTo>
                  <a:pt x="308" y="620"/>
                </a:lnTo>
                <a:lnTo>
                  <a:pt x="297" y="624"/>
                </a:lnTo>
                <a:lnTo>
                  <a:pt x="292" y="626"/>
                </a:lnTo>
                <a:lnTo>
                  <a:pt x="285" y="627"/>
                </a:lnTo>
                <a:lnTo>
                  <a:pt x="278" y="628"/>
                </a:lnTo>
                <a:lnTo>
                  <a:pt x="272" y="628"/>
                </a:lnTo>
                <a:lnTo>
                  <a:pt x="263" y="627"/>
                </a:lnTo>
                <a:lnTo>
                  <a:pt x="254" y="624"/>
                </a:lnTo>
                <a:lnTo>
                  <a:pt x="246" y="620"/>
                </a:lnTo>
                <a:lnTo>
                  <a:pt x="238" y="614"/>
                </a:lnTo>
                <a:lnTo>
                  <a:pt x="230" y="609"/>
                </a:lnTo>
                <a:lnTo>
                  <a:pt x="224" y="602"/>
                </a:lnTo>
                <a:lnTo>
                  <a:pt x="220" y="597"/>
                </a:lnTo>
                <a:lnTo>
                  <a:pt x="218" y="592"/>
                </a:lnTo>
                <a:lnTo>
                  <a:pt x="193" y="586"/>
                </a:lnTo>
                <a:lnTo>
                  <a:pt x="173" y="579"/>
                </a:lnTo>
                <a:lnTo>
                  <a:pt x="165" y="577"/>
                </a:lnTo>
                <a:lnTo>
                  <a:pt x="157" y="577"/>
                </a:lnTo>
                <a:lnTo>
                  <a:pt x="152" y="578"/>
                </a:lnTo>
                <a:lnTo>
                  <a:pt x="148" y="579"/>
                </a:lnTo>
                <a:lnTo>
                  <a:pt x="143" y="583"/>
                </a:lnTo>
                <a:lnTo>
                  <a:pt x="139" y="586"/>
                </a:lnTo>
                <a:lnTo>
                  <a:pt x="138" y="577"/>
                </a:lnTo>
                <a:lnTo>
                  <a:pt x="137" y="570"/>
                </a:lnTo>
                <a:lnTo>
                  <a:pt x="136" y="564"/>
                </a:lnTo>
                <a:lnTo>
                  <a:pt x="134" y="558"/>
                </a:lnTo>
                <a:lnTo>
                  <a:pt x="130" y="553"/>
                </a:lnTo>
                <a:lnTo>
                  <a:pt x="127" y="549"/>
                </a:lnTo>
                <a:lnTo>
                  <a:pt x="124" y="545"/>
                </a:lnTo>
                <a:lnTo>
                  <a:pt x="119" y="541"/>
                </a:lnTo>
                <a:lnTo>
                  <a:pt x="109" y="535"/>
                </a:lnTo>
                <a:lnTo>
                  <a:pt x="98" y="530"/>
                </a:lnTo>
                <a:lnTo>
                  <a:pt x="87" y="526"/>
                </a:lnTo>
                <a:lnTo>
                  <a:pt x="75" y="521"/>
                </a:lnTo>
                <a:lnTo>
                  <a:pt x="63" y="517"/>
                </a:lnTo>
                <a:lnTo>
                  <a:pt x="52" y="513"/>
                </a:lnTo>
                <a:lnTo>
                  <a:pt x="41" y="509"/>
                </a:lnTo>
                <a:lnTo>
                  <a:pt x="33" y="503"/>
                </a:lnTo>
                <a:lnTo>
                  <a:pt x="28" y="499"/>
                </a:lnTo>
                <a:lnTo>
                  <a:pt x="24" y="496"/>
                </a:lnTo>
                <a:lnTo>
                  <a:pt x="20" y="492"/>
                </a:lnTo>
                <a:lnTo>
                  <a:pt x="18" y="487"/>
                </a:lnTo>
                <a:lnTo>
                  <a:pt x="16" y="482"/>
                </a:lnTo>
                <a:lnTo>
                  <a:pt x="14" y="476"/>
                </a:lnTo>
                <a:lnTo>
                  <a:pt x="13" y="469"/>
                </a:lnTo>
                <a:lnTo>
                  <a:pt x="13" y="462"/>
                </a:lnTo>
                <a:lnTo>
                  <a:pt x="14" y="439"/>
                </a:lnTo>
                <a:lnTo>
                  <a:pt x="16" y="417"/>
                </a:lnTo>
                <a:lnTo>
                  <a:pt x="18" y="395"/>
                </a:lnTo>
                <a:lnTo>
                  <a:pt x="19" y="376"/>
                </a:lnTo>
                <a:lnTo>
                  <a:pt x="19" y="352"/>
                </a:lnTo>
                <a:lnTo>
                  <a:pt x="19" y="329"/>
                </a:lnTo>
                <a:lnTo>
                  <a:pt x="19" y="305"/>
                </a:lnTo>
                <a:lnTo>
                  <a:pt x="19" y="281"/>
                </a:lnTo>
                <a:lnTo>
                  <a:pt x="17" y="258"/>
                </a:lnTo>
                <a:lnTo>
                  <a:pt x="14" y="234"/>
                </a:lnTo>
                <a:lnTo>
                  <a:pt x="11" y="223"/>
                </a:lnTo>
                <a:lnTo>
                  <a:pt x="7" y="212"/>
                </a:lnTo>
                <a:lnTo>
                  <a:pt x="4" y="202"/>
                </a:lnTo>
                <a:lnTo>
                  <a:pt x="0" y="19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87" name="Freeform 239"/>
          <p:cNvSpPr>
            <a:spLocks/>
          </p:cNvSpPr>
          <p:nvPr>
            <p:custDataLst>
              <p:tags r:id="rId166"/>
            </p:custDataLst>
          </p:nvPr>
        </p:nvSpPr>
        <p:spPr bwMode="auto">
          <a:xfrm>
            <a:off x="5721351" y="2479675"/>
            <a:ext cx="93663" cy="236538"/>
          </a:xfrm>
          <a:custGeom>
            <a:avLst/>
            <a:gdLst>
              <a:gd name="T0" fmla="*/ 103 w 206"/>
              <a:gd name="T1" fmla="*/ 441 h 455"/>
              <a:gd name="T2" fmla="*/ 125 w 206"/>
              <a:gd name="T3" fmla="*/ 420 h 455"/>
              <a:gd name="T4" fmla="*/ 140 w 206"/>
              <a:gd name="T5" fmla="*/ 404 h 455"/>
              <a:gd name="T6" fmla="*/ 147 w 206"/>
              <a:gd name="T7" fmla="*/ 390 h 455"/>
              <a:gd name="T8" fmla="*/ 152 w 206"/>
              <a:gd name="T9" fmla="*/ 373 h 455"/>
              <a:gd name="T10" fmla="*/ 154 w 206"/>
              <a:gd name="T11" fmla="*/ 352 h 455"/>
              <a:gd name="T12" fmla="*/ 153 w 206"/>
              <a:gd name="T13" fmla="*/ 335 h 455"/>
              <a:gd name="T14" fmla="*/ 156 w 206"/>
              <a:gd name="T15" fmla="*/ 331 h 455"/>
              <a:gd name="T16" fmla="*/ 168 w 206"/>
              <a:gd name="T17" fmla="*/ 329 h 455"/>
              <a:gd name="T18" fmla="*/ 185 w 206"/>
              <a:gd name="T19" fmla="*/ 325 h 455"/>
              <a:gd name="T20" fmla="*/ 196 w 206"/>
              <a:gd name="T21" fmla="*/ 318 h 455"/>
              <a:gd name="T22" fmla="*/ 203 w 206"/>
              <a:gd name="T23" fmla="*/ 304 h 455"/>
              <a:gd name="T24" fmla="*/ 206 w 206"/>
              <a:gd name="T25" fmla="*/ 280 h 455"/>
              <a:gd name="T26" fmla="*/ 202 w 206"/>
              <a:gd name="T27" fmla="*/ 265 h 455"/>
              <a:gd name="T28" fmla="*/ 193 w 206"/>
              <a:gd name="T29" fmla="*/ 264 h 455"/>
              <a:gd name="T30" fmla="*/ 177 w 206"/>
              <a:gd name="T31" fmla="*/ 256 h 455"/>
              <a:gd name="T32" fmla="*/ 155 w 206"/>
              <a:gd name="T33" fmla="*/ 242 h 455"/>
              <a:gd name="T34" fmla="*/ 140 w 206"/>
              <a:gd name="T35" fmla="*/ 231 h 455"/>
              <a:gd name="T36" fmla="*/ 130 w 206"/>
              <a:gd name="T37" fmla="*/ 228 h 455"/>
              <a:gd name="T38" fmla="*/ 119 w 206"/>
              <a:gd name="T39" fmla="*/ 222 h 455"/>
              <a:gd name="T40" fmla="*/ 101 w 206"/>
              <a:gd name="T41" fmla="*/ 212 h 455"/>
              <a:gd name="T42" fmla="*/ 95 w 206"/>
              <a:gd name="T43" fmla="*/ 206 h 455"/>
              <a:gd name="T44" fmla="*/ 95 w 206"/>
              <a:gd name="T45" fmla="*/ 199 h 455"/>
              <a:gd name="T46" fmla="*/ 104 w 206"/>
              <a:gd name="T47" fmla="*/ 181 h 455"/>
              <a:gd name="T48" fmla="*/ 119 w 206"/>
              <a:gd name="T49" fmla="*/ 158 h 455"/>
              <a:gd name="T50" fmla="*/ 134 w 206"/>
              <a:gd name="T51" fmla="*/ 140 h 455"/>
              <a:gd name="T52" fmla="*/ 136 w 206"/>
              <a:gd name="T53" fmla="*/ 129 h 455"/>
              <a:gd name="T54" fmla="*/ 126 w 206"/>
              <a:gd name="T55" fmla="*/ 116 h 455"/>
              <a:gd name="T56" fmla="*/ 115 w 206"/>
              <a:gd name="T57" fmla="*/ 105 h 455"/>
              <a:gd name="T58" fmla="*/ 108 w 206"/>
              <a:gd name="T59" fmla="*/ 93 h 455"/>
              <a:gd name="T60" fmla="*/ 107 w 206"/>
              <a:gd name="T61" fmla="*/ 84 h 455"/>
              <a:gd name="T62" fmla="*/ 111 w 206"/>
              <a:gd name="T63" fmla="*/ 78 h 455"/>
              <a:gd name="T64" fmla="*/ 116 w 206"/>
              <a:gd name="T65" fmla="*/ 72 h 455"/>
              <a:gd name="T66" fmla="*/ 123 w 206"/>
              <a:gd name="T67" fmla="*/ 69 h 455"/>
              <a:gd name="T68" fmla="*/ 126 w 206"/>
              <a:gd name="T69" fmla="*/ 37 h 455"/>
              <a:gd name="T70" fmla="*/ 110 w 206"/>
              <a:gd name="T71" fmla="*/ 32 h 455"/>
              <a:gd name="T72" fmla="*/ 87 w 206"/>
              <a:gd name="T73" fmla="*/ 21 h 455"/>
              <a:gd name="T74" fmla="*/ 53 w 206"/>
              <a:gd name="T75" fmla="*/ 0 h 455"/>
              <a:gd name="T76" fmla="*/ 47 w 206"/>
              <a:gd name="T77" fmla="*/ 11 h 455"/>
              <a:gd name="T78" fmla="*/ 34 w 206"/>
              <a:gd name="T79" fmla="*/ 44 h 455"/>
              <a:gd name="T80" fmla="*/ 28 w 206"/>
              <a:gd name="T81" fmla="*/ 70 h 455"/>
              <a:gd name="T82" fmla="*/ 22 w 206"/>
              <a:gd name="T83" fmla="*/ 99 h 455"/>
              <a:gd name="T84" fmla="*/ 20 w 206"/>
              <a:gd name="T85" fmla="*/ 133 h 455"/>
              <a:gd name="T86" fmla="*/ 20 w 206"/>
              <a:gd name="T87" fmla="*/ 172 h 455"/>
              <a:gd name="T88" fmla="*/ 12 w 206"/>
              <a:gd name="T89" fmla="*/ 188 h 455"/>
              <a:gd name="T90" fmla="*/ 8 w 206"/>
              <a:gd name="T91" fmla="*/ 206 h 455"/>
              <a:gd name="T92" fmla="*/ 0 w 206"/>
              <a:gd name="T93" fmla="*/ 235 h 455"/>
              <a:gd name="T94" fmla="*/ 22 w 206"/>
              <a:gd name="T95" fmla="*/ 259 h 455"/>
              <a:gd name="T96" fmla="*/ 41 w 206"/>
              <a:gd name="T97" fmla="*/ 281 h 455"/>
              <a:gd name="T98" fmla="*/ 55 w 206"/>
              <a:gd name="T99" fmla="*/ 305 h 455"/>
              <a:gd name="T100" fmla="*/ 66 w 206"/>
              <a:gd name="T101" fmla="*/ 329 h 455"/>
              <a:gd name="T102" fmla="*/ 75 w 206"/>
              <a:gd name="T103" fmla="*/ 355 h 455"/>
              <a:gd name="T104" fmla="*/ 82 w 206"/>
              <a:gd name="T105" fmla="*/ 384 h 455"/>
              <a:gd name="T106" fmla="*/ 93 w 206"/>
              <a:gd name="T107" fmla="*/ 455 h 4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06" h="455">
                <a:moveTo>
                  <a:pt x="93" y="455"/>
                </a:moveTo>
                <a:lnTo>
                  <a:pt x="103" y="441"/>
                </a:lnTo>
                <a:lnTo>
                  <a:pt x="114" y="430"/>
                </a:lnTo>
                <a:lnTo>
                  <a:pt x="125" y="420"/>
                </a:lnTo>
                <a:lnTo>
                  <a:pt x="135" y="409"/>
                </a:lnTo>
                <a:lnTo>
                  <a:pt x="140" y="404"/>
                </a:lnTo>
                <a:lnTo>
                  <a:pt x="144" y="397"/>
                </a:lnTo>
                <a:lnTo>
                  <a:pt x="147" y="390"/>
                </a:lnTo>
                <a:lnTo>
                  <a:pt x="149" y="382"/>
                </a:lnTo>
                <a:lnTo>
                  <a:pt x="152" y="373"/>
                </a:lnTo>
                <a:lnTo>
                  <a:pt x="153" y="363"/>
                </a:lnTo>
                <a:lnTo>
                  <a:pt x="154" y="352"/>
                </a:lnTo>
                <a:lnTo>
                  <a:pt x="153" y="338"/>
                </a:lnTo>
                <a:lnTo>
                  <a:pt x="153" y="335"/>
                </a:lnTo>
                <a:lnTo>
                  <a:pt x="154" y="332"/>
                </a:lnTo>
                <a:lnTo>
                  <a:pt x="156" y="331"/>
                </a:lnTo>
                <a:lnTo>
                  <a:pt x="159" y="330"/>
                </a:lnTo>
                <a:lnTo>
                  <a:pt x="168" y="329"/>
                </a:lnTo>
                <a:lnTo>
                  <a:pt x="179" y="327"/>
                </a:lnTo>
                <a:lnTo>
                  <a:pt x="185" y="325"/>
                </a:lnTo>
                <a:lnTo>
                  <a:pt x="190" y="322"/>
                </a:lnTo>
                <a:lnTo>
                  <a:pt x="196" y="318"/>
                </a:lnTo>
                <a:lnTo>
                  <a:pt x="200" y="312"/>
                </a:lnTo>
                <a:lnTo>
                  <a:pt x="203" y="304"/>
                </a:lnTo>
                <a:lnTo>
                  <a:pt x="205" y="294"/>
                </a:lnTo>
                <a:lnTo>
                  <a:pt x="206" y="280"/>
                </a:lnTo>
                <a:lnTo>
                  <a:pt x="205" y="265"/>
                </a:lnTo>
                <a:lnTo>
                  <a:pt x="202" y="265"/>
                </a:lnTo>
                <a:lnTo>
                  <a:pt x="198" y="265"/>
                </a:lnTo>
                <a:lnTo>
                  <a:pt x="193" y="264"/>
                </a:lnTo>
                <a:lnTo>
                  <a:pt x="188" y="262"/>
                </a:lnTo>
                <a:lnTo>
                  <a:pt x="177" y="256"/>
                </a:lnTo>
                <a:lnTo>
                  <a:pt x="166" y="249"/>
                </a:lnTo>
                <a:lnTo>
                  <a:pt x="155" y="242"/>
                </a:lnTo>
                <a:lnTo>
                  <a:pt x="144" y="235"/>
                </a:lnTo>
                <a:lnTo>
                  <a:pt x="140" y="231"/>
                </a:lnTo>
                <a:lnTo>
                  <a:pt x="134" y="229"/>
                </a:lnTo>
                <a:lnTo>
                  <a:pt x="130" y="228"/>
                </a:lnTo>
                <a:lnTo>
                  <a:pt x="126" y="227"/>
                </a:lnTo>
                <a:lnTo>
                  <a:pt x="119" y="222"/>
                </a:lnTo>
                <a:lnTo>
                  <a:pt x="107" y="215"/>
                </a:lnTo>
                <a:lnTo>
                  <a:pt x="101" y="212"/>
                </a:lnTo>
                <a:lnTo>
                  <a:pt x="97" y="209"/>
                </a:lnTo>
                <a:lnTo>
                  <a:pt x="95" y="206"/>
                </a:lnTo>
                <a:lnTo>
                  <a:pt x="93" y="203"/>
                </a:lnTo>
                <a:lnTo>
                  <a:pt x="95" y="199"/>
                </a:lnTo>
                <a:lnTo>
                  <a:pt x="98" y="191"/>
                </a:lnTo>
                <a:lnTo>
                  <a:pt x="104" y="181"/>
                </a:lnTo>
                <a:lnTo>
                  <a:pt x="111" y="169"/>
                </a:lnTo>
                <a:lnTo>
                  <a:pt x="119" y="158"/>
                </a:lnTo>
                <a:lnTo>
                  <a:pt x="126" y="148"/>
                </a:lnTo>
                <a:lnTo>
                  <a:pt x="134" y="140"/>
                </a:lnTo>
                <a:lnTo>
                  <a:pt x="140" y="136"/>
                </a:lnTo>
                <a:lnTo>
                  <a:pt x="136" y="129"/>
                </a:lnTo>
                <a:lnTo>
                  <a:pt x="132" y="122"/>
                </a:lnTo>
                <a:lnTo>
                  <a:pt x="126" y="116"/>
                </a:lnTo>
                <a:lnTo>
                  <a:pt x="121" y="111"/>
                </a:lnTo>
                <a:lnTo>
                  <a:pt x="115" y="105"/>
                </a:lnTo>
                <a:lnTo>
                  <a:pt x="111" y="99"/>
                </a:lnTo>
                <a:lnTo>
                  <a:pt x="108" y="93"/>
                </a:lnTo>
                <a:lnTo>
                  <a:pt x="107" y="86"/>
                </a:lnTo>
                <a:lnTo>
                  <a:pt x="107" y="84"/>
                </a:lnTo>
                <a:lnTo>
                  <a:pt x="109" y="81"/>
                </a:lnTo>
                <a:lnTo>
                  <a:pt x="111" y="78"/>
                </a:lnTo>
                <a:lnTo>
                  <a:pt x="113" y="75"/>
                </a:lnTo>
                <a:lnTo>
                  <a:pt x="116" y="72"/>
                </a:lnTo>
                <a:lnTo>
                  <a:pt x="120" y="70"/>
                </a:lnTo>
                <a:lnTo>
                  <a:pt x="123" y="69"/>
                </a:lnTo>
                <a:lnTo>
                  <a:pt x="126" y="68"/>
                </a:lnTo>
                <a:lnTo>
                  <a:pt x="126" y="37"/>
                </a:lnTo>
                <a:lnTo>
                  <a:pt x="120" y="36"/>
                </a:lnTo>
                <a:lnTo>
                  <a:pt x="110" y="32"/>
                </a:lnTo>
                <a:lnTo>
                  <a:pt x="99" y="27"/>
                </a:lnTo>
                <a:lnTo>
                  <a:pt x="87" y="21"/>
                </a:lnTo>
                <a:lnTo>
                  <a:pt x="65" y="8"/>
                </a:lnTo>
                <a:lnTo>
                  <a:pt x="53" y="0"/>
                </a:lnTo>
                <a:lnTo>
                  <a:pt x="52" y="2"/>
                </a:lnTo>
                <a:lnTo>
                  <a:pt x="47" y="11"/>
                </a:lnTo>
                <a:lnTo>
                  <a:pt x="41" y="26"/>
                </a:lnTo>
                <a:lnTo>
                  <a:pt x="34" y="44"/>
                </a:lnTo>
                <a:lnTo>
                  <a:pt x="31" y="56"/>
                </a:lnTo>
                <a:lnTo>
                  <a:pt x="28" y="70"/>
                </a:lnTo>
                <a:lnTo>
                  <a:pt x="24" y="83"/>
                </a:lnTo>
                <a:lnTo>
                  <a:pt x="22" y="99"/>
                </a:lnTo>
                <a:lnTo>
                  <a:pt x="20" y="115"/>
                </a:lnTo>
                <a:lnTo>
                  <a:pt x="20" y="133"/>
                </a:lnTo>
                <a:lnTo>
                  <a:pt x="19" y="152"/>
                </a:lnTo>
                <a:lnTo>
                  <a:pt x="20" y="172"/>
                </a:lnTo>
                <a:lnTo>
                  <a:pt x="15" y="180"/>
                </a:lnTo>
                <a:lnTo>
                  <a:pt x="12" y="188"/>
                </a:lnTo>
                <a:lnTo>
                  <a:pt x="9" y="197"/>
                </a:lnTo>
                <a:lnTo>
                  <a:pt x="8" y="206"/>
                </a:lnTo>
                <a:lnTo>
                  <a:pt x="3" y="222"/>
                </a:lnTo>
                <a:lnTo>
                  <a:pt x="0" y="235"/>
                </a:lnTo>
                <a:lnTo>
                  <a:pt x="12" y="247"/>
                </a:lnTo>
                <a:lnTo>
                  <a:pt x="22" y="259"/>
                </a:lnTo>
                <a:lnTo>
                  <a:pt x="32" y="270"/>
                </a:lnTo>
                <a:lnTo>
                  <a:pt x="41" y="281"/>
                </a:lnTo>
                <a:lnTo>
                  <a:pt x="48" y="294"/>
                </a:lnTo>
                <a:lnTo>
                  <a:pt x="55" y="305"/>
                </a:lnTo>
                <a:lnTo>
                  <a:pt x="60" y="317"/>
                </a:lnTo>
                <a:lnTo>
                  <a:pt x="66" y="329"/>
                </a:lnTo>
                <a:lnTo>
                  <a:pt x="71" y="341"/>
                </a:lnTo>
                <a:lnTo>
                  <a:pt x="75" y="355"/>
                </a:lnTo>
                <a:lnTo>
                  <a:pt x="79" y="369"/>
                </a:lnTo>
                <a:lnTo>
                  <a:pt x="82" y="384"/>
                </a:lnTo>
                <a:lnTo>
                  <a:pt x="88" y="417"/>
                </a:lnTo>
                <a:lnTo>
                  <a:pt x="93" y="4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88" name="Freeform 240"/>
          <p:cNvSpPr>
            <a:spLocks/>
          </p:cNvSpPr>
          <p:nvPr>
            <p:custDataLst>
              <p:tags r:id="rId167"/>
            </p:custDataLst>
          </p:nvPr>
        </p:nvSpPr>
        <p:spPr bwMode="auto">
          <a:xfrm>
            <a:off x="5103814" y="2790825"/>
            <a:ext cx="231775" cy="215900"/>
          </a:xfrm>
          <a:custGeom>
            <a:avLst/>
            <a:gdLst>
              <a:gd name="T0" fmla="*/ 326 w 518"/>
              <a:gd name="T1" fmla="*/ 110 h 406"/>
              <a:gd name="T2" fmla="*/ 326 w 518"/>
              <a:gd name="T3" fmla="*/ 259 h 406"/>
              <a:gd name="T4" fmla="*/ 315 w 518"/>
              <a:gd name="T5" fmla="*/ 264 h 406"/>
              <a:gd name="T6" fmla="*/ 291 w 518"/>
              <a:gd name="T7" fmla="*/ 271 h 406"/>
              <a:gd name="T8" fmla="*/ 246 w 518"/>
              <a:gd name="T9" fmla="*/ 283 h 406"/>
              <a:gd name="T10" fmla="*/ 253 w 518"/>
              <a:gd name="T11" fmla="*/ 302 h 406"/>
              <a:gd name="T12" fmla="*/ 265 w 518"/>
              <a:gd name="T13" fmla="*/ 326 h 406"/>
              <a:gd name="T14" fmla="*/ 269 w 518"/>
              <a:gd name="T15" fmla="*/ 353 h 406"/>
              <a:gd name="T16" fmla="*/ 272 w 518"/>
              <a:gd name="T17" fmla="*/ 382 h 406"/>
              <a:gd name="T18" fmla="*/ 52 w 518"/>
              <a:gd name="T19" fmla="*/ 394 h 406"/>
              <a:gd name="T20" fmla="*/ 22 w 518"/>
              <a:gd name="T21" fmla="*/ 406 h 406"/>
              <a:gd name="T22" fmla="*/ 5 w 518"/>
              <a:gd name="T23" fmla="*/ 403 h 406"/>
              <a:gd name="T24" fmla="*/ 1 w 518"/>
              <a:gd name="T25" fmla="*/ 398 h 406"/>
              <a:gd name="T26" fmla="*/ 1 w 518"/>
              <a:gd name="T27" fmla="*/ 385 h 406"/>
              <a:gd name="T28" fmla="*/ 4 w 518"/>
              <a:gd name="T29" fmla="*/ 371 h 406"/>
              <a:gd name="T30" fmla="*/ 11 w 518"/>
              <a:gd name="T31" fmla="*/ 354 h 406"/>
              <a:gd name="T32" fmla="*/ 20 w 518"/>
              <a:gd name="T33" fmla="*/ 341 h 406"/>
              <a:gd name="T34" fmla="*/ 30 w 518"/>
              <a:gd name="T35" fmla="*/ 334 h 406"/>
              <a:gd name="T36" fmla="*/ 38 w 518"/>
              <a:gd name="T37" fmla="*/ 326 h 406"/>
              <a:gd name="T38" fmla="*/ 44 w 518"/>
              <a:gd name="T39" fmla="*/ 317 h 406"/>
              <a:gd name="T40" fmla="*/ 49 w 518"/>
              <a:gd name="T41" fmla="*/ 292 h 406"/>
              <a:gd name="T42" fmla="*/ 56 w 518"/>
              <a:gd name="T43" fmla="*/ 265 h 406"/>
              <a:gd name="T44" fmla="*/ 62 w 518"/>
              <a:gd name="T45" fmla="*/ 257 h 406"/>
              <a:gd name="T46" fmla="*/ 74 w 518"/>
              <a:gd name="T47" fmla="*/ 246 h 406"/>
              <a:gd name="T48" fmla="*/ 92 w 518"/>
              <a:gd name="T49" fmla="*/ 238 h 406"/>
              <a:gd name="T50" fmla="*/ 107 w 518"/>
              <a:gd name="T51" fmla="*/ 231 h 406"/>
              <a:gd name="T52" fmla="*/ 122 w 518"/>
              <a:gd name="T53" fmla="*/ 218 h 406"/>
              <a:gd name="T54" fmla="*/ 136 w 518"/>
              <a:gd name="T55" fmla="*/ 195 h 406"/>
              <a:gd name="T56" fmla="*/ 150 w 518"/>
              <a:gd name="T57" fmla="*/ 156 h 406"/>
              <a:gd name="T58" fmla="*/ 162 w 518"/>
              <a:gd name="T59" fmla="*/ 117 h 406"/>
              <a:gd name="T60" fmla="*/ 172 w 518"/>
              <a:gd name="T61" fmla="*/ 94 h 406"/>
              <a:gd name="T62" fmla="*/ 186 w 518"/>
              <a:gd name="T63" fmla="*/ 73 h 406"/>
              <a:gd name="T64" fmla="*/ 201 w 518"/>
              <a:gd name="T65" fmla="*/ 62 h 406"/>
              <a:gd name="T66" fmla="*/ 213 w 518"/>
              <a:gd name="T67" fmla="*/ 57 h 406"/>
              <a:gd name="T68" fmla="*/ 219 w 518"/>
              <a:gd name="T69" fmla="*/ 44 h 406"/>
              <a:gd name="T70" fmla="*/ 223 w 518"/>
              <a:gd name="T71" fmla="*/ 28 h 406"/>
              <a:gd name="T72" fmla="*/ 228 w 518"/>
              <a:gd name="T73" fmla="*/ 16 h 406"/>
              <a:gd name="T74" fmla="*/ 239 w 518"/>
              <a:gd name="T75" fmla="*/ 8 h 406"/>
              <a:gd name="T76" fmla="*/ 511 w 518"/>
              <a:gd name="T77" fmla="*/ 0 h 406"/>
              <a:gd name="T78" fmla="*/ 515 w 518"/>
              <a:gd name="T79" fmla="*/ 46 h 406"/>
              <a:gd name="T80" fmla="*/ 518 w 518"/>
              <a:gd name="T81" fmla="*/ 110 h 4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518" h="406">
                <a:moveTo>
                  <a:pt x="518" y="110"/>
                </a:moveTo>
                <a:lnTo>
                  <a:pt x="326" y="110"/>
                </a:lnTo>
                <a:lnTo>
                  <a:pt x="312" y="104"/>
                </a:lnTo>
                <a:lnTo>
                  <a:pt x="326" y="259"/>
                </a:lnTo>
                <a:lnTo>
                  <a:pt x="323" y="261"/>
                </a:lnTo>
                <a:lnTo>
                  <a:pt x="315" y="264"/>
                </a:lnTo>
                <a:lnTo>
                  <a:pt x="304" y="267"/>
                </a:lnTo>
                <a:lnTo>
                  <a:pt x="291" y="271"/>
                </a:lnTo>
                <a:lnTo>
                  <a:pt x="263" y="277"/>
                </a:lnTo>
                <a:lnTo>
                  <a:pt x="246" y="283"/>
                </a:lnTo>
                <a:lnTo>
                  <a:pt x="250" y="292"/>
                </a:lnTo>
                <a:lnTo>
                  <a:pt x="253" y="302"/>
                </a:lnTo>
                <a:lnTo>
                  <a:pt x="258" y="314"/>
                </a:lnTo>
                <a:lnTo>
                  <a:pt x="265" y="326"/>
                </a:lnTo>
                <a:lnTo>
                  <a:pt x="267" y="335"/>
                </a:lnTo>
                <a:lnTo>
                  <a:pt x="269" y="353"/>
                </a:lnTo>
                <a:lnTo>
                  <a:pt x="271" y="373"/>
                </a:lnTo>
                <a:lnTo>
                  <a:pt x="272" y="382"/>
                </a:lnTo>
                <a:lnTo>
                  <a:pt x="67" y="382"/>
                </a:lnTo>
                <a:lnTo>
                  <a:pt x="52" y="394"/>
                </a:lnTo>
                <a:lnTo>
                  <a:pt x="39" y="406"/>
                </a:lnTo>
                <a:lnTo>
                  <a:pt x="22" y="406"/>
                </a:lnTo>
                <a:lnTo>
                  <a:pt x="10" y="404"/>
                </a:lnTo>
                <a:lnTo>
                  <a:pt x="5" y="403"/>
                </a:lnTo>
                <a:lnTo>
                  <a:pt x="2" y="401"/>
                </a:lnTo>
                <a:lnTo>
                  <a:pt x="1" y="398"/>
                </a:lnTo>
                <a:lnTo>
                  <a:pt x="0" y="394"/>
                </a:lnTo>
                <a:lnTo>
                  <a:pt x="1" y="385"/>
                </a:lnTo>
                <a:lnTo>
                  <a:pt x="2" y="378"/>
                </a:lnTo>
                <a:lnTo>
                  <a:pt x="4" y="371"/>
                </a:lnTo>
                <a:lnTo>
                  <a:pt x="6" y="365"/>
                </a:lnTo>
                <a:lnTo>
                  <a:pt x="11" y="354"/>
                </a:lnTo>
                <a:lnTo>
                  <a:pt x="13" y="344"/>
                </a:lnTo>
                <a:lnTo>
                  <a:pt x="20" y="341"/>
                </a:lnTo>
                <a:lnTo>
                  <a:pt x="26" y="337"/>
                </a:lnTo>
                <a:lnTo>
                  <a:pt x="30" y="334"/>
                </a:lnTo>
                <a:lnTo>
                  <a:pt x="35" y="330"/>
                </a:lnTo>
                <a:lnTo>
                  <a:pt x="38" y="326"/>
                </a:lnTo>
                <a:lnTo>
                  <a:pt x="41" y="321"/>
                </a:lnTo>
                <a:lnTo>
                  <a:pt x="44" y="317"/>
                </a:lnTo>
                <a:lnTo>
                  <a:pt x="46" y="313"/>
                </a:lnTo>
                <a:lnTo>
                  <a:pt x="49" y="292"/>
                </a:lnTo>
                <a:lnTo>
                  <a:pt x="52" y="271"/>
                </a:lnTo>
                <a:lnTo>
                  <a:pt x="56" y="265"/>
                </a:lnTo>
                <a:lnTo>
                  <a:pt x="59" y="261"/>
                </a:lnTo>
                <a:lnTo>
                  <a:pt x="62" y="257"/>
                </a:lnTo>
                <a:lnTo>
                  <a:pt x="66" y="253"/>
                </a:lnTo>
                <a:lnTo>
                  <a:pt x="74" y="246"/>
                </a:lnTo>
                <a:lnTo>
                  <a:pt x="83" y="242"/>
                </a:lnTo>
                <a:lnTo>
                  <a:pt x="92" y="238"/>
                </a:lnTo>
                <a:lnTo>
                  <a:pt x="100" y="235"/>
                </a:lnTo>
                <a:lnTo>
                  <a:pt x="107" y="231"/>
                </a:lnTo>
                <a:lnTo>
                  <a:pt x="113" y="227"/>
                </a:lnTo>
                <a:lnTo>
                  <a:pt x="122" y="218"/>
                </a:lnTo>
                <a:lnTo>
                  <a:pt x="129" y="207"/>
                </a:lnTo>
                <a:lnTo>
                  <a:pt x="136" y="195"/>
                </a:lnTo>
                <a:lnTo>
                  <a:pt x="141" y="182"/>
                </a:lnTo>
                <a:lnTo>
                  <a:pt x="150" y="156"/>
                </a:lnTo>
                <a:lnTo>
                  <a:pt x="158" y="129"/>
                </a:lnTo>
                <a:lnTo>
                  <a:pt x="162" y="117"/>
                </a:lnTo>
                <a:lnTo>
                  <a:pt x="168" y="105"/>
                </a:lnTo>
                <a:lnTo>
                  <a:pt x="172" y="94"/>
                </a:lnTo>
                <a:lnTo>
                  <a:pt x="179" y="83"/>
                </a:lnTo>
                <a:lnTo>
                  <a:pt x="186" y="73"/>
                </a:lnTo>
                <a:lnTo>
                  <a:pt x="195" y="66"/>
                </a:lnTo>
                <a:lnTo>
                  <a:pt x="201" y="62"/>
                </a:lnTo>
                <a:lnTo>
                  <a:pt x="206" y="59"/>
                </a:lnTo>
                <a:lnTo>
                  <a:pt x="213" y="57"/>
                </a:lnTo>
                <a:lnTo>
                  <a:pt x="219" y="55"/>
                </a:lnTo>
                <a:lnTo>
                  <a:pt x="219" y="44"/>
                </a:lnTo>
                <a:lnTo>
                  <a:pt x="220" y="36"/>
                </a:lnTo>
                <a:lnTo>
                  <a:pt x="223" y="28"/>
                </a:lnTo>
                <a:lnTo>
                  <a:pt x="225" y="21"/>
                </a:lnTo>
                <a:lnTo>
                  <a:pt x="228" y="16"/>
                </a:lnTo>
                <a:lnTo>
                  <a:pt x="233" y="11"/>
                </a:lnTo>
                <a:lnTo>
                  <a:pt x="239" y="8"/>
                </a:lnTo>
                <a:lnTo>
                  <a:pt x="246" y="6"/>
                </a:lnTo>
                <a:lnTo>
                  <a:pt x="511" y="0"/>
                </a:lnTo>
                <a:lnTo>
                  <a:pt x="513" y="13"/>
                </a:lnTo>
                <a:lnTo>
                  <a:pt x="515" y="46"/>
                </a:lnTo>
                <a:lnTo>
                  <a:pt x="517" y="83"/>
                </a:lnTo>
                <a:lnTo>
                  <a:pt x="518" y="11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89" name="Freeform 241"/>
          <p:cNvSpPr>
            <a:spLocks/>
          </p:cNvSpPr>
          <p:nvPr>
            <p:custDataLst>
              <p:tags r:id="rId168"/>
            </p:custDataLst>
          </p:nvPr>
        </p:nvSpPr>
        <p:spPr bwMode="auto">
          <a:xfrm>
            <a:off x="5072063" y="1598613"/>
            <a:ext cx="190500" cy="93662"/>
          </a:xfrm>
          <a:custGeom>
            <a:avLst/>
            <a:gdLst>
              <a:gd name="T0" fmla="*/ 34 w 446"/>
              <a:gd name="T1" fmla="*/ 61 h 178"/>
              <a:gd name="T2" fmla="*/ 41 w 446"/>
              <a:gd name="T3" fmla="*/ 42 h 178"/>
              <a:gd name="T4" fmla="*/ 68 w 446"/>
              <a:gd name="T5" fmla="*/ 37 h 178"/>
              <a:gd name="T6" fmla="*/ 80 w 446"/>
              <a:gd name="T7" fmla="*/ 18 h 178"/>
              <a:gd name="T8" fmla="*/ 72 w 446"/>
              <a:gd name="T9" fmla="*/ 14 h 178"/>
              <a:gd name="T10" fmla="*/ 60 w 446"/>
              <a:gd name="T11" fmla="*/ 0 h 178"/>
              <a:gd name="T12" fmla="*/ 85 w 446"/>
              <a:gd name="T13" fmla="*/ 10 h 178"/>
              <a:gd name="T14" fmla="*/ 108 w 446"/>
              <a:gd name="T15" fmla="*/ 39 h 178"/>
              <a:gd name="T16" fmla="*/ 125 w 446"/>
              <a:gd name="T17" fmla="*/ 62 h 178"/>
              <a:gd name="T18" fmla="*/ 139 w 446"/>
              <a:gd name="T19" fmla="*/ 67 h 178"/>
              <a:gd name="T20" fmla="*/ 157 w 446"/>
              <a:gd name="T21" fmla="*/ 63 h 178"/>
              <a:gd name="T22" fmla="*/ 181 w 446"/>
              <a:gd name="T23" fmla="*/ 45 h 178"/>
              <a:gd name="T24" fmla="*/ 205 w 446"/>
              <a:gd name="T25" fmla="*/ 23 h 178"/>
              <a:gd name="T26" fmla="*/ 220 w 446"/>
              <a:gd name="T27" fmla="*/ 31 h 178"/>
              <a:gd name="T28" fmla="*/ 359 w 446"/>
              <a:gd name="T29" fmla="*/ 11 h 178"/>
              <a:gd name="T30" fmla="*/ 376 w 446"/>
              <a:gd name="T31" fmla="*/ 23 h 178"/>
              <a:gd name="T32" fmla="*/ 396 w 446"/>
              <a:gd name="T33" fmla="*/ 22 h 178"/>
              <a:gd name="T34" fmla="*/ 413 w 446"/>
              <a:gd name="T35" fmla="*/ 37 h 178"/>
              <a:gd name="T36" fmla="*/ 415 w 446"/>
              <a:gd name="T37" fmla="*/ 43 h 178"/>
              <a:gd name="T38" fmla="*/ 429 w 446"/>
              <a:gd name="T39" fmla="*/ 54 h 178"/>
              <a:gd name="T40" fmla="*/ 443 w 446"/>
              <a:gd name="T41" fmla="*/ 68 h 178"/>
              <a:gd name="T42" fmla="*/ 446 w 446"/>
              <a:gd name="T43" fmla="*/ 80 h 178"/>
              <a:gd name="T44" fmla="*/ 438 w 446"/>
              <a:gd name="T45" fmla="*/ 96 h 178"/>
              <a:gd name="T46" fmla="*/ 413 w 446"/>
              <a:gd name="T47" fmla="*/ 111 h 178"/>
              <a:gd name="T48" fmla="*/ 397 w 446"/>
              <a:gd name="T49" fmla="*/ 120 h 178"/>
              <a:gd name="T50" fmla="*/ 366 w 446"/>
              <a:gd name="T51" fmla="*/ 123 h 178"/>
              <a:gd name="T52" fmla="*/ 300 w 446"/>
              <a:gd name="T53" fmla="*/ 146 h 178"/>
              <a:gd name="T54" fmla="*/ 234 w 446"/>
              <a:gd name="T55" fmla="*/ 171 h 178"/>
              <a:gd name="T56" fmla="*/ 199 w 446"/>
              <a:gd name="T57" fmla="*/ 178 h 178"/>
              <a:gd name="T58" fmla="*/ 177 w 446"/>
              <a:gd name="T59" fmla="*/ 174 h 178"/>
              <a:gd name="T60" fmla="*/ 172 w 446"/>
              <a:gd name="T61" fmla="*/ 164 h 178"/>
              <a:gd name="T62" fmla="*/ 170 w 446"/>
              <a:gd name="T63" fmla="*/ 161 h 178"/>
              <a:gd name="T64" fmla="*/ 156 w 446"/>
              <a:gd name="T65" fmla="*/ 161 h 178"/>
              <a:gd name="T66" fmla="*/ 139 w 446"/>
              <a:gd name="T67" fmla="*/ 160 h 178"/>
              <a:gd name="T68" fmla="*/ 100 w 446"/>
              <a:gd name="T69" fmla="*/ 147 h 178"/>
              <a:gd name="T70" fmla="*/ 85 w 446"/>
              <a:gd name="T71" fmla="*/ 137 h 178"/>
              <a:gd name="T72" fmla="*/ 81 w 446"/>
              <a:gd name="T73" fmla="*/ 125 h 178"/>
              <a:gd name="T74" fmla="*/ 87 w 446"/>
              <a:gd name="T75" fmla="*/ 111 h 178"/>
              <a:gd name="T76" fmla="*/ 27 w 446"/>
              <a:gd name="T77" fmla="*/ 103 h 178"/>
              <a:gd name="T78" fmla="*/ 9 w 446"/>
              <a:gd name="T79" fmla="*/ 105 h 178"/>
              <a:gd name="T80" fmla="*/ 0 w 446"/>
              <a:gd name="T81" fmla="*/ 80 h 178"/>
              <a:gd name="T82" fmla="*/ 60 w 446"/>
              <a:gd name="T83" fmla="*/ 86 h 178"/>
              <a:gd name="T84" fmla="*/ 87 w 446"/>
              <a:gd name="T85" fmla="*/ 80 h 178"/>
              <a:gd name="T86" fmla="*/ 23 w 446"/>
              <a:gd name="T87" fmla="*/ 68 h 178"/>
              <a:gd name="T88" fmla="*/ 16 w 446"/>
              <a:gd name="T89" fmla="*/ 55 h 1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446" h="178">
                <a:moveTo>
                  <a:pt x="27" y="43"/>
                </a:moveTo>
                <a:lnTo>
                  <a:pt x="31" y="52"/>
                </a:lnTo>
                <a:lnTo>
                  <a:pt x="34" y="61"/>
                </a:lnTo>
                <a:lnTo>
                  <a:pt x="37" y="53"/>
                </a:lnTo>
                <a:lnTo>
                  <a:pt x="40" y="47"/>
                </a:lnTo>
                <a:lnTo>
                  <a:pt x="41" y="42"/>
                </a:lnTo>
                <a:lnTo>
                  <a:pt x="41" y="37"/>
                </a:lnTo>
                <a:lnTo>
                  <a:pt x="55" y="37"/>
                </a:lnTo>
                <a:lnTo>
                  <a:pt x="68" y="37"/>
                </a:lnTo>
                <a:lnTo>
                  <a:pt x="77" y="37"/>
                </a:lnTo>
                <a:lnTo>
                  <a:pt x="80" y="37"/>
                </a:lnTo>
                <a:lnTo>
                  <a:pt x="80" y="18"/>
                </a:lnTo>
                <a:lnTo>
                  <a:pt x="78" y="17"/>
                </a:lnTo>
                <a:lnTo>
                  <a:pt x="75" y="16"/>
                </a:lnTo>
                <a:lnTo>
                  <a:pt x="72" y="14"/>
                </a:lnTo>
                <a:lnTo>
                  <a:pt x="70" y="11"/>
                </a:lnTo>
                <a:lnTo>
                  <a:pt x="65" y="5"/>
                </a:lnTo>
                <a:lnTo>
                  <a:pt x="60" y="0"/>
                </a:lnTo>
                <a:lnTo>
                  <a:pt x="69" y="3"/>
                </a:lnTo>
                <a:lnTo>
                  <a:pt x="78" y="6"/>
                </a:lnTo>
                <a:lnTo>
                  <a:pt x="85" y="10"/>
                </a:lnTo>
                <a:lnTo>
                  <a:pt x="90" y="15"/>
                </a:lnTo>
                <a:lnTo>
                  <a:pt x="100" y="27"/>
                </a:lnTo>
                <a:lnTo>
                  <a:pt x="108" y="39"/>
                </a:lnTo>
                <a:lnTo>
                  <a:pt x="114" y="49"/>
                </a:lnTo>
                <a:lnTo>
                  <a:pt x="121" y="59"/>
                </a:lnTo>
                <a:lnTo>
                  <a:pt x="125" y="62"/>
                </a:lnTo>
                <a:lnTo>
                  <a:pt x="130" y="65"/>
                </a:lnTo>
                <a:lnTo>
                  <a:pt x="134" y="67"/>
                </a:lnTo>
                <a:lnTo>
                  <a:pt x="139" y="67"/>
                </a:lnTo>
                <a:lnTo>
                  <a:pt x="146" y="67"/>
                </a:lnTo>
                <a:lnTo>
                  <a:pt x="152" y="66"/>
                </a:lnTo>
                <a:lnTo>
                  <a:pt x="157" y="63"/>
                </a:lnTo>
                <a:lnTo>
                  <a:pt x="163" y="61"/>
                </a:lnTo>
                <a:lnTo>
                  <a:pt x="172" y="54"/>
                </a:lnTo>
                <a:lnTo>
                  <a:pt x="181" y="45"/>
                </a:lnTo>
                <a:lnTo>
                  <a:pt x="190" y="37"/>
                </a:lnTo>
                <a:lnTo>
                  <a:pt x="198" y="29"/>
                </a:lnTo>
                <a:lnTo>
                  <a:pt x="205" y="23"/>
                </a:lnTo>
                <a:lnTo>
                  <a:pt x="213" y="18"/>
                </a:lnTo>
                <a:lnTo>
                  <a:pt x="216" y="25"/>
                </a:lnTo>
                <a:lnTo>
                  <a:pt x="220" y="31"/>
                </a:lnTo>
                <a:lnTo>
                  <a:pt x="293" y="31"/>
                </a:lnTo>
                <a:lnTo>
                  <a:pt x="352" y="6"/>
                </a:lnTo>
                <a:lnTo>
                  <a:pt x="359" y="11"/>
                </a:lnTo>
                <a:lnTo>
                  <a:pt x="367" y="17"/>
                </a:lnTo>
                <a:lnTo>
                  <a:pt x="371" y="21"/>
                </a:lnTo>
                <a:lnTo>
                  <a:pt x="376" y="23"/>
                </a:lnTo>
                <a:lnTo>
                  <a:pt x="381" y="24"/>
                </a:lnTo>
                <a:lnTo>
                  <a:pt x="385" y="25"/>
                </a:lnTo>
                <a:lnTo>
                  <a:pt x="396" y="22"/>
                </a:lnTo>
                <a:lnTo>
                  <a:pt x="413" y="18"/>
                </a:lnTo>
                <a:lnTo>
                  <a:pt x="413" y="28"/>
                </a:lnTo>
                <a:lnTo>
                  <a:pt x="413" y="37"/>
                </a:lnTo>
                <a:lnTo>
                  <a:pt x="413" y="39"/>
                </a:lnTo>
                <a:lnTo>
                  <a:pt x="414" y="41"/>
                </a:lnTo>
                <a:lnTo>
                  <a:pt x="415" y="43"/>
                </a:lnTo>
                <a:lnTo>
                  <a:pt x="417" y="45"/>
                </a:lnTo>
                <a:lnTo>
                  <a:pt x="423" y="49"/>
                </a:lnTo>
                <a:lnTo>
                  <a:pt x="429" y="54"/>
                </a:lnTo>
                <a:lnTo>
                  <a:pt x="435" y="59"/>
                </a:lnTo>
                <a:lnTo>
                  <a:pt x="440" y="64"/>
                </a:lnTo>
                <a:lnTo>
                  <a:pt x="443" y="68"/>
                </a:lnTo>
                <a:lnTo>
                  <a:pt x="444" y="71"/>
                </a:lnTo>
                <a:lnTo>
                  <a:pt x="445" y="76"/>
                </a:lnTo>
                <a:lnTo>
                  <a:pt x="446" y="80"/>
                </a:lnTo>
                <a:lnTo>
                  <a:pt x="445" y="87"/>
                </a:lnTo>
                <a:lnTo>
                  <a:pt x="443" y="92"/>
                </a:lnTo>
                <a:lnTo>
                  <a:pt x="438" y="96"/>
                </a:lnTo>
                <a:lnTo>
                  <a:pt x="434" y="100"/>
                </a:lnTo>
                <a:lnTo>
                  <a:pt x="423" y="106"/>
                </a:lnTo>
                <a:lnTo>
                  <a:pt x="413" y="111"/>
                </a:lnTo>
                <a:lnTo>
                  <a:pt x="407" y="115"/>
                </a:lnTo>
                <a:lnTo>
                  <a:pt x="402" y="118"/>
                </a:lnTo>
                <a:lnTo>
                  <a:pt x="397" y="120"/>
                </a:lnTo>
                <a:lnTo>
                  <a:pt x="392" y="121"/>
                </a:lnTo>
                <a:lnTo>
                  <a:pt x="380" y="123"/>
                </a:lnTo>
                <a:lnTo>
                  <a:pt x="366" y="123"/>
                </a:lnTo>
                <a:lnTo>
                  <a:pt x="344" y="129"/>
                </a:lnTo>
                <a:lnTo>
                  <a:pt x="322" y="137"/>
                </a:lnTo>
                <a:lnTo>
                  <a:pt x="300" y="146"/>
                </a:lnTo>
                <a:lnTo>
                  <a:pt x="279" y="156"/>
                </a:lnTo>
                <a:lnTo>
                  <a:pt x="257" y="164"/>
                </a:lnTo>
                <a:lnTo>
                  <a:pt x="234" y="171"/>
                </a:lnTo>
                <a:lnTo>
                  <a:pt x="223" y="174"/>
                </a:lnTo>
                <a:lnTo>
                  <a:pt x="211" y="176"/>
                </a:lnTo>
                <a:lnTo>
                  <a:pt x="199" y="178"/>
                </a:lnTo>
                <a:lnTo>
                  <a:pt x="187" y="178"/>
                </a:lnTo>
                <a:lnTo>
                  <a:pt x="181" y="177"/>
                </a:lnTo>
                <a:lnTo>
                  <a:pt x="177" y="174"/>
                </a:lnTo>
                <a:lnTo>
                  <a:pt x="175" y="171"/>
                </a:lnTo>
                <a:lnTo>
                  <a:pt x="173" y="166"/>
                </a:lnTo>
                <a:lnTo>
                  <a:pt x="172" y="164"/>
                </a:lnTo>
                <a:lnTo>
                  <a:pt x="172" y="163"/>
                </a:lnTo>
                <a:lnTo>
                  <a:pt x="171" y="162"/>
                </a:lnTo>
                <a:lnTo>
                  <a:pt x="170" y="161"/>
                </a:lnTo>
                <a:lnTo>
                  <a:pt x="166" y="161"/>
                </a:lnTo>
                <a:lnTo>
                  <a:pt x="161" y="161"/>
                </a:lnTo>
                <a:lnTo>
                  <a:pt x="156" y="161"/>
                </a:lnTo>
                <a:lnTo>
                  <a:pt x="150" y="162"/>
                </a:lnTo>
                <a:lnTo>
                  <a:pt x="145" y="162"/>
                </a:lnTo>
                <a:lnTo>
                  <a:pt x="139" y="160"/>
                </a:lnTo>
                <a:lnTo>
                  <a:pt x="125" y="156"/>
                </a:lnTo>
                <a:lnTo>
                  <a:pt x="112" y="152"/>
                </a:lnTo>
                <a:lnTo>
                  <a:pt x="100" y="147"/>
                </a:lnTo>
                <a:lnTo>
                  <a:pt x="91" y="143"/>
                </a:lnTo>
                <a:lnTo>
                  <a:pt x="87" y="140"/>
                </a:lnTo>
                <a:lnTo>
                  <a:pt x="85" y="137"/>
                </a:lnTo>
                <a:lnTo>
                  <a:pt x="82" y="134"/>
                </a:lnTo>
                <a:lnTo>
                  <a:pt x="81" y="129"/>
                </a:lnTo>
                <a:lnTo>
                  <a:pt x="81" y="125"/>
                </a:lnTo>
                <a:lnTo>
                  <a:pt x="81" y="121"/>
                </a:lnTo>
                <a:lnTo>
                  <a:pt x="83" y="116"/>
                </a:lnTo>
                <a:lnTo>
                  <a:pt x="87" y="111"/>
                </a:lnTo>
                <a:lnTo>
                  <a:pt x="63" y="108"/>
                </a:lnTo>
                <a:lnTo>
                  <a:pt x="38" y="104"/>
                </a:lnTo>
                <a:lnTo>
                  <a:pt x="27" y="103"/>
                </a:lnTo>
                <a:lnTo>
                  <a:pt x="18" y="103"/>
                </a:lnTo>
                <a:lnTo>
                  <a:pt x="13" y="104"/>
                </a:lnTo>
                <a:lnTo>
                  <a:pt x="9" y="105"/>
                </a:lnTo>
                <a:lnTo>
                  <a:pt x="4" y="108"/>
                </a:lnTo>
                <a:lnTo>
                  <a:pt x="0" y="111"/>
                </a:lnTo>
                <a:lnTo>
                  <a:pt x="0" y="80"/>
                </a:lnTo>
                <a:lnTo>
                  <a:pt x="30" y="82"/>
                </a:lnTo>
                <a:lnTo>
                  <a:pt x="51" y="85"/>
                </a:lnTo>
                <a:lnTo>
                  <a:pt x="60" y="86"/>
                </a:lnTo>
                <a:lnTo>
                  <a:pt x="68" y="86"/>
                </a:lnTo>
                <a:lnTo>
                  <a:pt x="77" y="84"/>
                </a:lnTo>
                <a:lnTo>
                  <a:pt x="87" y="80"/>
                </a:lnTo>
                <a:lnTo>
                  <a:pt x="64" y="76"/>
                </a:lnTo>
                <a:lnTo>
                  <a:pt x="44" y="71"/>
                </a:lnTo>
                <a:lnTo>
                  <a:pt x="23" y="68"/>
                </a:lnTo>
                <a:lnTo>
                  <a:pt x="0" y="67"/>
                </a:lnTo>
                <a:lnTo>
                  <a:pt x="9" y="62"/>
                </a:lnTo>
                <a:lnTo>
                  <a:pt x="16" y="55"/>
                </a:lnTo>
                <a:lnTo>
                  <a:pt x="22" y="49"/>
                </a:lnTo>
                <a:lnTo>
                  <a:pt x="27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90" name="Freeform 242"/>
          <p:cNvSpPr>
            <a:spLocks/>
          </p:cNvSpPr>
          <p:nvPr>
            <p:custDataLst>
              <p:tags r:id="rId169"/>
            </p:custDataLst>
          </p:nvPr>
        </p:nvSpPr>
        <p:spPr bwMode="auto">
          <a:xfrm>
            <a:off x="5864225" y="1862138"/>
            <a:ext cx="14288" cy="57150"/>
          </a:xfrm>
          <a:custGeom>
            <a:avLst/>
            <a:gdLst>
              <a:gd name="T0" fmla="*/ 0 w 28"/>
              <a:gd name="T1" fmla="*/ 73 h 73"/>
              <a:gd name="T2" fmla="*/ 2 w 28"/>
              <a:gd name="T3" fmla="*/ 47 h 73"/>
              <a:gd name="T4" fmla="*/ 6 w 28"/>
              <a:gd name="T5" fmla="*/ 28 h 73"/>
              <a:gd name="T6" fmla="*/ 7 w 28"/>
              <a:gd name="T7" fmla="*/ 20 h 73"/>
              <a:gd name="T8" fmla="*/ 6 w 28"/>
              <a:gd name="T9" fmla="*/ 13 h 73"/>
              <a:gd name="T10" fmla="*/ 4 w 28"/>
              <a:gd name="T11" fmla="*/ 7 h 73"/>
              <a:gd name="T12" fmla="*/ 0 w 28"/>
              <a:gd name="T13" fmla="*/ 0 h 73"/>
              <a:gd name="T14" fmla="*/ 28 w 28"/>
              <a:gd name="T15" fmla="*/ 0 h 73"/>
              <a:gd name="T16" fmla="*/ 22 w 28"/>
              <a:gd name="T17" fmla="*/ 16 h 73"/>
              <a:gd name="T18" fmla="*/ 17 w 28"/>
              <a:gd name="T19" fmla="*/ 30 h 73"/>
              <a:gd name="T20" fmla="*/ 12 w 28"/>
              <a:gd name="T21" fmla="*/ 43 h 73"/>
              <a:gd name="T22" fmla="*/ 7 w 28"/>
              <a:gd name="T23" fmla="*/ 55 h 73"/>
              <a:gd name="T24" fmla="*/ 0 w 28"/>
              <a:gd name="T25" fmla="*/ 73 h 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" h="73">
                <a:moveTo>
                  <a:pt x="0" y="73"/>
                </a:moveTo>
                <a:lnTo>
                  <a:pt x="2" y="47"/>
                </a:lnTo>
                <a:lnTo>
                  <a:pt x="6" y="28"/>
                </a:lnTo>
                <a:lnTo>
                  <a:pt x="7" y="20"/>
                </a:lnTo>
                <a:lnTo>
                  <a:pt x="6" y="13"/>
                </a:lnTo>
                <a:lnTo>
                  <a:pt x="4" y="7"/>
                </a:lnTo>
                <a:lnTo>
                  <a:pt x="0" y="0"/>
                </a:lnTo>
                <a:lnTo>
                  <a:pt x="28" y="0"/>
                </a:lnTo>
                <a:lnTo>
                  <a:pt x="22" y="16"/>
                </a:lnTo>
                <a:lnTo>
                  <a:pt x="17" y="30"/>
                </a:lnTo>
                <a:lnTo>
                  <a:pt x="12" y="43"/>
                </a:lnTo>
                <a:lnTo>
                  <a:pt x="7" y="55"/>
                </a:lnTo>
                <a:lnTo>
                  <a:pt x="0" y="7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91" name="Freeform 243"/>
          <p:cNvSpPr>
            <a:spLocks/>
          </p:cNvSpPr>
          <p:nvPr>
            <p:custDataLst>
              <p:tags r:id="rId170"/>
            </p:custDataLst>
          </p:nvPr>
        </p:nvSpPr>
        <p:spPr bwMode="auto">
          <a:xfrm>
            <a:off x="5751513" y="1525589"/>
            <a:ext cx="234950" cy="395287"/>
          </a:xfrm>
          <a:custGeom>
            <a:avLst/>
            <a:gdLst>
              <a:gd name="T0" fmla="*/ 419 w 531"/>
              <a:gd name="T1" fmla="*/ 203 h 757"/>
              <a:gd name="T2" fmla="*/ 406 w 531"/>
              <a:gd name="T3" fmla="*/ 221 h 757"/>
              <a:gd name="T4" fmla="*/ 404 w 531"/>
              <a:gd name="T5" fmla="*/ 237 h 757"/>
              <a:gd name="T6" fmla="*/ 382 w 531"/>
              <a:gd name="T7" fmla="*/ 275 h 757"/>
              <a:gd name="T8" fmla="*/ 325 w 531"/>
              <a:gd name="T9" fmla="*/ 306 h 757"/>
              <a:gd name="T10" fmla="*/ 252 w 531"/>
              <a:gd name="T11" fmla="*/ 354 h 757"/>
              <a:gd name="T12" fmla="*/ 237 w 531"/>
              <a:gd name="T13" fmla="*/ 369 h 757"/>
              <a:gd name="T14" fmla="*/ 245 w 531"/>
              <a:gd name="T15" fmla="*/ 381 h 757"/>
              <a:gd name="T16" fmla="*/ 240 w 531"/>
              <a:gd name="T17" fmla="*/ 424 h 757"/>
              <a:gd name="T18" fmla="*/ 239 w 531"/>
              <a:gd name="T19" fmla="*/ 449 h 757"/>
              <a:gd name="T20" fmla="*/ 262 w 531"/>
              <a:gd name="T21" fmla="*/ 468 h 757"/>
              <a:gd name="T22" fmla="*/ 320 w 531"/>
              <a:gd name="T23" fmla="*/ 485 h 757"/>
              <a:gd name="T24" fmla="*/ 332 w 531"/>
              <a:gd name="T25" fmla="*/ 505 h 757"/>
              <a:gd name="T26" fmla="*/ 310 w 531"/>
              <a:gd name="T27" fmla="*/ 531 h 757"/>
              <a:gd name="T28" fmla="*/ 272 w 531"/>
              <a:gd name="T29" fmla="*/ 547 h 757"/>
              <a:gd name="T30" fmla="*/ 265 w 531"/>
              <a:gd name="T31" fmla="*/ 560 h 757"/>
              <a:gd name="T32" fmla="*/ 252 w 531"/>
              <a:gd name="T33" fmla="*/ 631 h 757"/>
              <a:gd name="T34" fmla="*/ 239 w 531"/>
              <a:gd name="T35" fmla="*/ 721 h 757"/>
              <a:gd name="T36" fmla="*/ 173 w 531"/>
              <a:gd name="T37" fmla="*/ 727 h 757"/>
              <a:gd name="T38" fmla="*/ 152 w 531"/>
              <a:gd name="T39" fmla="*/ 738 h 757"/>
              <a:gd name="T40" fmla="*/ 153 w 531"/>
              <a:gd name="T41" fmla="*/ 757 h 757"/>
              <a:gd name="T42" fmla="*/ 106 w 531"/>
              <a:gd name="T43" fmla="*/ 757 h 757"/>
              <a:gd name="T44" fmla="*/ 95 w 531"/>
              <a:gd name="T45" fmla="*/ 752 h 757"/>
              <a:gd name="T46" fmla="*/ 71 w 531"/>
              <a:gd name="T47" fmla="*/ 718 h 757"/>
              <a:gd name="T48" fmla="*/ 41 w 531"/>
              <a:gd name="T49" fmla="*/ 640 h 757"/>
              <a:gd name="T50" fmla="*/ 34 w 531"/>
              <a:gd name="T51" fmla="*/ 597 h 757"/>
              <a:gd name="T52" fmla="*/ 14 w 531"/>
              <a:gd name="T53" fmla="*/ 586 h 757"/>
              <a:gd name="T54" fmla="*/ 19 w 531"/>
              <a:gd name="T55" fmla="*/ 561 h 757"/>
              <a:gd name="T56" fmla="*/ 36 w 531"/>
              <a:gd name="T57" fmla="*/ 538 h 757"/>
              <a:gd name="T58" fmla="*/ 53 w 531"/>
              <a:gd name="T59" fmla="*/ 504 h 757"/>
              <a:gd name="T60" fmla="*/ 61 w 531"/>
              <a:gd name="T61" fmla="*/ 471 h 757"/>
              <a:gd name="T62" fmla="*/ 64 w 531"/>
              <a:gd name="T63" fmla="*/ 441 h 757"/>
              <a:gd name="T64" fmla="*/ 58 w 531"/>
              <a:gd name="T65" fmla="*/ 408 h 757"/>
              <a:gd name="T66" fmla="*/ 43 w 531"/>
              <a:gd name="T67" fmla="*/ 377 h 757"/>
              <a:gd name="T68" fmla="*/ 74 w 531"/>
              <a:gd name="T69" fmla="*/ 276 h 757"/>
              <a:gd name="T70" fmla="*/ 103 w 531"/>
              <a:gd name="T71" fmla="*/ 275 h 757"/>
              <a:gd name="T72" fmla="*/ 113 w 531"/>
              <a:gd name="T73" fmla="*/ 234 h 757"/>
              <a:gd name="T74" fmla="*/ 137 w 531"/>
              <a:gd name="T75" fmla="*/ 192 h 757"/>
              <a:gd name="T76" fmla="*/ 180 w 531"/>
              <a:gd name="T77" fmla="*/ 145 h 757"/>
              <a:gd name="T78" fmla="*/ 198 w 531"/>
              <a:gd name="T79" fmla="*/ 111 h 757"/>
              <a:gd name="T80" fmla="*/ 228 w 531"/>
              <a:gd name="T81" fmla="*/ 60 h 757"/>
              <a:gd name="T82" fmla="*/ 249 w 531"/>
              <a:gd name="T83" fmla="*/ 43 h 757"/>
              <a:gd name="T84" fmla="*/ 309 w 531"/>
              <a:gd name="T85" fmla="*/ 29 h 757"/>
              <a:gd name="T86" fmla="*/ 368 w 531"/>
              <a:gd name="T87" fmla="*/ 13 h 757"/>
              <a:gd name="T88" fmla="*/ 401 w 531"/>
              <a:gd name="T89" fmla="*/ 5 h 757"/>
              <a:gd name="T90" fmla="*/ 431 w 531"/>
              <a:gd name="T91" fmla="*/ 32 h 757"/>
              <a:gd name="T92" fmla="*/ 457 w 531"/>
              <a:gd name="T93" fmla="*/ 42 h 757"/>
              <a:gd name="T94" fmla="*/ 513 w 531"/>
              <a:gd name="T95" fmla="*/ 111 h 757"/>
              <a:gd name="T96" fmla="*/ 528 w 531"/>
              <a:gd name="T97" fmla="*/ 150 h 7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31" h="757">
                <a:moveTo>
                  <a:pt x="531" y="190"/>
                </a:moveTo>
                <a:lnTo>
                  <a:pt x="432" y="190"/>
                </a:lnTo>
                <a:lnTo>
                  <a:pt x="428" y="194"/>
                </a:lnTo>
                <a:lnTo>
                  <a:pt x="419" y="203"/>
                </a:lnTo>
                <a:lnTo>
                  <a:pt x="413" y="208"/>
                </a:lnTo>
                <a:lnTo>
                  <a:pt x="409" y="213"/>
                </a:lnTo>
                <a:lnTo>
                  <a:pt x="407" y="218"/>
                </a:lnTo>
                <a:lnTo>
                  <a:pt x="406" y="221"/>
                </a:lnTo>
                <a:lnTo>
                  <a:pt x="404" y="226"/>
                </a:lnTo>
                <a:lnTo>
                  <a:pt x="403" y="230"/>
                </a:lnTo>
                <a:lnTo>
                  <a:pt x="403" y="233"/>
                </a:lnTo>
                <a:lnTo>
                  <a:pt x="404" y="237"/>
                </a:lnTo>
                <a:lnTo>
                  <a:pt x="407" y="244"/>
                </a:lnTo>
                <a:lnTo>
                  <a:pt x="412" y="252"/>
                </a:lnTo>
                <a:lnTo>
                  <a:pt x="397" y="264"/>
                </a:lnTo>
                <a:lnTo>
                  <a:pt x="382" y="275"/>
                </a:lnTo>
                <a:lnTo>
                  <a:pt x="367" y="284"/>
                </a:lnTo>
                <a:lnTo>
                  <a:pt x="353" y="291"/>
                </a:lnTo>
                <a:lnTo>
                  <a:pt x="339" y="299"/>
                </a:lnTo>
                <a:lnTo>
                  <a:pt x="325" y="306"/>
                </a:lnTo>
                <a:lnTo>
                  <a:pt x="311" y="315"/>
                </a:lnTo>
                <a:lnTo>
                  <a:pt x="299" y="325"/>
                </a:lnTo>
                <a:lnTo>
                  <a:pt x="277" y="338"/>
                </a:lnTo>
                <a:lnTo>
                  <a:pt x="252" y="354"/>
                </a:lnTo>
                <a:lnTo>
                  <a:pt x="248" y="358"/>
                </a:lnTo>
                <a:lnTo>
                  <a:pt x="242" y="361"/>
                </a:lnTo>
                <a:lnTo>
                  <a:pt x="239" y="365"/>
                </a:lnTo>
                <a:lnTo>
                  <a:pt x="237" y="369"/>
                </a:lnTo>
                <a:lnTo>
                  <a:pt x="237" y="372"/>
                </a:lnTo>
                <a:lnTo>
                  <a:pt x="238" y="375"/>
                </a:lnTo>
                <a:lnTo>
                  <a:pt x="241" y="378"/>
                </a:lnTo>
                <a:lnTo>
                  <a:pt x="245" y="381"/>
                </a:lnTo>
                <a:lnTo>
                  <a:pt x="245" y="391"/>
                </a:lnTo>
                <a:lnTo>
                  <a:pt x="245" y="400"/>
                </a:lnTo>
                <a:lnTo>
                  <a:pt x="243" y="413"/>
                </a:lnTo>
                <a:lnTo>
                  <a:pt x="240" y="424"/>
                </a:lnTo>
                <a:lnTo>
                  <a:pt x="238" y="430"/>
                </a:lnTo>
                <a:lnTo>
                  <a:pt x="238" y="436"/>
                </a:lnTo>
                <a:lnTo>
                  <a:pt x="238" y="443"/>
                </a:lnTo>
                <a:lnTo>
                  <a:pt x="239" y="449"/>
                </a:lnTo>
                <a:lnTo>
                  <a:pt x="243" y="456"/>
                </a:lnTo>
                <a:lnTo>
                  <a:pt x="249" y="461"/>
                </a:lnTo>
                <a:lnTo>
                  <a:pt x="255" y="465"/>
                </a:lnTo>
                <a:lnTo>
                  <a:pt x="262" y="468"/>
                </a:lnTo>
                <a:lnTo>
                  <a:pt x="277" y="473"/>
                </a:lnTo>
                <a:lnTo>
                  <a:pt x="293" y="477"/>
                </a:lnTo>
                <a:lnTo>
                  <a:pt x="308" y="480"/>
                </a:lnTo>
                <a:lnTo>
                  <a:pt x="320" y="485"/>
                </a:lnTo>
                <a:lnTo>
                  <a:pt x="326" y="488"/>
                </a:lnTo>
                <a:lnTo>
                  <a:pt x="329" y="492"/>
                </a:lnTo>
                <a:lnTo>
                  <a:pt x="331" y="499"/>
                </a:lnTo>
                <a:lnTo>
                  <a:pt x="332" y="505"/>
                </a:lnTo>
                <a:lnTo>
                  <a:pt x="332" y="517"/>
                </a:lnTo>
                <a:lnTo>
                  <a:pt x="332" y="529"/>
                </a:lnTo>
                <a:lnTo>
                  <a:pt x="321" y="530"/>
                </a:lnTo>
                <a:lnTo>
                  <a:pt x="310" y="531"/>
                </a:lnTo>
                <a:lnTo>
                  <a:pt x="299" y="534"/>
                </a:lnTo>
                <a:lnTo>
                  <a:pt x="289" y="537"/>
                </a:lnTo>
                <a:lnTo>
                  <a:pt x="280" y="542"/>
                </a:lnTo>
                <a:lnTo>
                  <a:pt x="272" y="547"/>
                </a:lnTo>
                <a:lnTo>
                  <a:pt x="270" y="551"/>
                </a:lnTo>
                <a:lnTo>
                  <a:pt x="267" y="554"/>
                </a:lnTo>
                <a:lnTo>
                  <a:pt x="266" y="557"/>
                </a:lnTo>
                <a:lnTo>
                  <a:pt x="265" y="560"/>
                </a:lnTo>
                <a:lnTo>
                  <a:pt x="264" y="576"/>
                </a:lnTo>
                <a:lnTo>
                  <a:pt x="262" y="593"/>
                </a:lnTo>
                <a:lnTo>
                  <a:pt x="258" y="612"/>
                </a:lnTo>
                <a:lnTo>
                  <a:pt x="252" y="631"/>
                </a:lnTo>
                <a:lnTo>
                  <a:pt x="248" y="651"/>
                </a:lnTo>
                <a:lnTo>
                  <a:pt x="243" y="673"/>
                </a:lnTo>
                <a:lnTo>
                  <a:pt x="240" y="695"/>
                </a:lnTo>
                <a:lnTo>
                  <a:pt x="239" y="721"/>
                </a:lnTo>
                <a:lnTo>
                  <a:pt x="224" y="721"/>
                </a:lnTo>
                <a:lnTo>
                  <a:pt x="206" y="722"/>
                </a:lnTo>
                <a:lnTo>
                  <a:pt x="189" y="724"/>
                </a:lnTo>
                <a:lnTo>
                  <a:pt x="173" y="727"/>
                </a:lnTo>
                <a:lnTo>
                  <a:pt x="166" y="730"/>
                </a:lnTo>
                <a:lnTo>
                  <a:pt x="161" y="732"/>
                </a:lnTo>
                <a:lnTo>
                  <a:pt x="155" y="735"/>
                </a:lnTo>
                <a:lnTo>
                  <a:pt x="152" y="738"/>
                </a:lnTo>
                <a:lnTo>
                  <a:pt x="150" y="742"/>
                </a:lnTo>
                <a:lnTo>
                  <a:pt x="149" y="747"/>
                </a:lnTo>
                <a:lnTo>
                  <a:pt x="150" y="751"/>
                </a:lnTo>
                <a:lnTo>
                  <a:pt x="153" y="757"/>
                </a:lnTo>
                <a:lnTo>
                  <a:pt x="142" y="757"/>
                </a:lnTo>
                <a:lnTo>
                  <a:pt x="127" y="757"/>
                </a:lnTo>
                <a:lnTo>
                  <a:pt x="113" y="757"/>
                </a:lnTo>
                <a:lnTo>
                  <a:pt x="106" y="757"/>
                </a:lnTo>
                <a:lnTo>
                  <a:pt x="104" y="757"/>
                </a:lnTo>
                <a:lnTo>
                  <a:pt x="101" y="756"/>
                </a:lnTo>
                <a:lnTo>
                  <a:pt x="98" y="754"/>
                </a:lnTo>
                <a:lnTo>
                  <a:pt x="95" y="752"/>
                </a:lnTo>
                <a:lnTo>
                  <a:pt x="90" y="746"/>
                </a:lnTo>
                <a:lnTo>
                  <a:pt x="84" y="738"/>
                </a:lnTo>
                <a:lnTo>
                  <a:pt x="77" y="729"/>
                </a:lnTo>
                <a:lnTo>
                  <a:pt x="71" y="718"/>
                </a:lnTo>
                <a:lnTo>
                  <a:pt x="65" y="706"/>
                </a:lnTo>
                <a:lnTo>
                  <a:pt x="60" y="693"/>
                </a:lnTo>
                <a:lnTo>
                  <a:pt x="49" y="667"/>
                </a:lnTo>
                <a:lnTo>
                  <a:pt x="41" y="640"/>
                </a:lnTo>
                <a:lnTo>
                  <a:pt x="38" y="628"/>
                </a:lnTo>
                <a:lnTo>
                  <a:pt x="35" y="616"/>
                </a:lnTo>
                <a:lnTo>
                  <a:pt x="34" y="606"/>
                </a:lnTo>
                <a:lnTo>
                  <a:pt x="34" y="597"/>
                </a:lnTo>
                <a:lnTo>
                  <a:pt x="27" y="596"/>
                </a:lnTo>
                <a:lnTo>
                  <a:pt x="22" y="594"/>
                </a:lnTo>
                <a:lnTo>
                  <a:pt x="17" y="590"/>
                </a:lnTo>
                <a:lnTo>
                  <a:pt x="14" y="586"/>
                </a:lnTo>
                <a:lnTo>
                  <a:pt x="8" y="576"/>
                </a:lnTo>
                <a:lnTo>
                  <a:pt x="0" y="566"/>
                </a:lnTo>
                <a:lnTo>
                  <a:pt x="9" y="563"/>
                </a:lnTo>
                <a:lnTo>
                  <a:pt x="19" y="561"/>
                </a:lnTo>
                <a:lnTo>
                  <a:pt x="27" y="560"/>
                </a:lnTo>
                <a:lnTo>
                  <a:pt x="34" y="560"/>
                </a:lnTo>
                <a:lnTo>
                  <a:pt x="34" y="548"/>
                </a:lnTo>
                <a:lnTo>
                  <a:pt x="36" y="538"/>
                </a:lnTo>
                <a:lnTo>
                  <a:pt x="38" y="528"/>
                </a:lnTo>
                <a:lnTo>
                  <a:pt x="42" y="519"/>
                </a:lnTo>
                <a:lnTo>
                  <a:pt x="47" y="511"/>
                </a:lnTo>
                <a:lnTo>
                  <a:pt x="53" y="504"/>
                </a:lnTo>
                <a:lnTo>
                  <a:pt x="59" y="498"/>
                </a:lnTo>
                <a:lnTo>
                  <a:pt x="67" y="492"/>
                </a:lnTo>
                <a:lnTo>
                  <a:pt x="62" y="480"/>
                </a:lnTo>
                <a:lnTo>
                  <a:pt x="61" y="471"/>
                </a:lnTo>
                <a:lnTo>
                  <a:pt x="61" y="464"/>
                </a:lnTo>
                <a:lnTo>
                  <a:pt x="61" y="457"/>
                </a:lnTo>
                <a:lnTo>
                  <a:pt x="63" y="450"/>
                </a:lnTo>
                <a:lnTo>
                  <a:pt x="64" y="441"/>
                </a:lnTo>
                <a:lnTo>
                  <a:pt x="65" y="428"/>
                </a:lnTo>
                <a:lnTo>
                  <a:pt x="67" y="412"/>
                </a:lnTo>
                <a:lnTo>
                  <a:pt x="62" y="410"/>
                </a:lnTo>
                <a:lnTo>
                  <a:pt x="58" y="408"/>
                </a:lnTo>
                <a:lnTo>
                  <a:pt x="54" y="404"/>
                </a:lnTo>
                <a:lnTo>
                  <a:pt x="51" y="400"/>
                </a:lnTo>
                <a:lnTo>
                  <a:pt x="47" y="390"/>
                </a:lnTo>
                <a:lnTo>
                  <a:pt x="43" y="377"/>
                </a:lnTo>
                <a:lnTo>
                  <a:pt x="40" y="354"/>
                </a:lnTo>
                <a:lnTo>
                  <a:pt x="40" y="338"/>
                </a:lnTo>
                <a:lnTo>
                  <a:pt x="60" y="277"/>
                </a:lnTo>
                <a:lnTo>
                  <a:pt x="74" y="276"/>
                </a:lnTo>
                <a:lnTo>
                  <a:pt x="88" y="275"/>
                </a:lnTo>
                <a:lnTo>
                  <a:pt x="94" y="274"/>
                </a:lnTo>
                <a:lnTo>
                  <a:pt x="99" y="274"/>
                </a:lnTo>
                <a:lnTo>
                  <a:pt x="103" y="275"/>
                </a:lnTo>
                <a:lnTo>
                  <a:pt x="106" y="277"/>
                </a:lnTo>
                <a:lnTo>
                  <a:pt x="107" y="261"/>
                </a:lnTo>
                <a:lnTo>
                  <a:pt x="109" y="247"/>
                </a:lnTo>
                <a:lnTo>
                  <a:pt x="113" y="234"/>
                </a:lnTo>
                <a:lnTo>
                  <a:pt x="118" y="222"/>
                </a:lnTo>
                <a:lnTo>
                  <a:pt x="124" y="211"/>
                </a:lnTo>
                <a:lnTo>
                  <a:pt x="130" y="201"/>
                </a:lnTo>
                <a:lnTo>
                  <a:pt x="137" y="192"/>
                </a:lnTo>
                <a:lnTo>
                  <a:pt x="144" y="183"/>
                </a:lnTo>
                <a:lnTo>
                  <a:pt x="160" y="168"/>
                </a:lnTo>
                <a:lnTo>
                  <a:pt x="173" y="152"/>
                </a:lnTo>
                <a:lnTo>
                  <a:pt x="180" y="145"/>
                </a:lnTo>
                <a:lnTo>
                  <a:pt x="185" y="138"/>
                </a:lnTo>
                <a:lnTo>
                  <a:pt x="189" y="130"/>
                </a:lnTo>
                <a:lnTo>
                  <a:pt x="193" y="123"/>
                </a:lnTo>
                <a:lnTo>
                  <a:pt x="198" y="111"/>
                </a:lnTo>
                <a:lnTo>
                  <a:pt x="205" y="97"/>
                </a:lnTo>
                <a:lnTo>
                  <a:pt x="213" y="83"/>
                </a:lnTo>
                <a:lnTo>
                  <a:pt x="220" y="71"/>
                </a:lnTo>
                <a:lnTo>
                  <a:pt x="228" y="60"/>
                </a:lnTo>
                <a:lnTo>
                  <a:pt x="237" y="51"/>
                </a:lnTo>
                <a:lnTo>
                  <a:pt x="241" y="47"/>
                </a:lnTo>
                <a:lnTo>
                  <a:pt x="244" y="44"/>
                </a:lnTo>
                <a:lnTo>
                  <a:pt x="249" y="43"/>
                </a:lnTo>
                <a:lnTo>
                  <a:pt x="252" y="42"/>
                </a:lnTo>
                <a:lnTo>
                  <a:pt x="272" y="36"/>
                </a:lnTo>
                <a:lnTo>
                  <a:pt x="291" y="32"/>
                </a:lnTo>
                <a:lnTo>
                  <a:pt x="309" y="29"/>
                </a:lnTo>
                <a:lnTo>
                  <a:pt x="327" y="25"/>
                </a:lnTo>
                <a:lnTo>
                  <a:pt x="344" y="22"/>
                </a:lnTo>
                <a:lnTo>
                  <a:pt x="361" y="16"/>
                </a:lnTo>
                <a:lnTo>
                  <a:pt x="368" y="13"/>
                </a:lnTo>
                <a:lnTo>
                  <a:pt x="376" y="9"/>
                </a:lnTo>
                <a:lnTo>
                  <a:pt x="384" y="5"/>
                </a:lnTo>
                <a:lnTo>
                  <a:pt x="392" y="0"/>
                </a:lnTo>
                <a:lnTo>
                  <a:pt x="401" y="5"/>
                </a:lnTo>
                <a:lnTo>
                  <a:pt x="409" y="11"/>
                </a:lnTo>
                <a:lnTo>
                  <a:pt x="416" y="18"/>
                </a:lnTo>
                <a:lnTo>
                  <a:pt x="423" y="25"/>
                </a:lnTo>
                <a:lnTo>
                  <a:pt x="431" y="32"/>
                </a:lnTo>
                <a:lnTo>
                  <a:pt x="441" y="37"/>
                </a:lnTo>
                <a:lnTo>
                  <a:pt x="445" y="39"/>
                </a:lnTo>
                <a:lnTo>
                  <a:pt x="452" y="41"/>
                </a:lnTo>
                <a:lnTo>
                  <a:pt x="457" y="42"/>
                </a:lnTo>
                <a:lnTo>
                  <a:pt x="465" y="42"/>
                </a:lnTo>
                <a:lnTo>
                  <a:pt x="487" y="72"/>
                </a:lnTo>
                <a:lnTo>
                  <a:pt x="508" y="102"/>
                </a:lnTo>
                <a:lnTo>
                  <a:pt x="513" y="111"/>
                </a:lnTo>
                <a:lnTo>
                  <a:pt x="518" y="120"/>
                </a:lnTo>
                <a:lnTo>
                  <a:pt x="521" y="129"/>
                </a:lnTo>
                <a:lnTo>
                  <a:pt x="524" y="139"/>
                </a:lnTo>
                <a:lnTo>
                  <a:pt x="528" y="150"/>
                </a:lnTo>
                <a:lnTo>
                  <a:pt x="530" y="163"/>
                </a:lnTo>
                <a:lnTo>
                  <a:pt x="531" y="176"/>
                </a:lnTo>
                <a:lnTo>
                  <a:pt x="531" y="19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92" name="Freeform 244"/>
          <p:cNvSpPr>
            <a:spLocks/>
          </p:cNvSpPr>
          <p:nvPr>
            <p:custDataLst>
              <p:tags r:id="rId171"/>
            </p:custDataLst>
          </p:nvPr>
        </p:nvSpPr>
        <p:spPr bwMode="auto">
          <a:xfrm>
            <a:off x="5889625" y="1839913"/>
            <a:ext cx="26988" cy="57150"/>
          </a:xfrm>
          <a:custGeom>
            <a:avLst/>
            <a:gdLst>
              <a:gd name="T0" fmla="*/ 0 w 60"/>
              <a:gd name="T1" fmla="*/ 37 h 51"/>
              <a:gd name="T2" fmla="*/ 6 w 60"/>
              <a:gd name="T3" fmla="*/ 30 h 51"/>
              <a:gd name="T4" fmla="*/ 15 w 60"/>
              <a:gd name="T5" fmla="*/ 19 h 51"/>
              <a:gd name="T6" fmla="*/ 20 w 60"/>
              <a:gd name="T7" fmla="*/ 13 h 51"/>
              <a:gd name="T8" fmla="*/ 27 w 60"/>
              <a:gd name="T9" fmla="*/ 8 h 51"/>
              <a:gd name="T10" fmla="*/ 33 w 60"/>
              <a:gd name="T11" fmla="*/ 4 h 51"/>
              <a:gd name="T12" fmla="*/ 40 w 60"/>
              <a:gd name="T13" fmla="*/ 0 h 51"/>
              <a:gd name="T14" fmla="*/ 50 w 60"/>
              <a:gd name="T15" fmla="*/ 7 h 51"/>
              <a:gd name="T16" fmla="*/ 60 w 60"/>
              <a:gd name="T17" fmla="*/ 13 h 51"/>
              <a:gd name="T18" fmla="*/ 59 w 60"/>
              <a:gd name="T19" fmla="*/ 20 h 51"/>
              <a:gd name="T20" fmla="*/ 56 w 60"/>
              <a:gd name="T21" fmla="*/ 29 h 51"/>
              <a:gd name="T22" fmla="*/ 54 w 60"/>
              <a:gd name="T23" fmla="*/ 34 h 51"/>
              <a:gd name="T24" fmla="*/ 52 w 60"/>
              <a:gd name="T25" fmla="*/ 38 h 51"/>
              <a:gd name="T26" fmla="*/ 49 w 60"/>
              <a:gd name="T27" fmla="*/ 42 h 51"/>
              <a:gd name="T28" fmla="*/ 45 w 60"/>
              <a:gd name="T29" fmla="*/ 45 h 51"/>
              <a:gd name="T30" fmla="*/ 41 w 60"/>
              <a:gd name="T31" fmla="*/ 48 h 51"/>
              <a:gd name="T32" fmla="*/ 37 w 60"/>
              <a:gd name="T33" fmla="*/ 50 h 51"/>
              <a:gd name="T34" fmla="*/ 31 w 60"/>
              <a:gd name="T35" fmla="*/ 51 h 51"/>
              <a:gd name="T36" fmla="*/ 27 w 60"/>
              <a:gd name="T37" fmla="*/ 51 h 51"/>
              <a:gd name="T38" fmla="*/ 20 w 60"/>
              <a:gd name="T39" fmla="*/ 50 h 51"/>
              <a:gd name="T40" fmla="*/ 15 w 60"/>
              <a:gd name="T41" fmla="*/ 47 h 51"/>
              <a:gd name="T42" fmla="*/ 7 w 60"/>
              <a:gd name="T43" fmla="*/ 43 h 51"/>
              <a:gd name="T44" fmla="*/ 0 w 60"/>
              <a:gd name="T45" fmla="*/ 37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60" h="51">
                <a:moveTo>
                  <a:pt x="0" y="37"/>
                </a:moveTo>
                <a:lnTo>
                  <a:pt x="6" y="30"/>
                </a:lnTo>
                <a:lnTo>
                  <a:pt x="15" y="19"/>
                </a:lnTo>
                <a:lnTo>
                  <a:pt x="20" y="13"/>
                </a:lnTo>
                <a:lnTo>
                  <a:pt x="27" y="8"/>
                </a:lnTo>
                <a:lnTo>
                  <a:pt x="33" y="4"/>
                </a:lnTo>
                <a:lnTo>
                  <a:pt x="40" y="0"/>
                </a:lnTo>
                <a:lnTo>
                  <a:pt x="50" y="7"/>
                </a:lnTo>
                <a:lnTo>
                  <a:pt x="60" y="13"/>
                </a:lnTo>
                <a:lnTo>
                  <a:pt x="59" y="20"/>
                </a:lnTo>
                <a:lnTo>
                  <a:pt x="56" y="29"/>
                </a:lnTo>
                <a:lnTo>
                  <a:pt x="54" y="34"/>
                </a:lnTo>
                <a:lnTo>
                  <a:pt x="52" y="38"/>
                </a:lnTo>
                <a:lnTo>
                  <a:pt x="49" y="42"/>
                </a:lnTo>
                <a:lnTo>
                  <a:pt x="45" y="45"/>
                </a:lnTo>
                <a:lnTo>
                  <a:pt x="41" y="48"/>
                </a:lnTo>
                <a:lnTo>
                  <a:pt x="37" y="50"/>
                </a:lnTo>
                <a:lnTo>
                  <a:pt x="31" y="51"/>
                </a:lnTo>
                <a:lnTo>
                  <a:pt x="27" y="51"/>
                </a:lnTo>
                <a:lnTo>
                  <a:pt x="20" y="50"/>
                </a:lnTo>
                <a:lnTo>
                  <a:pt x="15" y="47"/>
                </a:lnTo>
                <a:lnTo>
                  <a:pt x="7" y="43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93" name="Freeform 245"/>
          <p:cNvSpPr>
            <a:spLocks/>
          </p:cNvSpPr>
          <p:nvPr>
            <p:custDataLst>
              <p:tags r:id="rId172"/>
            </p:custDataLst>
          </p:nvPr>
        </p:nvSpPr>
        <p:spPr bwMode="auto">
          <a:xfrm>
            <a:off x="5334001" y="2001838"/>
            <a:ext cx="28575" cy="57150"/>
          </a:xfrm>
          <a:custGeom>
            <a:avLst/>
            <a:gdLst>
              <a:gd name="T0" fmla="*/ 59 w 66"/>
              <a:gd name="T1" fmla="*/ 48 h 51"/>
              <a:gd name="T2" fmla="*/ 42 w 66"/>
              <a:gd name="T3" fmla="*/ 50 h 51"/>
              <a:gd name="T4" fmla="*/ 22 w 66"/>
              <a:gd name="T5" fmla="*/ 51 h 51"/>
              <a:gd name="T6" fmla="*/ 17 w 66"/>
              <a:gd name="T7" fmla="*/ 50 h 51"/>
              <a:gd name="T8" fmla="*/ 13 w 66"/>
              <a:gd name="T9" fmla="*/ 49 h 51"/>
              <a:gd name="T10" fmla="*/ 10 w 66"/>
              <a:gd name="T11" fmla="*/ 48 h 51"/>
              <a:gd name="T12" fmla="*/ 7 w 66"/>
              <a:gd name="T13" fmla="*/ 46 h 51"/>
              <a:gd name="T14" fmla="*/ 3 w 66"/>
              <a:gd name="T15" fmla="*/ 43 h 51"/>
              <a:gd name="T16" fmla="*/ 1 w 66"/>
              <a:gd name="T17" fmla="*/ 40 h 51"/>
              <a:gd name="T18" fmla="*/ 0 w 66"/>
              <a:gd name="T19" fmla="*/ 35 h 51"/>
              <a:gd name="T20" fmla="*/ 0 w 66"/>
              <a:gd name="T21" fmla="*/ 30 h 51"/>
              <a:gd name="T22" fmla="*/ 4 w 66"/>
              <a:gd name="T23" fmla="*/ 29 h 51"/>
              <a:gd name="T24" fmla="*/ 10 w 66"/>
              <a:gd name="T25" fmla="*/ 27 h 51"/>
              <a:gd name="T26" fmla="*/ 14 w 66"/>
              <a:gd name="T27" fmla="*/ 24 h 51"/>
              <a:gd name="T28" fmla="*/ 19 w 66"/>
              <a:gd name="T29" fmla="*/ 20 h 51"/>
              <a:gd name="T30" fmla="*/ 26 w 66"/>
              <a:gd name="T31" fmla="*/ 10 h 51"/>
              <a:gd name="T32" fmla="*/ 33 w 66"/>
              <a:gd name="T33" fmla="*/ 0 h 51"/>
              <a:gd name="T34" fmla="*/ 46 w 66"/>
              <a:gd name="T35" fmla="*/ 1 h 51"/>
              <a:gd name="T36" fmla="*/ 52 w 66"/>
              <a:gd name="T37" fmla="*/ 2 h 51"/>
              <a:gd name="T38" fmla="*/ 56 w 66"/>
              <a:gd name="T39" fmla="*/ 3 h 51"/>
              <a:gd name="T40" fmla="*/ 66 w 66"/>
              <a:gd name="T41" fmla="*/ 0 h 51"/>
              <a:gd name="T42" fmla="*/ 65 w 66"/>
              <a:gd name="T43" fmla="*/ 13 h 51"/>
              <a:gd name="T44" fmla="*/ 63 w 66"/>
              <a:gd name="T45" fmla="*/ 24 h 51"/>
              <a:gd name="T46" fmla="*/ 60 w 66"/>
              <a:gd name="T47" fmla="*/ 36 h 51"/>
              <a:gd name="T48" fmla="*/ 59 w 66"/>
              <a:gd name="T49" fmla="*/ 48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6" h="51">
                <a:moveTo>
                  <a:pt x="59" y="48"/>
                </a:moveTo>
                <a:lnTo>
                  <a:pt x="42" y="50"/>
                </a:lnTo>
                <a:lnTo>
                  <a:pt x="22" y="51"/>
                </a:lnTo>
                <a:lnTo>
                  <a:pt x="17" y="50"/>
                </a:lnTo>
                <a:lnTo>
                  <a:pt x="13" y="49"/>
                </a:lnTo>
                <a:lnTo>
                  <a:pt x="10" y="48"/>
                </a:lnTo>
                <a:lnTo>
                  <a:pt x="7" y="46"/>
                </a:lnTo>
                <a:lnTo>
                  <a:pt x="3" y="43"/>
                </a:lnTo>
                <a:lnTo>
                  <a:pt x="1" y="40"/>
                </a:lnTo>
                <a:lnTo>
                  <a:pt x="0" y="35"/>
                </a:lnTo>
                <a:lnTo>
                  <a:pt x="0" y="30"/>
                </a:lnTo>
                <a:lnTo>
                  <a:pt x="4" y="29"/>
                </a:lnTo>
                <a:lnTo>
                  <a:pt x="10" y="27"/>
                </a:lnTo>
                <a:lnTo>
                  <a:pt x="14" y="24"/>
                </a:lnTo>
                <a:lnTo>
                  <a:pt x="19" y="20"/>
                </a:lnTo>
                <a:lnTo>
                  <a:pt x="26" y="10"/>
                </a:lnTo>
                <a:lnTo>
                  <a:pt x="33" y="0"/>
                </a:lnTo>
                <a:lnTo>
                  <a:pt x="46" y="1"/>
                </a:lnTo>
                <a:lnTo>
                  <a:pt x="52" y="2"/>
                </a:lnTo>
                <a:lnTo>
                  <a:pt x="56" y="3"/>
                </a:lnTo>
                <a:lnTo>
                  <a:pt x="66" y="0"/>
                </a:lnTo>
                <a:lnTo>
                  <a:pt x="65" y="13"/>
                </a:lnTo>
                <a:lnTo>
                  <a:pt x="63" y="24"/>
                </a:lnTo>
                <a:lnTo>
                  <a:pt x="60" y="36"/>
                </a:lnTo>
                <a:lnTo>
                  <a:pt x="59" y="4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94" name="Freeform 246"/>
          <p:cNvSpPr>
            <a:spLocks/>
          </p:cNvSpPr>
          <p:nvPr>
            <p:custDataLst>
              <p:tags r:id="rId173"/>
            </p:custDataLst>
          </p:nvPr>
        </p:nvSpPr>
        <p:spPr bwMode="auto">
          <a:xfrm>
            <a:off x="6286500" y="2530475"/>
            <a:ext cx="50800" cy="57150"/>
          </a:xfrm>
          <a:custGeom>
            <a:avLst/>
            <a:gdLst>
              <a:gd name="T0" fmla="*/ 0 w 113"/>
              <a:gd name="T1" fmla="*/ 44 h 74"/>
              <a:gd name="T2" fmla="*/ 20 w 113"/>
              <a:gd name="T3" fmla="*/ 74 h 74"/>
              <a:gd name="T4" fmla="*/ 37 w 113"/>
              <a:gd name="T5" fmla="*/ 69 h 74"/>
              <a:gd name="T6" fmla="*/ 51 w 113"/>
              <a:gd name="T7" fmla="*/ 65 h 74"/>
              <a:gd name="T8" fmla="*/ 64 w 113"/>
              <a:gd name="T9" fmla="*/ 59 h 74"/>
              <a:gd name="T10" fmla="*/ 74 w 113"/>
              <a:gd name="T11" fmla="*/ 53 h 74"/>
              <a:gd name="T12" fmla="*/ 78 w 113"/>
              <a:gd name="T13" fmla="*/ 49 h 74"/>
              <a:gd name="T14" fmla="*/ 83 w 113"/>
              <a:gd name="T15" fmla="*/ 45 h 74"/>
              <a:gd name="T16" fmla="*/ 86 w 113"/>
              <a:gd name="T17" fmla="*/ 41 h 74"/>
              <a:gd name="T18" fmla="*/ 88 w 113"/>
              <a:gd name="T19" fmla="*/ 37 h 74"/>
              <a:gd name="T20" fmla="*/ 90 w 113"/>
              <a:gd name="T21" fmla="*/ 32 h 74"/>
              <a:gd name="T22" fmla="*/ 91 w 113"/>
              <a:gd name="T23" fmla="*/ 26 h 74"/>
              <a:gd name="T24" fmla="*/ 93 w 113"/>
              <a:gd name="T25" fmla="*/ 19 h 74"/>
              <a:gd name="T26" fmla="*/ 94 w 113"/>
              <a:gd name="T27" fmla="*/ 13 h 74"/>
              <a:gd name="T28" fmla="*/ 99 w 113"/>
              <a:gd name="T29" fmla="*/ 12 h 74"/>
              <a:gd name="T30" fmla="*/ 106 w 113"/>
              <a:gd name="T31" fmla="*/ 9 h 74"/>
              <a:gd name="T32" fmla="*/ 108 w 113"/>
              <a:gd name="T33" fmla="*/ 7 h 74"/>
              <a:gd name="T34" fmla="*/ 111 w 113"/>
              <a:gd name="T35" fmla="*/ 5 h 74"/>
              <a:gd name="T36" fmla="*/ 112 w 113"/>
              <a:gd name="T37" fmla="*/ 3 h 74"/>
              <a:gd name="T38" fmla="*/ 113 w 113"/>
              <a:gd name="T39" fmla="*/ 0 h 74"/>
              <a:gd name="T40" fmla="*/ 98 w 113"/>
              <a:gd name="T41" fmla="*/ 4 h 74"/>
              <a:gd name="T42" fmla="*/ 82 w 113"/>
              <a:gd name="T43" fmla="*/ 8 h 74"/>
              <a:gd name="T44" fmla="*/ 65 w 113"/>
              <a:gd name="T45" fmla="*/ 13 h 74"/>
              <a:gd name="T46" fmla="*/ 49 w 113"/>
              <a:gd name="T47" fmla="*/ 19 h 74"/>
              <a:gd name="T48" fmla="*/ 20 w 113"/>
              <a:gd name="T49" fmla="*/ 33 h 74"/>
              <a:gd name="T50" fmla="*/ 0 w 113"/>
              <a:gd name="T51" fmla="*/ 44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13" h="74">
                <a:moveTo>
                  <a:pt x="0" y="44"/>
                </a:moveTo>
                <a:lnTo>
                  <a:pt x="20" y="74"/>
                </a:lnTo>
                <a:lnTo>
                  <a:pt x="37" y="69"/>
                </a:lnTo>
                <a:lnTo>
                  <a:pt x="51" y="65"/>
                </a:lnTo>
                <a:lnTo>
                  <a:pt x="64" y="59"/>
                </a:lnTo>
                <a:lnTo>
                  <a:pt x="74" y="53"/>
                </a:lnTo>
                <a:lnTo>
                  <a:pt x="78" y="49"/>
                </a:lnTo>
                <a:lnTo>
                  <a:pt x="83" y="45"/>
                </a:lnTo>
                <a:lnTo>
                  <a:pt x="86" y="41"/>
                </a:lnTo>
                <a:lnTo>
                  <a:pt x="88" y="37"/>
                </a:lnTo>
                <a:lnTo>
                  <a:pt x="90" y="32"/>
                </a:lnTo>
                <a:lnTo>
                  <a:pt x="91" y="26"/>
                </a:lnTo>
                <a:lnTo>
                  <a:pt x="93" y="19"/>
                </a:lnTo>
                <a:lnTo>
                  <a:pt x="94" y="13"/>
                </a:lnTo>
                <a:lnTo>
                  <a:pt x="99" y="12"/>
                </a:lnTo>
                <a:lnTo>
                  <a:pt x="106" y="9"/>
                </a:lnTo>
                <a:lnTo>
                  <a:pt x="108" y="7"/>
                </a:lnTo>
                <a:lnTo>
                  <a:pt x="111" y="5"/>
                </a:lnTo>
                <a:lnTo>
                  <a:pt x="112" y="3"/>
                </a:lnTo>
                <a:lnTo>
                  <a:pt x="113" y="0"/>
                </a:lnTo>
                <a:lnTo>
                  <a:pt x="98" y="4"/>
                </a:lnTo>
                <a:lnTo>
                  <a:pt x="82" y="8"/>
                </a:lnTo>
                <a:lnTo>
                  <a:pt x="65" y="13"/>
                </a:lnTo>
                <a:lnTo>
                  <a:pt x="49" y="19"/>
                </a:lnTo>
                <a:lnTo>
                  <a:pt x="20" y="33"/>
                </a:lnTo>
                <a:lnTo>
                  <a:pt x="0" y="4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95" name="Freeform 247"/>
          <p:cNvSpPr>
            <a:spLocks/>
          </p:cNvSpPr>
          <p:nvPr>
            <p:custDataLst>
              <p:tags r:id="rId174"/>
            </p:custDataLst>
          </p:nvPr>
        </p:nvSpPr>
        <p:spPr bwMode="auto">
          <a:xfrm>
            <a:off x="5894389" y="3322639"/>
            <a:ext cx="325437" cy="244475"/>
          </a:xfrm>
          <a:custGeom>
            <a:avLst/>
            <a:gdLst>
              <a:gd name="T0" fmla="*/ 98 w 746"/>
              <a:gd name="T1" fmla="*/ 452 h 469"/>
              <a:gd name="T2" fmla="*/ 54 w 746"/>
              <a:gd name="T3" fmla="*/ 440 h 469"/>
              <a:gd name="T4" fmla="*/ 21 w 746"/>
              <a:gd name="T5" fmla="*/ 429 h 469"/>
              <a:gd name="T6" fmla="*/ 5 w 746"/>
              <a:gd name="T7" fmla="*/ 413 h 469"/>
              <a:gd name="T8" fmla="*/ 0 w 746"/>
              <a:gd name="T9" fmla="*/ 363 h 469"/>
              <a:gd name="T10" fmla="*/ 5 w 746"/>
              <a:gd name="T11" fmla="*/ 309 h 469"/>
              <a:gd name="T12" fmla="*/ 23 w 746"/>
              <a:gd name="T13" fmla="*/ 273 h 469"/>
              <a:gd name="T14" fmla="*/ 56 w 746"/>
              <a:gd name="T15" fmla="*/ 228 h 469"/>
              <a:gd name="T16" fmla="*/ 121 w 746"/>
              <a:gd name="T17" fmla="*/ 204 h 469"/>
              <a:gd name="T18" fmla="*/ 166 w 746"/>
              <a:gd name="T19" fmla="*/ 188 h 469"/>
              <a:gd name="T20" fmla="*/ 235 w 746"/>
              <a:gd name="T21" fmla="*/ 173 h 469"/>
              <a:gd name="T22" fmla="*/ 262 w 746"/>
              <a:gd name="T23" fmla="*/ 153 h 469"/>
              <a:gd name="T24" fmla="*/ 267 w 746"/>
              <a:gd name="T25" fmla="*/ 136 h 469"/>
              <a:gd name="T26" fmla="*/ 292 w 746"/>
              <a:gd name="T27" fmla="*/ 120 h 469"/>
              <a:gd name="T28" fmla="*/ 332 w 746"/>
              <a:gd name="T29" fmla="*/ 115 h 469"/>
              <a:gd name="T30" fmla="*/ 359 w 746"/>
              <a:gd name="T31" fmla="*/ 101 h 469"/>
              <a:gd name="T32" fmla="*/ 389 w 746"/>
              <a:gd name="T33" fmla="*/ 67 h 469"/>
              <a:gd name="T34" fmla="*/ 425 w 746"/>
              <a:gd name="T35" fmla="*/ 22 h 469"/>
              <a:gd name="T36" fmla="*/ 450 w 746"/>
              <a:gd name="T37" fmla="*/ 6 h 469"/>
              <a:gd name="T38" fmla="*/ 486 w 746"/>
              <a:gd name="T39" fmla="*/ 0 h 469"/>
              <a:gd name="T40" fmla="*/ 507 w 746"/>
              <a:gd name="T41" fmla="*/ 29 h 469"/>
              <a:gd name="T42" fmla="*/ 532 w 746"/>
              <a:gd name="T43" fmla="*/ 53 h 469"/>
              <a:gd name="T44" fmla="*/ 553 w 746"/>
              <a:gd name="T45" fmla="*/ 107 h 469"/>
              <a:gd name="T46" fmla="*/ 579 w 746"/>
              <a:gd name="T47" fmla="*/ 159 h 469"/>
              <a:gd name="T48" fmla="*/ 613 w 746"/>
              <a:gd name="T49" fmla="*/ 172 h 469"/>
              <a:gd name="T50" fmla="*/ 628 w 746"/>
              <a:gd name="T51" fmla="*/ 193 h 469"/>
              <a:gd name="T52" fmla="*/ 650 w 746"/>
              <a:gd name="T53" fmla="*/ 233 h 469"/>
              <a:gd name="T54" fmla="*/ 702 w 746"/>
              <a:gd name="T55" fmla="*/ 279 h 469"/>
              <a:gd name="T56" fmla="*/ 741 w 746"/>
              <a:gd name="T57" fmla="*/ 315 h 469"/>
              <a:gd name="T58" fmla="*/ 711 w 746"/>
              <a:gd name="T59" fmla="*/ 345 h 469"/>
              <a:gd name="T60" fmla="*/ 691 w 746"/>
              <a:gd name="T61" fmla="*/ 342 h 469"/>
              <a:gd name="T62" fmla="*/ 679 w 746"/>
              <a:gd name="T63" fmla="*/ 321 h 469"/>
              <a:gd name="T64" fmla="*/ 651 w 746"/>
              <a:gd name="T65" fmla="*/ 330 h 469"/>
              <a:gd name="T66" fmla="*/ 639 w 746"/>
              <a:gd name="T67" fmla="*/ 352 h 469"/>
              <a:gd name="T68" fmla="*/ 604 w 746"/>
              <a:gd name="T69" fmla="*/ 356 h 469"/>
              <a:gd name="T70" fmla="*/ 553 w 746"/>
              <a:gd name="T71" fmla="*/ 356 h 469"/>
              <a:gd name="T72" fmla="*/ 522 w 746"/>
              <a:gd name="T73" fmla="*/ 365 h 469"/>
              <a:gd name="T74" fmla="*/ 496 w 746"/>
              <a:gd name="T75" fmla="*/ 387 h 469"/>
              <a:gd name="T76" fmla="*/ 486 w 746"/>
              <a:gd name="T77" fmla="*/ 394 h 469"/>
              <a:gd name="T78" fmla="*/ 426 w 746"/>
              <a:gd name="T79" fmla="*/ 400 h 469"/>
              <a:gd name="T80" fmla="*/ 396 w 746"/>
              <a:gd name="T81" fmla="*/ 392 h 469"/>
              <a:gd name="T82" fmla="*/ 349 w 746"/>
              <a:gd name="T83" fmla="*/ 354 h 469"/>
              <a:gd name="T84" fmla="*/ 319 w 746"/>
              <a:gd name="T85" fmla="*/ 345 h 469"/>
              <a:gd name="T86" fmla="*/ 291 w 746"/>
              <a:gd name="T87" fmla="*/ 355 h 469"/>
              <a:gd name="T88" fmla="*/ 266 w 746"/>
              <a:gd name="T89" fmla="*/ 377 h 469"/>
              <a:gd name="T90" fmla="*/ 227 w 746"/>
              <a:gd name="T91" fmla="*/ 437 h 469"/>
              <a:gd name="T92" fmla="*/ 150 w 746"/>
              <a:gd name="T93" fmla="*/ 439 h 469"/>
              <a:gd name="T94" fmla="*/ 135 w 746"/>
              <a:gd name="T95" fmla="*/ 448 h 4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746" h="469">
                <a:moveTo>
                  <a:pt x="114" y="469"/>
                </a:moveTo>
                <a:lnTo>
                  <a:pt x="109" y="463"/>
                </a:lnTo>
                <a:lnTo>
                  <a:pt x="103" y="456"/>
                </a:lnTo>
                <a:lnTo>
                  <a:pt x="98" y="452"/>
                </a:lnTo>
                <a:lnTo>
                  <a:pt x="92" y="449"/>
                </a:lnTo>
                <a:lnTo>
                  <a:pt x="79" y="445"/>
                </a:lnTo>
                <a:lnTo>
                  <a:pt x="67" y="442"/>
                </a:lnTo>
                <a:lnTo>
                  <a:pt x="54" y="440"/>
                </a:lnTo>
                <a:lnTo>
                  <a:pt x="39" y="437"/>
                </a:lnTo>
                <a:lnTo>
                  <a:pt x="33" y="435"/>
                </a:lnTo>
                <a:lnTo>
                  <a:pt x="26" y="433"/>
                </a:lnTo>
                <a:lnTo>
                  <a:pt x="21" y="429"/>
                </a:lnTo>
                <a:lnTo>
                  <a:pt x="14" y="425"/>
                </a:lnTo>
                <a:lnTo>
                  <a:pt x="11" y="422"/>
                </a:lnTo>
                <a:lnTo>
                  <a:pt x="8" y="418"/>
                </a:lnTo>
                <a:lnTo>
                  <a:pt x="5" y="413"/>
                </a:lnTo>
                <a:lnTo>
                  <a:pt x="3" y="408"/>
                </a:lnTo>
                <a:lnTo>
                  <a:pt x="1" y="396"/>
                </a:lnTo>
                <a:lnTo>
                  <a:pt x="0" y="385"/>
                </a:lnTo>
                <a:lnTo>
                  <a:pt x="0" y="363"/>
                </a:lnTo>
                <a:lnTo>
                  <a:pt x="1" y="345"/>
                </a:lnTo>
                <a:lnTo>
                  <a:pt x="1" y="332"/>
                </a:lnTo>
                <a:lnTo>
                  <a:pt x="3" y="320"/>
                </a:lnTo>
                <a:lnTo>
                  <a:pt x="5" y="309"/>
                </a:lnTo>
                <a:lnTo>
                  <a:pt x="10" y="299"/>
                </a:lnTo>
                <a:lnTo>
                  <a:pt x="13" y="289"/>
                </a:lnTo>
                <a:lnTo>
                  <a:pt x="19" y="281"/>
                </a:lnTo>
                <a:lnTo>
                  <a:pt x="23" y="273"/>
                </a:lnTo>
                <a:lnTo>
                  <a:pt x="30" y="265"/>
                </a:lnTo>
                <a:lnTo>
                  <a:pt x="41" y="251"/>
                </a:lnTo>
                <a:lnTo>
                  <a:pt x="52" y="236"/>
                </a:lnTo>
                <a:lnTo>
                  <a:pt x="56" y="228"/>
                </a:lnTo>
                <a:lnTo>
                  <a:pt x="60" y="220"/>
                </a:lnTo>
                <a:lnTo>
                  <a:pt x="65" y="212"/>
                </a:lnTo>
                <a:lnTo>
                  <a:pt x="67" y="204"/>
                </a:lnTo>
                <a:lnTo>
                  <a:pt x="121" y="204"/>
                </a:lnTo>
                <a:lnTo>
                  <a:pt x="131" y="198"/>
                </a:lnTo>
                <a:lnTo>
                  <a:pt x="142" y="194"/>
                </a:lnTo>
                <a:lnTo>
                  <a:pt x="154" y="191"/>
                </a:lnTo>
                <a:lnTo>
                  <a:pt x="166" y="188"/>
                </a:lnTo>
                <a:lnTo>
                  <a:pt x="190" y="184"/>
                </a:lnTo>
                <a:lnTo>
                  <a:pt x="213" y="178"/>
                </a:lnTo>
                <a:lnTo>
                  <a:pt x="224" y="176"/>
                </a:lnTo>
                <a:lnTo>
                  <a:pt x="235" y="173"/>
                </a:lnTo>
                <a:lnTo>
                  <a:pt x="244" y="170"/>
                </a:lnTo>
                <a:lnTo>
                  <a:pt x="251" y="165"/>
                </a:lnTo>
                <a:lnTo>
                  <a:pt x="258" y="160"/>
                </a:lnTo>
                <a:lnTo>
                  <a:pt x="262" y="153"/>
                </a:lnTo>
                <a:lnTo>
                  <a:pt x="265" y="150"/>
                </a:lnTo>
                <a:lnTo>
                  <a:pt x="266" y="145"/>
                </a:lnTo>
                <a:lnTo>
                  <a:pt x="267" y="141"/>
                </a:lnTo>
                <a:lnTo>
                  <a:pt x="267" y="136"/>
                </a:lnTo>
                <a:lnTo>
                  <a:pt x="267" y="126"/>
                </a:lnTo>
                <a:lnTo>
                  <a:pt x="267" y="117"/>
                </a:lnTo>
                <a:lnTo>
                  <a:pt x="280" y="119"/>
                </a:lnTo>
                <a:lnTo>
                  <a:pt x="292" y="120"/>
                </a:lnTo>
                <a:lnTo>
                  <a:pt x="303" y="120"/>
                </a:lnTo>
                <a:lnTo>
                  <a:pt x="313" y="119"/>
                </a:lnTo>
                <a:lnTo>
                  <a:pt x="323" y="117"/>
                </a:lnTo>
                <a:lnTo>
                  <a:pt x="332" y="115"/>
                </a:lnTo>
                <a:lnTo>
                  <a:pt x="339" y="112"/>
                </a:lnTo>
                <a:lnTo>
                  <a:pt x="347" y="109"/>
                </a:lnTo>
                <a:lnTo>
                  <a:pt x="354" y="105"/>
                </a:lnTo>
                <a:lnTo>
                  <a:pt x="359" y="101"/>
                </a:lnTo>
                <a:lnTo>
                  <a:pt x="366" y="96"/>
                </a:lnTo>
                <a:lnTo>
                  <a:pt x="370" y="91"/>
                </a:lnTo>
                <a:lnTo>
                  <a:pt x="380" y="80"/>
                </a:lnTo>
                <a:lnTo>
                  <a:pt x="389" y="67"/>
                </a:lnTo>
                <a:lnTo>
                  <a:pt x="397" y="56"/>
                </a:lnTo>
                <a:lnTo>
                  <a:pt x="405" y="44"/>
                </a:lnTo>
                <a:lnTo>
                  <a:pt x="414" y="32"/>
                </a:lnTo>
                <a:lnTo>
                  <a:pt x="425" y="22"/>
                </a:lnTo>
                <a:lnTo>
                  <a:pt x="430" y="18"/>
                </a:lnTo>
                <a:lnTo>
                  <a:pt x="436" y="13"/>
                </a:lnTo>
                <a:lnTo>
                  <a:pt x="442" y="9"/>
                </a:lnTo>
                <a:lnTo>
                  <a:pt x="450" y="6"/>
                </a:lnTo>
                <a:lnTo>
                  <a:pt x="458" y="3"/>
                </a:lnTo>
                <a:lnTo>
                  <a:pt x="467" y="1"/>
                </a:lnTo>
                <a:lnTo>
                  <a:pt x="475" y="0"/>
                </a:lnTo>
                <a:lnTo>
                  <a:pt x="486" y="0"/>
                </a:lnTo>
                <a:lnTo>
                  <a:pt x="486" y="6"/>
                </a:lnTo>
                <a:lnTo>
                  <a:pt x="492" y="14"/>
                </a:lnTo>
                <a:lnTo>
                  <a:pt x="498" y="22"/>
                </a:lnTo>
                <a:lnTo>
                  <a:pt x="507" y="29"/>
                </a:lnTo>
                <a:lnTo>
                  <a:pt x="515" y="35"/>
                </a:lnTo>
                <a:lnTo>
                  <a:pt x="523" y="41"/>
                </a:lnTo>
                <a:lnTo>
                  <a:pt x="530" y="49"/>
                </a:lnTo>
                <a:lnTo>
                  <a:pt x="532" y="53"/>
                </a:lnTo>
                <a:lnTo>
                  <a:pt x="536" y="57"/>
                </a:lnTo>
                <a:lnTo>
                  <a:pt x="538" y="62"/>
                </a:lnTo>
                <a:lnTo>
                  <a:pt x="539" y="67"/>
                </a:lnTo>
                <a:lnTo>
                  <a:pt x="553" y="107"/>
                </a:lnTo>
                <a:lnTo>
                  <a:pt x="564" y="141"/>
                </a:lnTo>
                <a:lnTo>
                  <a:pt x="569" y="148"/>
                </a:lnTo>
                <a:lnTo>
                  <a:pt x="573" y="154"/>
                </a:lnTo>
                <a:lnTo>
                  <a:pt x="579" y="159"/>
                </a:lnTo>
                <a:lnTo>
                  <a:pt x="585" y="164"/>
                </a:lnTo>
                <a:lnTo>
                  <a:pt x="593" y="168"/>
                </a:lnTo>
                <a:lnTo>
                  <a:pt x="602" y="170"/>
                </a:lnTo>
                <a:lnTo>
                  <a:pt x="613" y="172"/>
                </a:lnTo>
                <a:lnTo>
                  <a:pt x="626" y="172"/>
                </a:lnTo>
                <a:lnTo>
                  <a:pt x="626" y="179"/>
                </a:lnTo>
                <a:lnTo>
                  <a:pt x="627" y="187"/>
                </a:lnTo>
                <a:lnTo>
                  <a:pt x="628" y="193"/>
                </a:lnTo>
                <a:lnTo>
                  <a:pt x="630" y="199"/>
                </a:lnTo>
                <a:lnTo>
                  <a:pt x="636" y="211"/>
                </a:lnTo>
                <a:lnTo>
                  <a:pt x="642" y="222"/>
                </a:lnTo>
                <a:lnTo>
                  <a:pt x="650" y="233"/>
                </a:lnTo>
                <a:lnTo>
                  <a:pt x="660" y="244"/>
                </a:lnTo>
                <a:lnTo>
                  <a:pt x="670" y="254"/>
                </a:lnTo>
                <a:lnTo>
                  <a:pt x="681" y="263"/>
                </a:lnTo>
                <a:lnTo>
                  <a:pt x="702" y="279"/>
                </a:lnTo>
                <a:lnTo>
                  <a:pt x="720" y="294"/>
                </a:lnTo>
                <a:lnTo>
                  <a:pt x="729" y="302"/>
                </a:lnTo>
                <a:lnTo>
                  <a:pt x="736" y="309"/>
                </a:lnTo>
                <a:lnTo>
                  <a:pt x="741" y="315"/>
                </a:lnTo>
                <a:lnTo>
                  <a:pt x="746" y="321"/>
                </a:lnTo>
                <a:lnTo>
                  <a:pt x="738" y="345"/>
                </a:lnTo>
                <a:lnTo>
                  <a:pt x="728" y="345"/>
                </a:lnTo>
                <a:lnTo>
                  <a:pt x="711" y="345"/>
                </a:lnTo>
                <a:lnTo>
                  <a:pt x="706" y="345"/>
                </a:lnTo>
                <a:lnTo>
                  <a:pt x="700" y="344"/>
                </a:lnTo>
                <a:lnTo>
                  <a:pt x="695" y="343"/>
                </a:lnTo>
                <a:lnTo>
                  <a:pt x="691" y="342"/>
                </a:lnTo>
                <a:lnTo>
                  <a:pt x="685" y="339"/>
                </a:lnTo>
                <a:lnTo>
                  <a:pt x="682" y="335"/>
                </a:lnTo>
                <a:lnTo>
                  <a:pt x="680" y="329"/>
                </a:lnTo>
                <a:lnTo>
                  <a:pt x="679" y="321"/>
                </a:lnTo>
                <a:lnTo>
                  <a:pt x="666" y="321"/>
                </a:lnTo>
                <a:lnTo>
                  <a:pt x="659" y="321"/>
                </a:lnTo>
                <a:lnTo>
                  <a:pt x="654" y="325"/>
                </a:lnTo>
                <a:lnTo>
                  <a:pt x="651" y="330"/>
                </a:lnTo>
                <a:lnTo>
                  <a:pt x="648" y="334"/>
                </a:lnTo>
                <a:lnTo>
                  <a:pt x="647" y="338"/>
                </a:lnTo>
                <a:lnTo>
                  <a:pt x="642" y="345"/>
                </a:lnTo>
                <a:lnTo>
                  <a:pt x="639" y="352"/>
                </a:lnTo>
                <a:lnTo>
                  <a:pt x="630" y="354"/>
                </a:lnTo>
                <a:lnTo>
                  <a:pt x="621" y="355"/>
                </a:lnTo>
                <a:lnTo>
                  <a:pt x="613" y="355"/>
                </a:lnTo>
                <a:lnTo>
                  <a:pt x="604" y="356"/>
                </a:lnTo>
                <a:lnTo>
                  <a:pt x="586" y="355"/>
                </a:lnTo>
                <a:lnTo>
                  <a:pt x="570" y="355"/>
                </a:lnTo>
                <a:lnTo>
                  <a:pt x="561" y="355"/>
                </a:lnTo>
                <a:lnTo>
                  <a:pt x="553" y="356"/>
                </a:lnTo>
                <a:lnTo>
                  <a:pt x="545" y="357"/>
                </a:lnTo>
                <a:lnTo>
                  <a:pt x="537" y="359"/>
                </a:lnTo>
                <a:lnTo>
                  <a:pt x="529" y="361"/>
                </a:lnTo>
                <a:lnTo>
                  <a:pt x="522" y="365"/>
                </a:lnTo>
                <a:lnTo>
                  <a:pt x="514" y="370"/>
                </a:lnTo>
                <a:lnTo>
                  <a:pt x="506" y="376"/>
                </a:lnTo>
                <a:lnTo>
                  <a:pt x="501" y="381"/>
                </a:lnTo>
                <a:lnTo>
                  <a:pt x="496" y="387"/>
                </a:lnTo>
                <a:lnTo>
                  <a:pt x="493" y="390"/>
                </a:lnTo>
                <a:lnTo>
                  <a:pt x="491" y="392"/>
                </a:lnTo>
                <a:lnTo>
                  <a:pt x="489" y="394"/>
                </a:lnTo>
                <a:lnTo>
                  <a:pt x="486" y="394"/>
                </a:lnTo>
                <a:lnTo>
                  <a:pt x="466" y="395"/>
                </a:lnTo>
                <a:lnTo>
                  <a:pt x="451" y="397"/>
                </a:lnTo>
                <a:lnTo>
                  <a:pt x="439" y="399"/>
                </a:lnTo>
                <a:lnTo>
                  <a:pt x="426" y="400"/>
                </a:lnTo>
                <a:lnTo>
                  <a:pt x="417" y="400"/>
                </a:lnTo>
                <a:lnTo>
                  <a:pt x="410" y="398"/>
                </a:lnTo>
                <a:lnTo>
                  <a:pt x="403" y="395"/>
                </a:lnTo>
                <a:lnTo>
                  <a:pt x="396" y="392"/>
                </a:lnTo>
                <a:lnTo>
                  <a:pt x="384" y="383"/>
                </a:lnTo>
                <a:lnTo>
                  <a:pt x="373" y="373"/>
                </a:lnTo>
                <a:lnTo>
                  <a:pt x="361" y="363"/>
                </a:lnTo>
                <a:lnTo>
                  <a:pt x="349" y="354"/>
                </a:lnTo>
                <a:lnTo>
                  <a:pt x="343" y="351"/>
                </a:lnTo>
                <a:lnTo>
                  <a:pt x="336" y="347"/>
                </a:lnTo>
                <a:lnTo>
                  <a:pt x="328" y="345"/>
                </a:lnTo>
                <a:lnTo>
                  <a:pt x="319" y="345"/>
                </a:lnTo>
                <a:lnTo>
                  <a:pt x="313" y="345"/>
                </a:lnTo>
                <a:lnTo>
                  <a:pt x="305" y="347"/>
                </a:lnTo>
                <a:lnTo>
                  <a:pt x="299" y="351"/>
                </a:lnTo>
                <a:lnTo>
                  <a:pt x="291" y="355"/>
                </a:lnTo>
                <a:lnTo>
                  <a:pt x="284" y="360"/>
                </a:lnTo>
                <a:lnTo>
                  <a:pt x="278" y="365"/>
                </a:lnTo>
                <a:lnTo>
                  <a:pt x="272" y="371"/>
                </a:lnTo>
                <a:lnTo>
                  <a:pt x="266" y="377"/>
                </a:lnTo>
                <a:lnTo>
                  <a:pt x="255" y="392"/>
                </a:lnTo>
                <a:lnTo>
                  <a:pt x="244" y="408"/>
                </a:lnTo>
                <a:lnTo>
                  <a:pt x="235" y="423"/>
                </a:lnTo>
                <a:lnTo>
                  <a:pt x="227" y="437"/>
                </a:lnTo>
                <a:lnTo>
                  <a:pt x="197" y="437"/>
                </a:lnTo>
                <a:lnTo>
                  <a:pt x="176" y="437"/>
                </a:lnTo>
                <a:lnTo>
                  <a:pt x="160" y="437"/>
                </a:lnTo>
                <a:lnTo>
                  <a:pt x="150" y="439"/>
                </a:lnTo>
                <a:lnTo>
                  <a:pt x="146" y="440"/>
                </a:lnTo>
                <a:lnTo>
                  <a:pt x="143" y="442"/>
                </a:lnTo>
                <a:lnTo>
                  <a:pt x="139" y="445"/>
                </a:lnTo>
                <a:lnTo>
                  <a:pt x="135" y="448"/>
                </a:lnTo>
                <a:lnTo>
                  <a:pt x="126" y="456"/>
                </a:lnTo>
                <a:lnTo>
                  <a:pt x="114" y="46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96" name="Freeform 248"/>
          <p:cNvSpPr>
            <a:spLocks/>
          </p:cNvSpPr>
          <p:nvPr>
            <p:custDataLst>
              <p:tags r:id="rId175"/>
            </p:custDataLst>
          </p:nvPr>
        </p:nvSpPr>
        <p:spPr bwMode="auto">
          <a:xfrm>
            <a:off x="5830888" y="3490913"/>
            <a:ext cx="500062" cy="552450"/>
          </a:xfrm>
          <a:custGeom>
            <a:avLst/>
            <a:gdLst>
              <a:gd name="T0" fmla="*/ 902 w 1145"/>
              <a:gd name="T1" fmla="*/ 57 h 1053"/>
              <a:gd name="T2" fmla="*/ 993 w 1145"/>
              <a:gd name="T3" fmla="*/ 66 h 1053"/>
              <a:gd name="T4" fmla="*/ 1080 w 1145"/>
              <a:gd name="T5" fmla="*/ 81 h 1053"/>
              <a:gd name="T6" fmla="*/ 1126 w 1145"/>
              <a:gd name="T7" fmla="*/ 175 h 1053"/>
              <a:gd name="T8" fmla="*/ 1133 w 1145"/>
              <a:gd name="T9" fmla="*/ 211 h 1053"/>
              <a:gd name="T10" fmla="*/ 1058 w 1145"/>
              <a:gd name="T11" fmla="*/ 272 h 1053"/>
              <a:gd name="T12" fmla="*/ 1045 w 1145"/>
              <a:gd name="T13" fmla="*/ 360 h 1053"/>
              <a:gd name="T14" fmla="*/ 1003 w 1145"/>
              <a:gd name="T15" fmla="*/ 440 h 1053"/>
              <a:gd name="T16" fmla="*/ 990 w 1145"/>
              <a:gd name="T17" fmla="*/ 476 h 1053"/>
              <a:gd name="T18" fmla="*/ 1019 w 1145"/>
              <a:gd name="T19" fmla="*/ 576 h 1053"/>
              <a:gd name="T20" fmla="*/ 1026 w 1145"/>
              <a:gd name="T21" fmla="*/ 664 h 1053"/>
              <a:gd name="T22" fmla="*/ 1047 w 1145"/>
              <a:gd name="T23" fmla="*/ 731 h 1053"/>
              <a:gd name="T24" fmla="*/ 1079 w 1145"/>
              <a:gd name="T25" fmla="*/ 765 h 1053"/>
              <a:gd name="T26" fmla="*/ 1092 w 1145"/>
              <a:gd name="T27" fmla="*/ 825 h 1053"/>
              <a:gd name="T28" fmla="*/ 1040 w 1145"/>
              <a:gd name="T29" fmla="*/ 844 h 1053"/>
              <a:gd name="T30" fmla="*/ 997 w 1145"/>
              <a:gd name="T31" fmla="*/ 856 h 1053"/>
              <a:gd name="T32" fmla="*/ 960 w 1145"/>
              <a:gd name="T33" fmla="*/ 992 h 1053"/>
              <a:gd name="T34" fmla="*/ 930 w 1145"/>
              <a:gd name="T35" fmla="*/ 1026 h 1053"/>
              <a:gd name="T36" fmla="*/ 902 w 1145"/>
              <a:gd name="T37" fmla="*/ 1031 h 1053"/>
              <a:gd name="T38" fmla="*/ 840 w 1145"/>
              <a:gd name="T39" fmla="*/ 1053 h 1053"/>
              <a:gd name="T40" fmla="*/ 782 w 1145"/>
              <a:gd name="T41" fmla="*/ 1037 h 1053"/>
              <a:gd name="T42" fmla="*/ 743 w 1145"/>
              <a:gd name="T43" fmla="*/ 1014 h 1053"/>
              <a:gd name="T44" fmla="*/ 707 w 1145"/>
              <a:gd name="T45" fmla="*/ 997 h 1053"/>
              <a:gd name="T46" fmla="*/ 674 w 1145"/>
              <a:gd name="T47" fmla="*/ 986 h 1053"/>
              <a:gd name="T48" fmla="*/ 608 w 1145"/>
              <a:gd name="T49" fmla="*/ 987 h 1053"/>
              <a:gd name="T50" fmla="*/ 594 w 1145"/>
              <a:gd name="T51" fmla="*/ 942 h 1053"/>
              <a:gd name="T52" fmla="*/ 575 w 1145"/>
              <a:gd name="T53" fmla="*/ 884 h 1053"/>
              <a:gd name="T54" fmla="*/ 590 w 1145"/>
              <a:gd name="T55" fmla="*/ 846 h 1053"/>
              <a:gd name="T56" fmla="*/ 590 w 1145"/>
              <a:gd name="T57" fmla="*/ 779 h 1053"/>
              <a:gd name="T58" fmla="*/ 454 w 1145"/>
              <a:gd name="T59" fmla="*/ 755 h 1053"/>
              <a:gd name="T60" fmla="*/ 443 w 1145"/>
              <a:gd name="T61" fmla="*/ 785 h 1053"/>
              <a:gd name="T62" fmla="*/ 396 w 1145"/>
              <a:gd name="T63" fmla="*/ 817 h 1053"/>
              <a:gd name="T64" fmla="*/ 337 w 1145"/>
              <a:gd name="T65" fmla="*/ 797 h 1053"/>
              <a:gd name="T66" fmla="*/ 297 w 1145"/>
              <a:gd name="T67" fmla="*/ 708 h 1053"/>
              <a:gd name="T68" fmla="*/ 3 w 1145"/>
              <a:gd name="T69" fmla="*/ 671 h 1053"/>
              <a:gd name="T70" fmla="*/ 45 w 1145"/>
              <a:gd name="T71" fmla="*/ 667 h 1053"/>
              <a:gd name="T72" fmla="*/ 26 w 1145"/>
              <a:gd name="T73" fmla="*/ 631 h 1053"/>
              <a:gd name="T74" fmla="*/ 75 w 1145"/>
              <a:gd name="T75" fmla="*/ 615 h 1053"/>
              <a:gd name="T76" fmla="*/ 145 w 1145"/>
              <a:gd name="T77" fmla="*/ 614 h 1053"/>
              <a:gd name="T78" fmla="*/ 183 w 1145"/>
              <a:gd name="T79" fmla="*/ 620 h 1053"/>
              <a:gd name="T80" fmla="*/ 220 w 1145"/>
              <a:gd name="T81" fmla="*/ 574 h 1053"/>
              <a:gd name="T82" fmla="*/ 260 w 1145"/>
              <a:gd name="T83" fmla="*/ 555 h 1053"/>
              <a:gd name="T84" fmla="*/ 281 w 1145"/>
              <a:gd name="T85" fmla="*/ 440 h 1053"/>
              <a:gd name="T86" fmla="*/ 346 w 1145"/>
              <a:gd name="T87" fmla="*/ 370 h 1053"/>
              <a:gd name="T88" fmla="*/ 370 w 1145"/>
              <a:gd name="T89" fmla="*/ 276 h 1053"/>
              <a:gd name="T90" fmla="*/ 372 w 1145"/>
              <a:gd name="T91" fmla="*/ 180 h 1053"/>
              <a:gd name="T92" fmla="*/ 383 w 1145"/>
              <a:gd name="T93" fmla="*/ 122 h 1053"/>
              <a:gd name="T94" fmla="*/ 440 w 1145"/>
              <a:gd name="T95" fmla="*/ 35 h 1053"/>
              <a:gd name="T96" fmla="*/ 491 w 1145"/>
              <a:gd name="T97" fmla="*/ 30 h 1053"/>
              <a:gd name="T98" fmla="*/ 558 w 1145"/>
              <a:gd name="T99" fmla="*/ 77 h 1053"/>
              <a:gd name="T100" fmla="*/ 637 w 1145"/>
              <a:gd name="T101" fmla="*/ 73 h 1053"/>
              <a:gd name="T102" fmla="*/ 670 w 1145"/>
              <a:gd name="T103" fmla="*/ 44 h 1053"/>
              <a:gd name="T104" fmla="*/ 734 w 1145"/>
              <a:gd name="T105" fmla="*/ 34 h 1053"/>
              <a:gd name="T106" fmla="*/ 795 w 1145"/>
              <a:gd name="T107" fmla="*/ 17 h 1053"/>
              <a:gd name="T108" fmla="*/ 828 w 1145"/>
              <a:gd name="T109" fmla="*/ 8 h 1053"/>
              <a:gd name="T110" fmla="*/ 859 w 1145"/>
              <a:gd name="T111" fmla="*/ 24 h 10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145" h="1053">
                <a:moveTo>
                  <a:pt x="894" y="24"/>
                </a:moveTo>
                <a:lnTo>
                  <a:pt x="894" y="32"/>
                </a:lnTo>
                <a:lnTo>
                  <a:pt x="895" y="38"/>
                </a:lnTo>
                <a:lnTo>
                  <a:pt x="896" y="44"/>
                </a:lnTo>
                <a:lnTo>
                  <a:pt x="897" y="49"/>
                </a:lnTo>
                <a:lnTo>
                  <a:pt x="900" y="53"/>
                </a:lnTo>
                <a:lnTo>
                  <a:pt x="902" y="57"/>
                </a:lnTo>
                <a:lnTo>
                  <a:pt x="906" y="61"/>
                </a:lnTo>
                <a:lnTo>
                  <a:pt x="909" y="64"/>
                </a:lnTo>
                <a:lnTo>
                  <a:pt x="918" y="68"/>
                </a:lnTo>
                <a:lnTo>
                  <a:pt x="926" y="71"/>
                </a:lnTo>
                <a:lnTo>
                  <a:pt x="936" y="72"/>
                </a:lnTo>
                <a:lnTo>
                  <a:pt x="947" y="72"/>
                </a:lnTo>
                <a:lnTo>
                  <a:pt x="993" y="66"/>
                </a:lnTo>
                <a:lnTo>
                  <a:pt x="1033" y="61"/>
                </a:lnTo>
                <a:lnTo>
                  <a:pt x="1038" y="61"/>
                </a:lnTo>
                <a:lnTo>
                  <a:pt x="1045" y="63"/>
                </a:lnTo>
                <a:lnTo>
                  <a:pt x="1051" y="64"/>
                </a:lnTo>
                <a:lnTo>
                  <a:pt x="1057" y="67"/>
                </a:lnTo>
                <a:lnTo>
                  <a:pt x="1069" y="73"/>
                </a:lnTo>
                <a:lnTo>
                  <a:pt x="1080" y="81"/>
                </a:lnTo>
                <a:lnTo>
                  <a:pt x="1099" y="98"/>
                </a:lnTo>
                <a:lnTo>
                  <a:pt x="1112" y="110"/>
                </a:lnTo>
                <a:lnTo>
                  <a:pt x="1113" y="124"/>
                </a:lnTo>
                <a:lnTo>
                  <a:pt x="1114" y="138"/>
                </a:lnTo>
                <a:lnTo>
                  <a:pt x="1117" y="152"/>
                </a:lnTo>
                <a:lnTo>
                  <a:pt x="1122" y="164"/>
                </a:lnTo>
                <a:lnTo>
                  <a:pt x="1126" y="175"/>
                </a:lnTo>
                <a:lnTo>
                  <a:pt x="1132" y="183"/>
                </a:lnTo>
                <a:lnTo>
                  <a:pt x="1135" y="186"/>
                </a:lnTo>
                <a:lnTo>
                  <a:pt x="1138" y="188"/>
                </a:lnTo>
                <a:lnTo>
                  <a:pt x="1142" y="190"/>
                </a:lnTo>
                <a:lnTo>
                  <a:pt x="1145" y="190"/>
                </a:lnTo>
                <a:lnTo>
                  <a:pt x="1139" y="202"/>
                </a:lnTo>
                <a:lnTo>
                  <a:pt x="1133" y="211"/>
                </a:lnTo>
                <a:lnTo>
                  <a:pt x="1125" y="220"/>
                </a:lnTo>
                <a:lnTo>
                  <a:pt x="1117" y="227"/>
                </a:lnTo>
                <a:lnTo>
                  <a:pt x="1100" y="240"/>
                </a:lnTo>
                <a:lnTo>
                  <a:pt x="1082" y="253"/>
                </a:lnTo>
                <a:lnTo>
                  <a:pt x="1074" y="259"/>
                </a:lnTo>
                <a:lnTo>
                  <a:pt x="1066" y="266"/>
                </a:lnTo>
                <a:lnTo>
                  <a:pt x="1058" y="272"/>
                </a:lnTo>
                <a:lnTo>
                  <a:pt x="1052" y="280"/>
                </a:lnTo>
                <a:lnTo>
                  <a:pt x="1046" y="288"/>
                </a:lnTo>
                <a:lnTo>
                  <a:pt x="1043" y="297"/>
                </a:lnTo>
                <a:lnTo>
                  <a:pt x="1040" y="308"/>
                </a:lnTo>
                <a:lnTo>
                  <a:pt x="1040" y="320"/>
                </a:lnTo>
                <a:lnTo>
                  <a:pt x="1041" y="339"/>
                </a:lnTo>
                <a:lnTo>
                  <a:pt x="1045" y="360"/>
                </a:lnTo>
                <a:lnTo>
                  <a:pt x="1046" y="371"/>
                </a:lnTo>
                <a:lnTo>
                  <a:pt x="1047" y="381"/>
                </a:lnTo>
                <a:lnTo>
                  <a:pt x="1047" y="391"/>
                </a:lnTo>
                <a:lnTo>
                  <a:pt x="1046" y="400"/>
                </a:lnTo>
                <a:lnTo>
                  <a:pt x="1034" y="410"/>
                </a:lnTo>
                <a:lnTo>
                  <a:pt x="1013" y="430"/>
                </a:lnTo>
                <a:lnTo>
                  <a:pt x="1003" y="440"/>
                </a:lnTo>
                <a:lnTo>
                  <a:pt x="995" y="450"/>
                </a:lnTo>
                <a:lnTo>
                  <a:pt x="991" y="455"/>
                </a:lnTo>
                <a:lnTo>
                  <a:pt x="988" y="460"/>
                </a:lnTo>
                <a:lnTo>
                  <a:pt x="987" y="464"/>
                </a:lnTo>
                <a:lnTo>
                  <a:pt x="986" y="467"/>
                </a:lnTo>
                <a:lnTo>
                  <a:pt x="987" y="470"/>
                </a:lnTo>
                <a:lnTo>
                  <a:pt x="990" y="476"/>
                </a:lnTo>
                <a:lnTo>
                  <a:pt x="995" y="481"/>
                </a:lnTo>
                <a:lnTo>
                  <a:pt x="999" y="486"/>
                </a:lnTo>
                <a:lnTo>
                  <a:pt x="1009" y="495"/>
                </a:lnTo>
                <a:lnTo>
                  <a:pt x="1012" y="499"/>
                </a:lnTo>
                <a:lnTo>
                  <a:pt x="1016" y="524"/>
                </a:lnTo>
                <a:lnTo>
                  <a:pt x="1019" y="550"/>
                </a:lnTo>
                <a:lnTo>
                  <a:pt x="1019" y="576"/>
                </a:lnTo>
                <a:lnTo>
                  <a:pt x="1019" y="610"/>
                </a:lnTo>
                <a:lnTo>
                  <a:pt x="1020" y="618"/>
                </a:lnTo>
                <a:lnTo>
                  <a:pt x="1022" y="625"/>
                </a:lnTo>
                <a:lnTo>
                  <a:pt x="1025" y="632"/>
                </a:lnTo>
                <a:lnTo>
                  <a:pt x="1026" y="640"/>
                </a:lnTo>
                <a:lnTo>
                  <a:pt x="1026" y="650"/>
                </a:lnTo>
                <a:lnTo>
                  <a:pt x="1026" y="664"/>
                </a:lnTo>
                <a:lnTo>
                  <a:pt x="1027" y="679"/>
                </a:lnTo>
                <a:lnTo>
                  <a:pt x="1031" y="696"/>
                </a:lnTo>
                <a:lnTo>
                  <a:pt x="1033" y="705"/>
                </a:lnTo>
                <a:lnTo>
                  <a:pt x="1035" y="713"/>
                </a:lnTo>
                <a:lnTo>
                  <a:pt x="1038" y="720"/>
                </a:lnTo>
                <a:lnTo>
                  <a:pt x="1043" y="726"/>
                </a:lnTo>
                <a:lnTo>
                  <a:pt x="1047" y="731"/>
                </a:lnTo>
                <a:lnTo>
                  <a:pt x="1053" y="735"/>
                </a:lnTo>
                <a:lnTo>
                  <a:pt x="1058" y="738"/>
                </a:lnTo>
                <a:lnTo>
                  <a:pt x="1066" y="739"/>
                </a:lnTo>
                <a:lnTo>
                  <a:pt x="1067" y="745"/>
                </a:lnTo>
                <a:lnTo>
                  <a:pt x="1070" y="751"/>
                </a:lnTo>
                <a:lnTo>
                  <a:pt x="1074" y="759"/>
                </a:lnTo>
                <a:lnTo>
                  <a:pt x="1079" y="765"/>
                </a:lnTo>
                <a:lnTo>
                  <a:pt x="1083" y="772"/>
                </a:lnTo>
                <a:lnTo>
                  <a:pt x="1088" y="780"/>
                </a:lnTo>
                <a:lnTo>
                  <a:pt x="1091" y="790"/>
                </a:lnTo>
                <a:lnTo>
                  <a:pt x="1092" y="800"/>
                </a:lnTo>
                <a:lnTo>
                  <a:pt x="1092" y="807"/>
                </a:lnTo>
                <a:lnTo>
                  <a:pt x="1092" y="816"/>
                </a:lnTo>
                <a:lnTo>
                  <a:pt x="1092" y="825"/>
                </a:lnTo>
                <a:lnTo>
                  <a:pt x="1092" y="831"/>
                </a:lnTo>
                <a:lnTo>
                  <a:pt x="1092" y="837"/>
                </a:lnTo>
                <a:lnTo>
                  <a:pt x="1080" y="836"/>
                </a:lnTo>
                <a:lnTo>
                  <a:pt x="1069" y="837"/>
                </a:lnTo>
                <a:lnTo>
                  <a:pt x="1059" y="840"/>
                </a:lnTo>
                <a:lnTo>
                  <a:pt x="1049" y="842"/>
                </a:lnTo>
                <a:lnTo>
                  <a:pt x="1040" y="844"/>
                </a:lnTo>
                <a:lnTo>
                  <a:pt x="1029" y="844"/>
                </a:lnTo>
                <a:lnTo>
                  <a:pt x="1023" y="844"/>
                </a:lnTo>
                <a:lnTo>
                  <a:pt x="1018" y="842"/>
                </a:lnTo>
                <a:lnTo>
                  <a:pt x="1012" y="840"/>
                </a:lnTo>
                <a:lnTo>
                  <a:pt x="1005" y="837"/>
                </a:lnTo>
                <a:lnTo>
                  <a:pt x="1001" y="846"/>
                </a:lnTo>
                <a:lnTo>
                  <a:pt x="997" y="856"/>
                </a:lnTo>
                <a:lnTo>
                  <a:pt x="993" y="869"/>
                </a:lnTo>
                <a:lnTo>
                  <a:pt x="990" y="883"/>
                </a:lnTo>
                <a:lnTo>
                  <a:pt x="982" y="914"/>
                </a:lnTo>
                <a:lnTo>
                  <a:pt x="975" y="947"/>
                </a:lnTo>
                <a:lnTo>
                  <a:pt x="970" y="962"/>
                </a:lnTo>
                <a:lnTo>
                  <a:pt x="966" y="978"/>
                </a:lnTo>
                <a:lnTo>
                  <a:pt x="960" y="992"/>
                </a:lnTo>
                <a:lnTo>
                  <a:pt x="955" y="1004"/>
                </a:lnTo>
                <a:lnTo>
                  <a:pt x="951" y="1009"/>
                </a:lnTo>
                <a:lnTo>
                  <a:pt x="947" y="1014"/>
                </a:lnTo>
                <a:lnTo>
                  <a:pt x="944" y="1018"/>
                </a:lnTo>
                <a:lnTo>
                  <a:pt x="940" y="1021"/>
                </a:lnTo>
                <a:lnTo>
                  <a:pt x="935" y="1024"/>
                </a:lnTo>
                <a:lnTo>
                  <a:pt x="930" y="1026"/>
                </a:lnTo>
                <a:lnTo>
                  <a:pt x="925" y="1028"/>
                </a:lnTo>
                <a:lnTo>
                  <a:pt x="920" y="1028"/>
                </a:lnTo>
                <a:lnTo>
                  <a:pt x="918" y="1029"/>
                </a:lnTo>
                <a:lnTo>
                  <a:pt x="912" y="1031"/>
                </a:lnTo>
                <a:lnTo>
                  <a:pt x="909" y="1032"/>
                </a:lnTo>
                <a:lnTo>
                  <a:pt x="906" y="1032"/>
                </a:lnTo>
                <a:lnTo>
                  <a:pt x="902" y="1031"/>
                </a:lnTo>
                <a:lnTo>
                  <a:pt x="900" y="1028"/>
                </a:lnTo>
                <a:lnTo>
                  <a:pt x="888" y="1035"/>
                </a:lnTo>
                <a:lnTo>
                  <a:pt x="873" y="1043"/>
                </a:lnTo>
                <a:lnTo>
                  <a:pt x="864" y="1047"/>
                </a:lnTo>
                <a:lnTo>
                  <a:pt x="856" y="1050"/>
                </a:lnTo>
                <a:lnTo>
                  <a:pt x="847" y="1052"/>
                </a:lnTo>
                <a:lnTo>
                  <a:pt x="840" y="1053"/>
                </a:lnTo>
                <a:lnTo>
                  <a:pt x="828" y="1053"/>
                </a:lnTo>
                <a:lnTo>
                  <a:pt x="816" y="1052"/>
                </a:lnTo>
                <a:lnTo>
                  <a:pt x="805" y="1049"/>
                </a:lnTo>
                <a:lnTo>
                  <a:pt x="795" y="1046"/>
                </a:lnTo>
                <a:lnTo>
                  <a:pt x="789" y="1043"/>
                </a:lnTo>
                <a:lnTo>
                  <a:pt x="786" y="1040"/>
                </a:lnTo>
                <a:lnTo>
                  <a:pt x="782" y="1037"/>
                </a:lnTo>
                <a:lnTo>
                  <a:pt x="779" y="1033"/>
                </a:lnTo>
                <a:lnTo>
                  <a:pt x="777" y="1027"/>
                </a:lnTo>
                <a:lnTo>
                  <a:pt x="775" y="1022"/>
                </a:lnTo>
                <a:lnTo>
                  <a:pt x="774" y="1016"/>
                </a:lnTo>
                <a:lnTo>
                  <a:pt x="774" y="1010"/>
                </a:lnTo>
                <a:lnTo>
                  <a:pt x="761" y="1011"/>
                </a:lnTo>
                <a:lnTo>
                  <a:pt x="743" y="1014"/>
                </a:lnTo>
                <a:lnTo>
                  <a:pt x="734" y="1014"/>
                </a:lnTo>
                <a:lnTo>
                  <a:pt x="727" y="1012"/>
                </a:lnTo>
                <a:lnTo>
                  <a:pt x="723" y="1011"/>
                </a:lnTo>
                <a:lnTo>
                  <a:pt x="719" y="1009"/>
                </a:lnTo>
                <a:lnTo>
                  <a:pt x="717" y="1007"/>
                </a:lnTo>
                <a:lnTo>
                  <a:pt x="713" y="1004"/>
                </a:lnTo>
                <a:lnTo>
                  <a:pt x="707" y="997"/>
                </a:lnTo>
                <a:lnTo>
                  <a:pt x="701" y="993"/>
                </a:lnTo>
                <a:lnTo>
                  <a:pt x="697" y="992"/>
                </a:lnTo>
                <a:lnTo>
                  <a:pt x="694" y="992"/>
                </a:lnTo>
                <a:lnTo>
                  <a:pt x="689" y="993"/>
                </a:lnTo>
                <a:lnTo>
                  <a:pt x="686" y="993"/>
                </a:lnTo>
                <a:lnTo>
                  <a:pt x="680" y="991"/>
                </a:lnTo>
                <a:lnTo>
                  <a:pt x="674" y="986"/>
                </a:lnTo>
                <a:lnTo>
                  <a:pt x="662" y="987"/>
                </a:lnTo>
                <a:lnTo>
                  <a:pt x="653" y="989"/>
                </a:lnTo>
                <a:lnTo>
                  <a:pt x="643" y="991"/>
                </a:lnTo>
                <a:lnTo>
                  <a:pt x="627" y="992"/>
                </a:lnTo>
                <a:lnTo>
                  <a:pt x="618" y="991"/>
                </a:lnTo>
                <a:lnTo>
                  <a:pt x="611" y="988"/>
                </a:lnTo>
                <a:lnTo>
                  <a:pt x="608" y="987"/>
                </a:lnTo>
                <a:lnTo>
                  <a:pt x="605" y="984"/>
                </a:lnTo>
                <a:lnTo>
                  <a:pt x="603" y="982"/>
                </a:lnTo>
                <a:lnTo>
                  <a:pt x="600" y="979"/>
                </a:lnTo>
                <a:lnTo>
                  <a:pt x="597" y="971"/>
                </a:lnTo>
                <a:lnTo>
                  <a:pt x="596" y="963"/>
                </a:lnTo>
                <a:lnTo>
                  <a:pt x="595" y="953"/>
                </a:lnTo>
                <a:lnTo>
                  <a:pt x="594" y="942"/>
                </a:lnTo>
                <a:lnTo>
                  <a:pt x="593" y="933"/>
                </a:lnTo>
                <a:lnTo>
                  <a:pt x="590" y="925"/>
                </a:lnTo>
                <a:lnTo>
                  <a:pt x="587" y="916"/>
                </a:lnTo>
                <a:lnTo>
                  <a:pt x="584" y="908"/>
                </a:lnTo>
                <a:lnTo>
                  <a:pt x="581" y="900"/>
                </a:lnTo>
                <a:lnTo>
                  <a:pt x="577" y="892"/>
                </a:lnTo>
                <a:lnTo>
                  <a:pt x="575" y="884"/>
                </a:lnTo>
                <a:lnTo>
                  <a:pt x="574" y="875"/>
                </a:lnTo>
                <a:lnTo>
                  <a:pt x="575" y="870"/>
                </a:lnTo>
                <a:lnTo>
                  <a:pt x="577" y="866"/>
                </a:lnTo>
                <a:lnTo>
                  <a:pt x="581" y="860"/>
                </a:lnTo>
                <a:lnTo>
                  <a:pt x="584" y="856"/>
                </a:lnTo>
                <a:lnTo>
                  <a:pt x="587" y="851"/>
                </a:lnTo>
                <a:lnTo>
                  <a:pt x="590" y="846"/>
                </a:lnTo>
                <a:lnTo>
                  <a:pt x="593" y="842"/>
                </a:lnTo>
                <a:lnTo>
                  <a:pt x="594" y="837"/>
                </a:lnTo>
                <a:lnTo>
                  <a:pt x="593" y="825"/>
                </a:lnTo>
                <a:lnTo>
                  <a:pt x="589" y="809"/>
                </a:lnTo>
                <a:lnTo>
                  <a:pt x="588" y="798"/>
                </a:lnTo>
                <a:lnTo>
                  <a:pt x="588" y="789"/>
                </a:lnTo>
                <a:lnTo>
                  <a:pt x="590" y="779"/>
                </a:lnTo>
                <a:lnTo>
                  <a:pt x="594" y="770"/>
                </a:lnTo>
                <a:lnTo>
                  <a:pt x="571" y="766"/>
                </a:lnTo>
                <a:lnTo>
                  <a:pt x="521" y="759"/>
                </a:lnTo>
                <a:lnTo>
                  <a:pt x="494" y="756"/>
                </a:lnTo>
                <a:lnTo>
                  <a:pt x="471" y="755"/>
                </a:lnTo>
                <a:lnTo>
                  <a:pt x="461" y="754"/>
                </a:lnTo>
                <a:lnTo>
                  <a:pt x="454" y="755"/>
                </a:lnTo>
                <a:lnTo>
                  <a:pt x="450" y="756"/>
                </a:lnTo>
                <a:lnTo>
                  <a:pt x="448" y="758"/>
                </a:lnTo>
                <a:lnTo>
                  <a:pt x="448" y="762"/>
                </a:lnTo>
                <a:lnTo>
                  <a:pt x="448" y="770"/>
                </a:lnTo>
                <a:lnTo>
                  <a:pt x="447" y="775"/>
                </a:lnTo>
                <a:lnTo>
                  <a:pt x="446" y="780"/>
                </a:lnTo>
                <a:lnTo>
                  <a:pt x="443" y="785"/>
                </a:lnTo>
                <a:lnTo>
                  <a:pt x="440" y="790"/>
                </a:lnTo>
                <a:lnTo>
                  <a:pt x="437" y="796"/>
                </a:lnTo>
                <a:lnTo>
                  <a:pt x="431" y="801"/>
                </a:lnTo>
                <a:lnTo>
                  <a:pt x="425" y="806"/>
                </a:lnTo>
                <a:lnTo>
                  <a:pt x="417" y="811"/>
                </a:lnTo>
                <a:lnTo>
                  <a:pt x="407" y="814"/>
                </a:lnTo>
                <a:lnTo>
                  <a:pt x="396" y="817"/>
                </a:lnTo>
                <a:lnTo>
                  <a:pt x="383" y="819"/>
                </a:lnTo>
                <a:lnTo>
                  <a:pt x="369" y="819"/>
                </a:lnTo>
                <a:lnTo>
                  <a:pt x="362" y="818"/>
                </a:lnTo>
                <a:lnTo>
                  <a:pt x="355" y="816"/>
                </a:lnTo>
                <a:lnTo>
                  <a:pt x="349" y="811"/>
                </a:lnTo>
                <a:lnTo>
                  <a:pt x="342" y="804"/>
                </a:lnTo>
                <a:lnTo>
                  <a:pt x="337" y="797"/>
                </a:lnTo>
                <a:lnTo>
                  <a:pt x="330" y="789"/>
                </a:lnTo>
                <a:lnTo>
                  <a:pt x="325" y="780"/>
                </a:lnTo>
                <a:lnTo>
                  <a:pt x="319" y="771"/>
                </a:lnTo>
                <a:lnTo>
                  <a:pt x="309" y="749"/>
                </a:lnTo>
                <a:lnTo>
                  <a:pt x="302" y="728"/>
                </a:lnTo>
                <a:lnTo>
                  <a:pt x="298" y="718"/>
                </a:lnTo>
                <a:lnTo>
                  <a:pt x="297" y="708"/>
                </a:lnTo>
                <a:lnTo>
                  <a:pt x="295" y="699"/>
                </a:lnTo>
                <a:lnTo>
                  <a:pt x="295" y="689"/>
                </a:lnTo>
                <a:lnTo>
                  <a:pt x="3" y="689"/>
                </a:lnTo>
                <a:lnTo>
                  <a:pt x="2" y="683"/>
                </a:lnTo>
                <a:lnTo>
                  <a:pt x="0" y="680"/>
                </a:lnTo>
                <a:lnTo>
                  <a:pt x="0" y="677"/>
                </a:lnTo>
                <a:lnTo>
                  <a:pt x="3" y="671"/>
                </a:lnTo>
                <a:lnTo>
                  <a:pt x="10" y="669"/>
                </a:lnTo>
                <a:lnTo>
                  <a:pt x="16" y="668"/>
                </a:lnTo>
                <a:lnTo>
                  <a:pt x="23" y="668"/>
                </a:lnTo>
                <a:lnTo>
                  <a:pt x="28" y="668"/>
                </a:lnTo>
                <a:lnTo>
                  <a:pt x="34" y="668"/>
                </a:lnTo>
                <a:lnTo>
                  <a:pt x="39" y="668"/>
                </a:lnTo>
                <a:lnTo>
                  <a:pt x="45" y="667"/>
                </a:lnTo>
                <a:lnTo>
                  <a:pt x="49" y="665"/>
                </a:lnTo>
                <a:lnTo>
                  <a:pt x="49" y="640"/>
                </a:lnTo>
                <a:lnTo>
                  <a:pt x="36" y="640"/>
                </a:lnTo>
                <a:lnTo>
                  <a:pt x="27" y="640"/>
                </a:lnTo>
                <a:lnTo>
                  <a:pt x="18" y="640"/>
                </a:lnTo>
                <a:lnTo>
                  <a:pt x="10" y="640"/>
                </a:lnTo>
                <a:lnTo>
                  <a:pt x="26" y="631"/>
                </a:lnTo>
                <a:lnTo>
                  <a:pt x="39" y="622"/>
                </a:lnTo>
                <a:lnTo>
                  <a:pt x="46" y="619"/>
                </a:lnTo>
                <a:lnTo>
                  <a:pt x="52" y="615"/>
                </a:lnTo>
                <a:lnTo>
                  <a:pt x="60" y="612"/>
                </a:lnTo>
                <a:lnTo>
                  <a:pt x="69" y="610"/>
                </a:lnTo>
                <a:lnTo>
                  <a:pt x="72" y="613"/>
                </a:lnTo>
                <a:lnTo>
                  <a:pt x="75" y="615"/>
                </a:lnTo>
                <a:lnTo>
                  <a:pt x="79" y="616"/>
                </a:lnTo>
                <a:lnTo>
                  <a:pt x="82" y="617"/>
                </a:lnTo>
                <a:lnTo>
                  <a:pt x="91" y="618"/>
                </a:lnTo>
                <a:lnTo>
                  <a:pt x="101" y="616"/>
                </a:lnTo>
                <a:lnTo>
                  <a:pt x="122" y="612"/>
                </a:lnTo>
                <a:lnTo>
                  <a:pt x="142" y="610"/>
                </a:lnTo>
                <a:lnTo>
                  <a:pt x="145" y="614"/>
                </a:lnTo>
                <a:lnTo>
                  <a:pt x="148" y="617"/>
                </a:lnTo>
                <a:lnTo>
                  <a:pt x="152" y="619"/>
                </a:lnTo>
                <a:lnTo>
                  <a:pt x="157" y="620"/>
                </a:lnTo>
                <a:lnTo>
                  <a:pt x="166" y="621"/>
                </a:lnTo>
                <a:lnTo>
                  <a:pt x="175" y="622"/>
                </a:lnTo>
                <a:lnTo>
                  <a:pt x="179" y="621"/>
                </a:lnTo>
                <a:lnTo>
                  <a:pt x="183" y="620"/>
                </a:lnTo>
                <a:lnTo>
                  <a:pt x="186" y="618"/>
                </a:lnTo>
                <a:lnTo>
                  <a:pt x="190" y="616"/>
                </a:lnTo>
                <a:lnTo>
                  <a:pt x="195" y="610"/>
                </a:lnTo>
                <a:lnTo>
                  <a:pt x="201" y="603"/>
                </a:lnTo>
                <a:lnTo>
                  <a:pt x="209" y="588"/>
                </a:lnTo>
                <a:lnTo>
                  <a:pt x="215" y="578"/>
                </a:lnTo>
                <a:lnTo>
                  <a:pt x="220" y="574"/>
                </a:lnTo>
                <a:lnTo>
                  <a:pt x="225" y="571"/>
                </a:lnTo>
                <a:lnTo>
                  <a:pt x="230" y="569"/>
                </a:lnTo>
                <a:lnTo>
                  <a:pt x="236" y="567"/>
                </a:lnTo>
                <a:lnTo>
                  <a:pt x="246" y="564"/>
                </a:lnTo>
                <a:lnTo>
                  <a:pt x="256" y="560"/>
                </a:lnTo>
                <a:lnTo>
                  <a:pt x="258" y="558"/>
                </a:lnTo>
                <a:lnTo>
                  <a:pt x="260" y="555"/>
                </a:lnTo>
                <a:lnTo>
                  <a:pt x="262" y="550"/>
                </a:lnTo>
                <a:lnTo>
                  <a:pt x="264" y="544"/>
                </a:lnTo>
                <a:lnTo>
                  <a:pt x="268" y="528"/>
                </a:lnTo>
                <a:lnTo>
                  <a:pt x="270" y="511"/>
                </a:lnTo>
                <a:lnTo>
                  <a:pt x="274" y="477"/>
                </a:lnTo>
                <a:lnTo>
                  <a:pt x="275" y="449"/>
                </a:lnTo>
                <a:lnTo>
                  <a:pt x="281" y="440"/>
                </a:lnTo>
                <a:lnTo>
                  <a:pt x="287" y="432"/>
                </a:lnTo>
                <a:lnTo>
                  <a:pt x="294" y="425"/>
                </a:lnTo>
                <a:lnTo>
                  <a:pt x="302" y="416"/>
                </a:lnTo>
                <a:lnTo>
                  <a:pt x="316" y="404"/>
                </a:lnTo>
                <a:lnTo>
                  <a:pt x="328" y="394"/>
                </a:lnTo>
                <a:lnTo>
                  <a:pt x="338" y="382"/>
                </a:lnTo>
                <a:lnTo>
                  <a:pt x="346" y="370"/>
                </a:lnTo>
                <a:lnTo>
                  <a:pt x="352" y="357"/>
                </a:lnTo>
                <a:lnTo>
                  <a:pt x="357" y="345"/>
                </a:lnTo>
                <a:lnTo>
                  <a:pt x="361" y="334"/>
                </a:lnTo>
                <a:lnTo>
                  <a:pt x="364" y="323"/>
                </a:lnTo>
                <a:lnTo>
                  <a:pt x="366" y="312"/>
                </a:lnTo>
                <a:lnTo>
                  <a:pt x="369" y="299"/>
                </a:lnTo>
                <a:lnTo>
                  <a:pt x="370" y="276"/>
                </a:lnTo>
                <a:lnTo>
                  <a:pt x="370" y="251"/>
                </a:lnTo>
                <a:lnTo>
                  <a:pt x="369" y="225"/>
                </a:lnTo>
                <a:lnTo>
                  <a:pt x="369" y="197"/>
                </a:lnTo>
                <a:lnTo>
                  <a:pt x="369" y="191"/>
                </a:lnTo>
                <a:lnTo>
                  <a:pt x="369" y="187"/>
                </a:lnTo>
                <a:lnTo>
                  <a:pt x="371" y="183"/>
                </a:lnTo>
                <a:lnTo>
                  <a:pt x="372" y="180"/>
                </a:lnTo>
                <a:lnTo>
                  <a:pt x="375" y="174"/>
                </a:lnTo>
                <a:lnTo>
                  <a:pt x="380" y="167"/>
                </a:lnTo>
                <a:lnTo>
                  <a:pt x="383" y="160"/>
                </a:lnTo>
                <a:lnTo>
                  <a:pt x="385" y="149"/>
                </a:lnTo>
                <a:lnTo>
                  <a:pt x="385" y="140"/>
                </a:lnTo>
                <a:lnTo>
                  <a:pt x="385" y="132"/>
                </a:lnTo>
                <a:lnTo>
                  <a:pt x="383" y="122"/>
                </a:lnTo>
                <a:lnTo>
                  <a:pt x="382" y="110"/>
                </a:lnTo>
                <a:lnTo>
                  <a:pt x="397" y="87"/>
                </a:lnTo>
                <a:lnTo>
                  <a:pt x="417" y="58"/>
                </a:lnTo>
                <a:lnTo>
                  <a:pt x="422" y="51"/>
                </a:lnTo>
                <a:lnTo>
                  <a:pt x="428" y="45"/>
                </a:lnTo>
                <a:lnTo>
                  <a:pt x="435" y="40"/>
                </a:lnTo>
                <a:lnTo>
                  <a:pt x="440" y="35"/>
                </a:lnTo>
                <a:lnTo>
                  <a:pt x="447" y="31"/>
                </a:lnTo>
                <a:lnTo>
                  <a:pt x="453" y="26"/>
                </a:lnTo>
                <a:lnTo>
                  <a:pt x="461" y="24"/>
                </a:lnTo>
                <a:lnTo>
                  <a:pt x="467" y="24"/>
                </a:lnTo>
                <a:lnTo>
                  <a:pt x="476" y="24"/>
                </a:lnTo>
                <a:lnTo>
                  <a:pt x="484" y="26"/>
                </a:lnTo>
                <a:lnTo>
                  <a:pt x="491" y="30"/>
                </a:lnTo>
                <a:lnTo>
                  <a:pt x="497" y="33"/>
                </a:lnTo>
                <a:lnTo>
                  <a:pt x="509" y="42"/>
                </a:lnTo>
                <a:lnTo>
                  <a:pt x="521" y="52"/>
                </a:lnTo>
                <a:lnTo>
                  <a:pt x="532" y="62"/>
                </a:lnTo>
                <a:lnTo>
                  <a:pt x="544" y="71"/>
                </a:lnTo>
                <a:lnTo>
                  <a:pt x="551" y="74"/>
                </a:lnTo>
                <a:lnTo>
                  <a:pt x="558" y="77"/>
                </a:lnTo>
                <a:lnTo>
                  <a:pt x="565" y="79"/>
                </a:lnTo>
                <a:lnTo>
                  <a:pt x="574" y="79"/>
                </a:lnTo>
                <a:lnTo>
                  <a:pt x="587" y="78"/>
                </a:lnTo>
                <a:lnTo>
                  <a:pt x="599" y="76"/>
                </a:lnTo>
                <a:lnTo>
                  <a:pt x="614" y="74"/>
                </a:lnTo>
                <a:lnTo>
                  <a:pt x="634" y="73"/>
                </a:lnTo>
                <a:lnTo>
                  <a:pt x="637" y="73"/>
                </a:lnTo>
                <a:lnTo>
                  <a:pt x="639" y="71"/>
                </a:lnTo>
                <a:lnTo>
                  <a:pt x="641" y="69"/>
                </a:lnTo>
                <a:lnTo>
                  <a:pt x="644" y="66"/>
                </a:lnTo>
                <a:lnTo>
                  <a:pt x="649" y="60"/>
                </a:lnTo>
                <a:lnTo>
                  <a:pt x="654" y="55"/>
                </a:lnTo>
                <a:lnTo>
                  <a:pt x="662" y="49"/>
                </a:lnTo>
                <a:lnTo>
                  <a:pt x="670" y="44"/>
                </a:lnTo>
                <a:lnTo>
                  <a:pt x="677" y="40"/>
                </a:lnTo>
                <a:lnTo>
                  <a:pt x="685" y="38"/>
                </a:lnTo>
                <a:lnTo>
                  <a:pt x="693" y="36"/>
                </a:lnTo>
                <a:lnTo>
                  <a:pt x="701" y="35"/>
                </a:lnTo>
                <a:lnTo>
                  <a:pt x="709" y="34"/>
                </a:lnTo>
                <a:lnTo>
                  <a:pt x="718" y="34"/>
                </a:lnTo>
                <a:lnTo>
                  <a:pt x="734" y="34"/>
                </a:lnTo>
                <a:lnTo>
                  <a:pt x="752" y="35"/>
                </a:lnTo>
                <a:lnTo>
                  <a:pt x="761" y="34"/>
                </a:lnTo>
                <a:lnTo>
                  <a:pt x="769" y="34"/>
                </a:lnTo>
                <a:lnTo>
                  <a:pt x="778" y="33"/>
                </a:lnTo>
                <a:lnTo>
                  <a:pt x="787" y="31"/>
                </a:lnTo>
                <a:lnTo>
                  <a:pt x="790" y="24"/>
                </a:lnTo>
                <a:lnTo>
                  <a:pt x="795" y="17"/>
                </a:lnTo>
                <a:lnTo>
                  <a:pt x="796" y="13"/>
                </a:lnTo>
                <a:lnTo>
                  <a:pt x="799" y="9"/>
                </a:lnTo>
                <a:lnTo>
                  <a:pt x="802" y="4"/>
                </a:lnTo>
                <a:lnTo>
                  <a:pt x="807" y="0"/>
                </a:lnTo>
                <a:lnTo>
                  <a:pt x="814" y="0"/>
                </a:lnTo>
                <a:lnTo>
                  <a:pt x="827" y="0"/>
                </a:lnTo>
                <a:lnTo>
                  <a:pt x="828" y="8"/>
                </a:lnTo>
                <a:lnTo>
                  <a:pt x="830" y="14"/>
                </a:lnTo>
                <a:lnTo>
                  <a:pt x="833" y="18"/>
                </a:lnTo>
                <a:lnTo>
                  <a:pt x="839" y="21"/>
                </a:lnTo>
                <a:lnTo>
                  <a:pt x="843" y="22"/>
                </a:lnTo>
                <a:lnTo>
                  <a:pt x="848" y="23"/>
                </a:lnTo>
                <a:lnTo>
                  <a:pt x="854" y="24"/>
                </a:lnTo>
                <a:lnTo>
                  <a:pt x="859" y="24"/>
                </a:lnTo>
                <a:lnTo>
                  <a:pt x="869" y="24"/>
                </a:lnTo>
                <a:lnTo>
                  <a:pt x="879" y="24"/>
                </a:lnTo>
                <a:lnTo>
                  <a:pt x="887" y="24"/>
                </a:lnTo>
                <a:lnTo>
                  <a:pt x="894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97" name="Freeform 249"/>
          <p:cNvSpPr>
            <a:spLocks/>
          </p:cNvSpPr>
          <p:nvPr>
            <p:custDataLst>
              <p:tags r:id="rId176"/>
            </p:custDataLst>
          </p:nvPr>
        </p:nvSpPr>
        <p:spPr bwMode="auto">
          <a:xfrm>
            <a:off x="5767388" y="3590926"/>
            <a:ext cx="55562" cy="55563"/>
          </a:xfrm>
          <a:custGeom>
            <a:avLst/>
            <a:gdLst>
              <a:gd name="T0" fmla="*/ 120 w 125"/>
              <a:gd name="T1" fmla="*/ 0 h 81"/>
              <a:gd name="T2" fmla="*/ 121 w 125"/>
              <a:gd name="T3" fmla="*/ 27 h 81"/>
              <a:gd name="T4" fmla="*/ 124 w 125"/>
              <a:gd name="T5" fmla="*/ 46 h 81"/>
              <a:gd name="T6" fmla="*/ 125 w 125"/>
              <a:gd name="T7" fmla="*/ 53 h 81"/>
              <a:gd name="T8" fmla="*/ 125 w 125"/>
              <a:gd name="T9" fmla="*/ 59 h 81"/>
              <a:gd name="T10" fmla="*/ 125 w 125"/>
              <a:gd name="T11" fmla="*/ 65 h 81"/>
              <a:gd name="T12" fmla="*/ 123 w 125"/>
              <a:gd name="T13" fmla="*/ 69 h 81"/>
              <a:gd name="T14" fmla="*/ 119 w 125"/>
              <a:gd name="T15" fmla="*/ 72 h 81"/>
              <a:gd name="T16" fmla="*/ 112 w 125"/>
              <a:gd name="T17" fmla="*/ 74 h 81"/>
              <a:gd name="T18" fmla="*/ 103 w 125"/>
              <a:gd name="T19" fmla="*/ 76 h 81"/>
              <a:gd name="T20" fmla="*/ 91 w 125"/>
              <a:gd name="T21" fmla="*/ 77 h 81"/>
              <a:gd name="T22" fmla="*/ 57 w 125"/>
              <a:gd name="T23" fmla="*/ 79 h 81"/>
              <a:gd name="T24" fmla="*/ 7 w 125"/>
              <a:gd name="T25" fmla="*/ 81 h 81"/>
              <a:gd name="T26" fmla="*/ 5 w 125"/>
              <a:gd name="T27" fmla="*/ 79 h 81"/>
              <a:gd name="T28" fmla="*/ 3 w 125"/>
              <a:gd name="T29" fmla="*/ 72 h 81"/>
              <a:gd name="T30" fmla="*/ 1 w 125"/>
              <a:gd name="T31" fmla="*/ 59 h 81"/>
              <a:gd name="T32" fmla="*/ 0 w 125"/>
              <a:gd name="T33" fmla="*/ 43 h 81"/>
              <a:gd name="T34" fmla="*/ 0 w 125"/>
              <a:gd name="T35" fmla="*/ 37 h 81"/>
              <a:gd name="T36" fmla="*/ 1 w 125"/>
              <a:gd name="T37" fmla="*/ 31 h 81"/>
              <a:gd name="T38" fmla="*/ 2 w 125"/>
              <a:gd name="T39" fmla="*/ 25 h 81"/>
              <a:gd name="T40" fmla="*/ 4 w 125"/>
              <a:gd name="T41" fmla="*/ 20 h 81"/>
              <a:gd name="T42" fmla="*/ 8 w 125"/>
              <a:gd name="T43" fmla="*/ 15 h 81"/>
              <a:gd name="T44" fmla="*/ 11 w 125"/>
              <a:gd name="T45" fmla="*/ 10 h 81"/>
              <a:gd name="T46" fmla="*/ 14 w 125"/>
              <a:gd name="T47" fmla="*/ 5 h 81"/>
              <a:gd name="T48" fmla="*/ 20 w 125"/>
              <a:gd name="T49" fmla="*/ 0 h 81"/>
              <a:gd name="T50" fmla="*/ 120 w 125"/>
              <a:gd name="T51" fmla="*/ 0 h 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25" h="81">
                <a:moveTo>
                  <a:pt x="120" y="0"/>
                </a:moveTo>
                <a:lnTo>
                  <a:pt x="121" y="27"/>
                </a:lnTo>
                <a:lnTo>
                  <a:pt x="124" y="46"/>
                </a:lnTo>
                <a:lnTo>
                  <a:pt x="125" y="53"/>
                </a:lnTo>
                <a:lnTo>
                  <a:pt x="125" y="59"/>
                </a:lnTo>
                <a:lnTo>
                  <a:pt x="125" y="65"/>
                </a:lnTo>
                <a:lnTo>
                  <a:pt x="123" y="69"/>
                </a:lnTo>
                <a:lnTo>
                  <a:pt x="119" y="72"/>
                </a:lnTo>
                <a:lnTo>
                  <a:pt x="112" y="74"/>
                </a:lnTo>
                <a:lnTo>
                  <a:pt x="103" y="76"/>
                </a:lnTo>
                <a:lnTo>
                  <a:pt x="91" y="77"/>
                </a:lnTo>
                <a:lnTo>
                  <a:pt x="57" y="79"/>
                </a:lnTo>
                <a:lnTo>
                  <a:pt x="7" y="81"/>
                </a:lnTo>
                <a:lnTo>
                  <a:pt x="5" y="79"/>
                </a:lnTo>
                <a:lnTo>
                  <a:pt x="3" y="72"/>
                </a:lnTo>
                <a:lnTo>
                  <a:pt x="1" y="59"/>
                </a:lnTo>
                <a:lnTo>
                  <a:pt x="0" y="43"/>
                </a:lnTo>
                <a:lnTo>
                  <a:pt x="0" y="37"/>
                </a:lnTo>
                <a:lnTo>
                  <a:pt x="1" y="31"/>
                </a:lnTo>
                <a:lnTo>
                  <a:pt x="2" y="25"/>
                </a:lnTo>
                <a:lnTo>
                  <a:pt x="4" y="20"/>
                </a:lnTo>
                <a:lnTo>
                  <a:pt x="8" y="15"/>
                </a:lnTo>
                <a:lnTo>
                  <a:pt x="11" y="10"/>
                </a:lnTo>
                <a:lnTo>
                  <a:pt x="14" y="5"/>
                </a:lnTo>
                <a:lnTo>
                  <a:pt x="20" y="0"/>
                </a:lnTo>
                <a:lnTo>
                  <a:pt x="1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98" name="Freeform 250"/>
          <p:cNvSpPr>
            <a:spLocks/>
          </p:cNvSpPr>
          <p:nvPr>
            <p:custDataLst>
              <p:tags r:id="rId177"/>
            </p:custDataLst>
          </p:nvPr>
        </p:nvSpPr>
        <p:spPr bwMode="auto">
          <a:xfrm>
            <a:off x="5749925" y="3590926"/>
            <a:ext cx="152400" cy="201613"/>
          </a:xfrm>
          <a:custGeom>
            <a:avLst/>
            <a:gdLst>
              <a:gd name="T0" fmla="*/ 262 w 355"/>
              <a:gd name="T1" fmla="*/ 15 h 388"/>
              <a:gd name="T2" fmla="*/ 257 w 355"/>
              <a:gd name="T3" fmla="*/ 37 h 388"/>
              <a:gd name="T4" fmla="*/ 264 w 355"/>
              <a:gd name="T5" fmla="*/ 51 h 388"/>
              <a:gd name="T6" fmla="*/ 283 w 355"/>
              <a:gd name="T7" fmla="*/ 60 h 388"/>
              <a:gd name="T8" fmla="*/ 319 w 355"/>
              <a:gd name="T9" fmla="*/ 55 h 388"/>
              <a:gd name="T10" fmla="*/ 332 w 355"/>
              <a:gd name="T11" fmla="*/ 57 h 388"/>
              <a:gd name="T12" fmla="*/ 340 w 355"/>
              <a:gd name="T13" fmla="*/ 68 h 388"/>
              <a:gd name="T14" fmla="*/ 345 w 355"/>
              <a:gd name="T15" fmla="*/ 83 h 388"/>
              <a:gd name="T16" fmla="*/ 351 w 355"/>
              <a:gd name="T17" fmla="*/ 94 h 388"/>
              <a:gd name="T18" fmla="*/ 345 w 355"/>
              <a:gd name="T19" fmla="*/ 108 h 388"/>
              <a:gd name="T20" fmla="*/ 320 w 355"/>
              <a:gd name="T21" fmla="*/ 136 h 388"/>
              <a:gd name="T22" fmla="*/ 348 w 355"/>
              <a:gd name="T23" fmla="*/ 175 h 388"/>
              <a:gd name="T24" fmla="*/ 355 w 355"/>
              <a:gd name="T25" fmla="*/ 202 h 388"/>
              <a:gd name="T26" fmla="*/ 353 w 355"/>
              <a:gd name="T27" fmla="*/ 219 h 388"/>
              <a:gd name="T28" fmla="*/ 345 w 355"/>
              <a:gd name="T29" fmla="*/ 254 h 388"/>
              <a:gd name="T30" fmla="*/ 333 w 355"/>
              <a:gd name="T31" fmla="*/ 271 h 388"/>
              <a:gd name="T32" fmla="*/ 312 w 355"/>
              <a:gd name="T33" fmla="*/ 280 h 388"/>
              <a:gd name="T34" fmla="*/ 286 w 355"/>
              <a:gd name="T35" fmla="*/ 282 h 388"/>
              <a:gd name="T36" fmla="*/ 270 w 355"/>
              <a:gd name="T37" fmla="*/ 282 h 388"/>
              <a:gd name="T38" fmla="*/ 252 w 355"/>
              <a:gd name="T39" fmla="*/ 265 h 388"/>
              <a:gd name="T40" fmla="*/ 240 w 355"/>
              <a:gd name="T41" fmla="*/ 259 h 388"/>
              <a:gd name="T42" fmla="*/ 221 w 355"/>
              <a:gd name="T43" fmla="*/ 269 h 388"/>
              <a:gd name="T44" fmla="*/ 205 w 355"/>
              <a:gd name="T45" fmla="*/ 279 h 388"/>
              <a:gd name="T46" fmla="*/ 194 w 355"/>
              <a:gd name="T47" fmla="*/ 285 h 388"/>
              <a:gd name="T48" fmla="*/ 185 w 355"/>
              <a:gd name="T49" fmla="*/ 298 h 388"/>
              <a:gd name="T50" fmla="*/ 187 w 355"/>
              <a:gd name="T51" fmla="*/ 321 h 388"/>
              <a:gd name="T52" fmla="*/ 207 w 355"/>
              <a:gd name="T53" fmla="*/ 358 h 388"/>
              <a:gd name="T54" fmla="*/ 195 w 355"/>
              <a:gd name="T55" fmla="*/ 353 h 388"/>
              <a:gd name="T56" fmla="*/ 177 w 355"/>
              <a:gd name="T57" fmla="*/ 355 h 388"/>
              <a:gd name="T58" fmla="*/ 162 w 355"/>
              <a:gd name="T59" fmla="*/ 365 h 388"/>
              <a:gd name="T60" fmla="*/ 146 w 355"/>
              <a:gd name="T61" fmla="*/ 388 h 388"/>
              <a:gd name="T62" fmla="*/ 123 w 355"/>
              <a:gd name="T63" fmla="*/ 370 h 388"/>
              <a:gd name="T64" fmla="*/ 113 w 355"/>
              <a:gd name="T65" fmla="*/ 358 h 388"/>
              <a:gd name="T66" fmla="*/ 96 w 355"/>
              <a:gd name="T67" fmla="*/ 324 h 388"/>
              <a:gd name="T68" fmla="*/ 50 w 355"/>
              <a:gd name="T69" fmla="*/ 280 h 388"/>
              <a:gd name="T70" fmla="*/ 22 w 355"/>
              <a:gd name="T71" fmla="*/ 254 h 388"/>
              <a:gd name="T72" fmla="*/ 5 w 355"/>
              <a:gd name="T73" fmla="*/ 223 h 388"/>
              <a:gd name="T74" fmla="*/ 1 w 355"/>
              <a:gd name="T75" fmla="*/ 187 h 388"/>
              <a:gd name="T76" fmla="*/ 11 w 355"/>
              <a:gd name="T77" fmla="*/ 162 h 388"/>
              <a:gd name="T78" fmla="*/ 41 w 355"/>
              <a:gd name="T79" fmla="*/ 134 h 388"/>
              <a:gd name="T80" fmla="*/ 54 w 355"/>
              <a:gd name="T81" fmla="*/ 116 h 388"/>
              <a:gd name="T82" fmla="*/ 56 w 355"/>
              <a:gd name="T83" fmla="*/ 91 h 388"/>
              <a:gd name="T84" fmla="*/ 108 w 355"/>
              <a:gd name="T85" fmla="*/ 83 h 388"/>
              <a:gd name="T86" fmla="*/ 156 w 355"/>
              <a:gd name="T87" fmla="*/ 80 h 388"/>
              <a:gd name="T88" fmla="*/ 172 w 355"/>
              <a:gd name="T89" fmla="*/ 73 h 388"/>
              <a:gd name="T90" fmla="*/ 177 w 355"/>
              <a:gd name="T91" fmla="*/ 63 h 388"/>
              <a:gd name="T92" fmla="*/ 174 w 355"/>
              <a:gd name="T93" fmla="*/ 41 h 388"/>
              <a:gd name="T94" fmla="*/ 167 w 355"/>
              <a:gd name="T95" fmla="*/ 12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55" h="388">
                <a:moveTo>
                  <a:pt x="266" y="7"/>
                </a:moveTo>
                <a:lnTo>
                  <a:pt x="265" y="9"/>
                </a:lnTo>
                <a:lnTo>
                  <a:pt x="262" y="15"/>
                </a:lnTo>
                <a:lnTo>
                  <a:pt x="259" y="23"/>
                </a:lnTo>
                <a:lnTo>
                  <a:pt x="257" y="32"/>
                </a:lnTo>
                <a:lnTo>
                  <a:pt x="257" y="37"/>
                </a:lnTo>
                <a:lnTo>
                  <a:pt x="258" y="42"/>
                </a:lnTo>
                <a:lnTo>
                  <a:pt x="261" y="46"/>
                </a:lnTo>
                <a:lnTo>
                  <a:pt x="264" y="51"/>
                </a:lnTo>
                <a:lnTo>
                  <a:pt x="268" y="54"/>
                </a:lnTo>
                <a:lnTo>
                  <a:pt x="275" y="58"/>
                </a:lnTo>
                <a:lnTo>
                  <a:pt x="283" y="60"/>
                </a:lnTo>
                <a:lnTo>
                  <a:pt x="294" y="63"/>
                </a:lnTo>
                <a:lnTo>
                  <a:pt x="301" y="58"/>
                </a:lnTo>
                <a:lnTo>
                  <a:pt x="319" y="55"/>
                </a:lnTo>
                <a:lnTo>
                  <a:pt x="323" y="55"/>
                </a:lnTo>
                <a:lnTo>
                  <a:pt x="328" y="55"/>
                </a:lnTo>
                <a:lnTo>
                  <a:pt x="332" y="57"/>
                </a:lnTo>
                <a:lnTo>
                  <a:pt x="335" y="59"/>
                </a:lnTo>
                <a:lnTo>
                  <a:pt x="337" y="63"/>
                </a:lnTo>
                <a:lnTo>
                  <a:pt x="340" y="68"/>
                </a:lnTo>
                <a:lnTo>
                  <a:pt x="340" y="74"/>
                </a:lnTo>
                <a:lnTo>
                  <a:pt x="340" y="81"/>
                </a:lnTo>
                <a:lnTo>
                  <a:pt x="345" y="83"/>
                </a:lnTo>
                <a:lnTo>
                  <a:pt x="348" y="87"/>
                </a:lnTo>
                <a:lnTo>
                  <a:pt x="350" y="90"/>
                </a:lnTo>
                <a:lnTo>
                  <a:pt x="351" y="94"/>
                </a:lnTo>
                <a:lnTo>
                  <a:pt x="350" y="99"/>
                </a:lnTo>
                <a:lnTo>
                  <a:pt x="347" y="103"/>
                </a:lnTo>
                <a:lnTo>
                  <a:pt x="345" y="108"/>
                </a:lnTo>
                <a:lnTo>
                  <a:pt x="342" y="113"/>
                </a:lnTo>
                <a:lnTo>
                  <a:pt x="328" y="129"/>
                </a:lnTo>
                <a:lnTo>
                  <a:pt x="320" y="136"/>
                </a:lnTo>
                <a:lnTo>
                  <a:pt x="326" y="143"/>
                </a:lnTo>
                <a:lnTo>
                  <a:pt x="341" y="162"/>
                </a:lnTo>
                <a:lnTo>
                  <a:pt x="348" y="175"/>
                </a:lnTo>
                <a:lnTo>
                  <a:pt x="353" y="188"/>
                </a:lnTo>
                <a:lnTo>
                  <a:pt x="355" y="195"/>
                </a:lnTo>
                <a:lnTo>
                  <a:pt x="355" y="202"/>
                </a:lnTo>
                <a:lnTo>
                  <a:pt x="355" y="209"/>
                </a:lnTo>
                <a:lnTo>
                  <a:pt x="353" y="216"/>
                </a:lnTo>
                <a:lnTo>
                  <a:pt x="353" y="219"/>
                </a:lnTo>
                <a:lnTo>
                  <a:pt x="352" y="228"/>
                </a:lnTo>
                <a:lnTo>
                  <a:pt x="350" y="241"/>
                </a:lnTo>
                <a:lnTo>
                  <a:pt x="345" y="254"/>
                </a:lnTo>
                <a:lnTo>
                  <a:pt x="342" y="260"/>
                </a:lnTo>
                <a:lnTo>
                  <a:pt x="339" y="266"/>
                </a:lnTo>
                <a:lnTo>
                  <a:pt x="333" y="271"/>
                </a:lnTo>
                <a:lnTo>
                  <a:pt x="328" y="276"/>
                </a:lnTo>
                <a:lnTo>
                  <a:pt x="321" y="279"/>
                </a:lnTo>
                <a:lnTo>
                  <a:pt x="312" y="280"/>
                </a:lnTo>
                <a:lnTo>
                  <a:pt x="303" y="280"/>
                </a:lnTo>
                <a:lnTo>
                  <a:pt x="294" y="277"/>
                </a:lnTo>
                <a:lnTo>
                  <a:pt x="286" y="282"/>
                </a:lnTo>
                <a:lnTo>
                  <a:pt x="280" y="285"/>
                </a:lnTo>
                <a:lnTo>
                  <a:pt x="275" y="285"/>
                </a:lnTo>
                <a:lnTo>
                  <a:pt x="270" y="282"/>
                </a:lnTo>
                <a:lnTo>
                  <a:pt x="263" y="276"/>
                </a:lnTo>
                <a:lnTo>
                  <a:pt x="255" y="268"/>
                </a:lnTo>
                <a:lnTo>
                  <a:pt x="252" y="265"/>
                </a:lnTo>
                <a:lnTo>
                  <a:pt x="249" y="261"/>
                </a:lnTo>
                <a:lnTo>
                  <a:pt x="244" y="259"/>
                </a:lnTo>
                <a:lnTo>
                  <a:pt x="240" y="259"/>
                </a:lnTo>
                <a:lnTo>
                  <a:pt x="234" y="260"/>
                </a:lnTo>
                <a:lnTo>
                  <a:pt x="229" y="263"/>
                </a:lnTo>
                <a:lnTo>
                  <a:pt x="221" y="269"/>
                </a:lnTo>
                <a:lnTo>
                  <a:pt x="213" y="277"/>
                </a:lnTo>
                <a:lnTo>
                  <a:pt x="211" y="278"/>
                </a:lnTo>
                <a:lnTo>
                  <a:pt x="205" y="279"/>
                </a:lnTo>
                <a:lnTo>
                  <a:pt x="201" y="280"/>
                </a:lnTo>
                <a:lnTo>
                  <a:pt x="197" y="282"/>
                </a:lnTo>
                <a:lnTo>
                  <a:pt x="194" y="285"/>
                </a:lnTo>
                <a:lnTo>
                  <a:pt x="190" y="288"/>
                </a:lnTo>
                <a:lnTo>
                  <a:pt x="187" y="292"/>
                </a:lnTo>
                <a:lnTo>
                  <a:pt x="185" y="298"/>
                </a:lnTo>
                <a:lnTo>
                  <a:pt x="185" y="304"/>
                </a:lnTo>
                <a:lnTo>
                  <a:pt x="185" y="312"/>
                </a:lnTo>
                <a:lnTo>
                  <a:pt x="187" y="321"/>
                </a:lnTo>
                <a:lnTo>
                  <a:pt x="191" y="331"/>
                </a:lnTo>
                <a:lnTo>
                  <a:pt x="198" y="344"/>
                </a:lnTo>
                <a:lnTo>
                  <a:pt x="207" y="358"/>
                </a:lnTo>
                <a:lnTo>
                  <a:pt x="206" y="357"/>
                </a:lnTo>
                <a:lnTo>
                  <a:pt x="201" y="355"/>
                </a:lnTo>
                <a:lnTo>
                  <a:pt x="195" y="353"/>
                </a:lnTo>
                <a:lnTo>
                  <a:pt x="187" y="353"/>
                </a:lnTo>
                <a:lnTo>
                  <a:pt x="183" y="353"/>
                </a:lnTo>
                <a:lnTo>
                  <a:pt x="177" y="355"/>
                </a:lnTo>
                <a:lnTo>
                  <a:pt x="173" y="357"/>
                </a:lnTo>
                <a:lnTo>
                  <a:pt x="167" y="361"/>
                </a:lnTo>
                <a:lnTo>
                  <a:pt x="162" y="365"/>
                </a:lnTo>
                <a:lnTo>
                  <a:pt x="157" y="371"/>
                </a:lnTo>
                <a:lnTo>
                  <a:pt x="152" y="379"/>
                </a:lnTo>
                <a:lnTo>
                  <a:pt x="146" y="388"/>
                </a:lnTo>
                <a:lnTo>
                  <a:pt x="137" y="380"/>
                </a:lnTo>
                <a:lnTo>
                  <a:pt x="128" y="373"/>
                </a:lnTo>
                <a:lnTo>
                  <a:pt x="123" y="370"/>
                </a:lnTo>
                <a:lnTo>
                  <a:pt x="120" y="366"/>
                </a:lnTo>
                <a:lnTo>
                  <a:pt x="117" y="362"/>
                </a:lnTo>
                <a:lnTo>
                  <a:pt x="113" y="358"/>
                </a:lnTo>
                <a:lnTo>
                  <a:pt x="109" y="346"/>
                </a:lnTo>
                <a:lnTo>
                  <a:pt x="102" y="334"/>
                </a:lnTo>
                <a:lnTo>
                  <a:pt x="96" y="324"/>
                </a:lnTo>
                <a:lnTo>
                  <a:pt x="87" y="315"/>
                </a:lnTo>
                <a:lnTo>
                  <a:pt x="70" y="297"/>
                </a:lnTo>
                <a:lnTo>
                  <a:pt x="50" y="280"/>
                </a:lnTo>
                <a:lnTo>
                  <a:pt x="40" y="271"/>
                </a:lnTo>
                <a:lnTo>
                  <a:pt x="31" y="263"/>
                </a:lnTo>
                <a:lnTo>
                  <a:pt x="22" y="254"/>
                </a:lnTo>
                <a:lnTo>
                  <a:pt x="16" y="245"/>
                </a:lnTo>
                <a:lnTo>
                  <a:pt x="9" y="235"/>
                </a:lnTo>
                <a:lnTo>
                  <a:pt x="5" y="223"/>
                </a:lnTo>
                <a:lnTo>
                  <a:pt x="1" y="211"/>
                </a:lnTo>
                <a:lnTo>
                  <a:pt x="0" y="198"/>
                </a:lnTo>
                <a:lnTo>
                  <a:pt x="1" y="187"/>
                </a:lnTo>
                <a:lnTo>
                  <a:pt x="4" y="178"/>
                </a:lnTo>
                <a:lnTo>
                  <a:pt x="7" y="169"/>
                </a:lnTo>
                <a:lnTo>
                  <a:pt x="11" y="162"/>
                </a:lnTo>
                <a:lnTo>
                  <a:pt x="22" y="150"/>
                </a:lnTo>
                <a:lnTo>
                  <a:pt x="34" y="139"/>
                </a:lnTo>
                <a:lnTo>
                  <a:pt x="41" y="134"/>
                </a:lnTo>
                <a:lnTo>
                  <a:pt x="45" y="129"/>
                </a:lnTo>
                <a:lnTo>
                  <a:pt x="50" y="123"/>
                </a:lnTo>
                <a:lnTo>
                  <a:pt x="54" y="116"/>
                </a:lnTo>
                <a:lnTo>
                  <a:pt x="56" y="109"/>
                </a:lnTo>
                <a:lnTo>
                  <a:pt x="57" y="101"/>
                </a:lnTo>
                <a:lnTo>
                  <a:pt x="56" y="91"/>
                </a:lnTo>
                <a:lnTo>
                  <a:pt x="54" y="81"/>
                </a:lnTo>
                <a:lnTo>
                  <a:pt x="84" y="83"/>
                </a:lnTo>
                <a:lnTo>
                  <a:pt x="108" y="83"/>
                </a:lnTo>
                <a:lnTo>
                  <a:pt x="129" y="83"/>
                </a:lnTo>
                <a:lnTo>
                  <a:pt x="144" y="82"/>
                </a:lnTo>
                <a:lnTo>
                  <a:pt x="156" y="80"/>
                </a:lnTo>
                <a:lnTo>
                  <a:pt x="165" y="77"/>
                </a:lnTo>
                <a:lnTo>
                  <a:pt x="168" y="75"/>
                </a:lnTo>
                <a:lnTo>
                  <a:pt x="172" y="73"/>
                </a:lnTo>
                <a:lnTo>
                  <a:pt x="174" y="71"/>
                </a:lnTo>
                <a:lnTo>
                  <a:pt x="175" y="69"/>
                </a:lnTo>
                <a:lnTo>
                  <a:pt x="177" y="63"/>
                </a:lnTo>
                <a:lnTo>
                  <a:pt x="176" y="56"/>
                </a:lnTo>
                <a:lnTo>
                  <a:pt x="175" y="49"/>
                </a:lnTo>
                <a:lnTo>
                  <a:pt x="174" y="41"/>
                </a:lnTo>
                <a:lnTo>
                  <a:pt x="172" y="32"/>
                </a:lnTo>
                <a:lnTo>
                  <a:pt x="169" y="22"/>
                </a:lnTo>
                <a:lnTo>
                  <a:pt x="167" y="12"/>
                </a:lnTo>
                <a:lnTo>
                  <a:pt x="167" y="0"/>
                </a:lnTo>
                <a:lnTo>
                  <a:pt x="266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99" name="Freeform 251"/>
          <p:cNvSpPr>
            <a:spLocks/>
          </p:cNvSpPr>
          <p:nvPr>
            <p:custDataLst>
              <p:tags r:id="rId178"/>
            </p:custDataLst>
          </p:nvPr>
        </p:nvSpPr>
        <p:spPr bwMode="auto">
          <a:xfrm>
            <a:off x="6283325" y="3995738"/>
            <a:ext cx="260350" cy="520700"/>
          </a:xfrm>
          <a:custGeom>
            <a:avLst/>
            <a:gdLst>
              <a:gd name="T0" fmla="*/ 0 w 599"/>
              <a:gd name="T1" fmla="*/ 259 h 993"/>
              <a:gd name="T2" fmla="*/ 182 w 599"/>
              <a:gd name="T3" fmla="*/ 224 h 993"/>
              <a:gd name="T4" fmla="*/ 230 w 599"/>
              <a:gd name="T5" fmla="*/ 240 h 993"/>
              <a:gd name="T6" fmla="*/ 258 w 599"/>
              <a:gd name="T7" fmla="*/ 258 h 993"/>
              <a:gd name="T8" fmla="*/ 252 w 599"/>
              <a:gd name="T9" fmla="*/ 296 h 993"/>
              <a:gd name="T10" fmla="*/ 234 w 599"/>
              <a:gd name="T11" fmla="*/ 327 h 993"/>
              <a:gd name="T12" fmla="*/ 250 w 599"/>
              <a:gd name="T13" fmla="*/ 357 h 993"/>
              <a:gd name="T14" fmla="*/ 294 w 599"/>
              <a:gd name="T15" fmla="*/ 365 h 993"/>
              <a:gd name="T16" fmla="*/ 319 w 599"/>
              <a:gd name="T17" fmla="*/ 340 h 993"/>
              <a:gd name="T18" fmla="*/ 338 w 599"/>
              <a:gd name="T19" fmla="*/ 317 h 993"/>
              <a:gd name="T20" fmla="*/ 332 w 599"/>
              <a:gd name="T21" fmla="*/ 261 h 993"/>
              <a:gd name="T22" fmla="*/ 314 w 599"/>
              <a:gd name="T23" fmla="*/ 204 h 993"/>
              <a:gd name="T24" fmla="*/ 271 w 599"/>
              <a:gd name="T25" fmla="*/ 157 h 993"/>
              <a:gd name="T26" fmla="*/ 254 w 599"/>
              <a:gd name="T27" fmla="*/ 125 h 993"/>
              <a:gd name="T28" fmla="*/ 270 w 599"/>
              <a:gd name="T29" fmla="*/ 62 h 993"/>
              <a:gd name="T30" fmla="*/ 320 w 599"/>
              <a:gd name="T31" fmla="*/ 55 h 993"/>
              <a:gd name="T32" fmla="*/ 418 w 599"/>
              <a:gd name="T33" fmla="*/ 60 h 993"/>
              <a:gd name="T34" fmla="*/ 521 w 599"/>
              <a:gd name="T35" fmla="*/ 36 h 993"/>
              <a:gd name="T36" fmla="*/ 597 w 599"/>
              <a:gd name="T37" fmla="*/ 3 h 993"/>
              <a:gd name="T38" fmla="*/ 597 w 599"/>
              <a:gd name="T39" fmla="*/ 30 h 993"/>
              <a:gd name="T40" fmla="*/ 597 w 599"/>
              <a:gd name="T41" fmla="*/ 126 h 993"/>
              <a:gd name="T42" fmla="*/ 592 w 599"/>
              <a:gd name="T43" fmla="*/ 228 h 993"/>
              <a:gd name="T44" fmla="*/ 585 w 599"/>
              <a:gd name="T45" fmla="*/ 276 h 993"/>
              <a:gd name="T46" fmla="*/ 550 w 599"/>
              <a:gd name="T47" fmla="*/ 337 h 993"/>
              <a:gd name="T48" fmla="*/ 468 w 599"/>
              <a:gd name="T49" fmla="*/ 402 h 993"/>
              <a:gd name="T50" fmla="*/ 374 w 599"/>
              <a:gd name="T51" fmla="*/ 426 h 993"/>
              <a:gd name="T52" fmla="*/ 353 w 599"/>
              <a:gd name="T53" fmla="*/ 464 h 993"/>
              <a:gd name="T54" fmla="*/ 293 w 599"/>
              <a:gd name="T55" fmla="*/ 507 h 993"/>
              <a:gd name="T56" fmla="*/ 243 w 599"/>
              <a:gd name="T57" fmla="*/ 549 h 993"/>
              <a:gd name="T58" fmla="*/ 229 w 599"/>
              <a:gd name="T59" fmla="*/ 582 h 993"/>
              <a:gd name="T60" fmla="*/ 237 w 599"/>
              <a:gd name="T61" fmla="*/ 619 h 993"/>
              <a:gd name="T62" fmla="*/ 267 w 599"/>
              <a:gd name="T63" fmla="*/ 654 h 993"/>
              <a:gd name="T64" fmla="*/ 254 w 599"/>
              <a:gd name="T65" fmla="*/ 694 h 993"/>
              <a:gd name="T66" fmla="*/ 265 w 599"/>
              <a:gd name="T67" fmla="*/ 729 h 993"/>
              <a:gd name="T68" fmla="*/ 267 w 599"/>
              <a:gd name="T69" fmla="*/ 790 h 993"/>
              <a:gd name="T70" fmla="*/ 256 w 599"/>
              <a:gd name="T71" fmla="*/ 814 h 993"/>
              <a:gd name="T72" fmla="*/ 193 w 599"/>
              <a:gd name="T73" fmla="*/ 873 h 993"/>
              <a:gd name="T74" fmla="*/ 147 w 599"/>
              <a:gd name="T75" fmla="*/ 887 h 993"/>
              <a:gd name="T76" fmla="*/ 102 w 599"/>
              <a:gd name="T77" fmla="*/ 894 h 993"/>
              <a:gd name="T78" fmla="*/ 87 w 599"/>
              <a:gd name="T79" fmla="*/ 913 h 993"/>
              <a:gd name="T80" fmla="*/ 95 w 599"/>
              <a:gd name="T81" fmla="*/ 939 h 993"/>
              <a:gd name="T82" fmla="*/ 91 w 599"/>
              <a:gd name="T83" fmla="*/ 992 h 993"/>
              <a:gd name="T84" fmla="*/ 74 w 599"/>
              <a:gd name="T85" fmla="*/ 810 h 993"/>
              <a:gd name="T86" fmla="*/ 58 w 599"/>
              <a:gd name="T87" fmla="*/ 765 h 993"/>
              <a:gd name="T88" fmla="*/ 41 w 599"/>
              <a:gd name="T89" fmla="*/ 720 h 993"/>
              <a:gd name="T90" fmla="*/ 108 w 599"/>
              <a:gd name="T91" fmla="*/ 666 h 993"/>
              <a:gd name="T92" fmla="*/ 109 w 599"/>
              <a:gd name="T93" fmla="*/ 614 h 993"/>
              <a:gd name="T94" fmla="*/ 149 w 599"/>
              <a:gd name="T95" fmla="*/ 571 h 993"/>
              <a:gd name="T96" fmla="*/ 174 w 599"/>
              <a:gd name="T97" fmla="*/ 526 h 993"/>
              <a:gd name="T98" fmla="*/ 168 w 599"/>
              <a:gd name="T99" fmla="*/ 441 h 993"/>
              <a:gd name="T100" fmla="*/ 152 w 599"/>
              <a:gd name="T101" fmla="*/ 364 h 993"/>
              <a:gd name="T102" fmla="*/ 81 w 599"/>
              <a:gd name="T103" fmla="*/ 341 h 9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599" h="993">
                <a:moveTo>
                  <a:pt x="15" y="309"/>
                </a:moveTo>
                <a:lnTo>
                  <a:pt x="9" y="291"/>
                </a:lnTo>
                <a:lnTo>
                  <a:pt x="3" y="273"/>
                </a:lnTo>
                <a:lnTo>
                  <a:pt x="1" y="266"/>
                </a:lnTo>
                <a:lnTo>
                  <a:pt x="0" y="259"/>
                </a:lnTo>
                <a:lnTo>
                  <a:pt x="0" y="253"/>
                </a:lnTo>
                <a:lnTo>
                  <a:pt x="2" y="248"/>
                </a:lnTo>
                <a:lnTo>
                  <a:pt x="174" y="216"/>
                </a:lnTo>
                <a:lnTo>
                  <a:pt x="177" y="220"/>
                </a:lnTo>
                <a:lnTo>
                  <a:pt x="182" y="224"/>
                </a:lnTo>
                <a:lnTo>
                  <a:pt x="187" y="227"/>
                </a:lnTo>
                <a:lnTo>
                  <a:pt x="193" y="229"/>
                </a:lnTo>
                <a:lnTo>
                  <a:pt x="207" y="234"/>
                </a:lnTo>
                <a:lnTo>
                  <a:pt x="222" y="238"/>
                </a:lnTo>
                <a:lnTo>
                  <a:pt x="230" y="240"/>
                </a:lnTo>
                <a:lnTo>
                  <a:pt x="237" y="242"/>
                </a:lnTo>
                <a:lnTo>
                  <a:pt x="243" y="245"/>
                </a:lnTo>
                <a:lnTo>
                  <a:pt x="249" y="249"/>
                </a:lnTo>
                <a:lnTo>
                  <a:pt x="253" y="253"/>
                </a:lnTo>
                <a:lnTo>
                  <a:pt x="258" y="258"/>
                </a:lnTo>
                <a:lnTo>
                  <a:pt x="260" y="264"/>
                </a:lnTo>
                <a:lnTo>
                  <a:pt x="261" y="272"/>
                </a:lnTo>
                <a:lnTo>
                  <a:pt x="260" y="280"/>
                </a:lnTo>
                <a:lnTo>
                  <a:pt x="256" y="289"/>
                </a:lnTo>
                <a:lnTo>
                  <a:pt x="252" y="296"/>
                </a:lnTo>
                <a:lnTo>
                  <a:pt x="248" y="302"/>
                </a:lnTo>
                <a:lnTo>
                  <a:pt x="242" y="308"/>
                </a:lnTo>
                <a:lnTo>
                  <a:pt x="238" y="314"/>
                </a:lnTo>
                <a:lnTo>
                  <a:pt x="236" y="321"/>
                </a:lnTo>
                <a:lnTo>
                  <a:pt x="234" y="327"/>
                </a:lnTo>
                <a:lnTo>
                  <a:pt x="234" y="333"/>
                </a:lnTo>
                <a:lnTo>
                  <a:pt x="236" y="338"/>
                </a:lnTo>
                <a:lnTo>
                  <a:pt x="238" y="344"/>
                </a:lnTo>
                <a:lnTo>
                  <a:pt x="241" y="349"/>
                </a:lnTo>
                <a:lnTo>
                  <a:pt x="250" y="357"/>
                </a:lnTo>
                <a:lnTo>
                  <a:pt x="259" y="365"/>
                </a:lnTo>
                <a:lnTo>
                  <a:pt x="278" y="378"/>
                </a:lnTo>
                <a:lnTo>
                  <a:pt x="294" y="389"/>
                </a:lnTo>
                <a:lnTo>
                  <a:pt x="294" y="376"/>
                </a:lnTo>
                <a:lnTo>
                  <a:pt x="294" y="365"/>
                </a:lnTo>
                <a:lnTo>
                  <a:pt x="294" y="356"/>
                </a:lnTo>
                <a:lnTo>
                  <a:pt x="294" y="346"/>
                </a:lnTo>
                <a:lnTo>
                  <a:pt x="305" y="346"/>
                </a:lnTo>
                <a:lnTo>
                  <a:pt x="315" y="343"/>
                </a:lnTo>
                <a:lnTo>
                  <a:pt x="319" y="340"/>
                </a:lnTo>
                <a:lnTo>
                  <a:pt x="323" y="338"/>
                </a:lnTo>
                <a:lnTo>
                  <a:pt x="327" y="335"/>
                </a:lnTo>
                <a:lnTo>
                  <a:pt x="329" y="332"/>
                </a:lnTo>
                <a:lnTo>
                  <a:pt x="334" y="326"/>
                </a:lnTo>
                <a:lnTo>
                  <a:pt x="338" y="317"/>
                </a:lnTo>
                <a:lnTo>
                  <a:pt x="340" y="308"/>
                </a:lnTo>
                <a:lnTo>
                  <a:pt x="340" y="297"/>
                </a:lnTo>
                <a:lnTo>
                  <a:pt x="339" y="283"/>
                </a:lnTo>
                <a:lnTo>
                  <a:pt x="337" y="272"/>
                </a:lnTo>
                <a:lnTo>
                  <a:pt x="332" y="261"/>
                </a:lnTo>
                <a:lnTo>
                  <a:pt x="327" y="251"/>
                </a:lnTo>
                <a:lnTo>
                  <a:pt x="322" y="240"/>
                </a:lnTo>
                <a:lnTo>
                  <a:pt x="318" y="229"/>
                </a:lnTo>
                <a:lnTo>
                  <a:pt x="315" y="217"/>
                </a:lnTo>
                <a:lnTo>
                  <a:pt x="314" y="204"/>
                </a:lnTo>
                <a:lnTo>
                  <a:pt x="309" y="202"/>
                </a:lnTo>
                <a:lnTo>
                  <a:pt x="301" y="194"/>
                </a:lnTo>
                <a:lnTo>
                  <a:pt x="292" y="184"/>
                </a:lnTo>
                <a:lnTo>
                  <a:pt x="282" y="171"/>
                </a:lnTo>
                <a:lnTo>
                  <a:pt x="271" y="157"/>
                </a:lnTo>
                <a:lnTo>
                  <a:pt x="262" y="144"/>
                </a:lnTo>
                <a:lnTo>
                  <a:pt x="259" y="139"/>
                </a:lnTo>
                <a:lnTo>
                  <a:pt x="256" y="133"/>
                </a:lnTo>
                <a:lnTo>
                  <a:pt x="254" y="128"/>
                </a:lnTo>
                <a:lnTo>
                  <a:pt x="254" y="125"/>
                </a:lnTo>
                <a:lnTo>
                  <a:pt x="255" y="110"/>
                </a:lnTo>
                <a:lnTo>
                  <a:pt x="259" y="90"/>
                </a:lnTo>
                <a:lnTo>
                  <a:pt x="262" y="80"/>
                </a:lnTo>
                <a:lnTo>
                  <a:pt x="265" y="71"/>
                </a:lnTo>
                <a:lnTo>
                  <a:pt x="270" y="62"/>
                </a:lnTo>
                <a:lnTo>
                  <a:pt x="274" y="56"/>
                </a:lnTo>
                <a:lnTo>
                  <a:pt x="286" y="57"/>
                </a:lnTo>
                <a:lnTo>
                  <a:pt x="298" y="58"/>
                </a:lnTo>
                <a:lnTo>
                  <a:pt x="309" y="57"/>
                </a:lnTo>
                <a:lnTo>
                  <a:pt x="320" y="55"/>
                </a:lnTo>
                <a:lnTo>
                  <a:pt x="343" y="52"/>
                </a:lnTo>
                <a:lnTo>
                  <a:pt x="367" y="50"/>
                </a:lnTo>
                <a:lnTo>
                  <a:pt x="378" y="52"/>
                </a:lnTo>
                <a:lnTo>
                  <a:pt x="398" y="56"/>
                </a:lnTo>
                <a:lnTo>
                  <a:pt x="418" y="60"/>
                </a:lnTo>
                <a:lnTo>
                  <a:pt x="433" y="62"/>
                </a:lnTo>
                <a:lnTo>
                  <a:pt x="445" y="60"/>
                </a:lnTo>
                <a:lnTo>
                  <a:pt x="466" y="54"/>
                </a:lnTo>
                <a:lnTo>
                  <a:pt x="493" y="46"/>
                </a:lnTo>
                <a:lnTo>
                  <a:pt x="521" y="36"/>
                </a:lnTo>
                <a:lnTo>
                  <a:pt x="550" y="26"/>
                </a:lnTo>
                <a:lnTo>
                  <a:pt x="574" y="16"/>
                </a:lnTo>
                <a:lnTo>
                  <a:pt x="584" y="12"/>
                </a:lnTo>
                <a:lnTo>
                  <a:pt x="591" y="7"/>
                </a:lnTo>
                <a:lnTo>
                  <a:pt x="597" y="3"/>
                </a:lnTo>
                <a:lnTo>
                  <a:pt x="599" y="0"/>
                </a:lnTo>
                <a:lnTo>
                  <a:pt x="598" y="12"/>
                </a:lnTo>
                <a:lnTo>
                  <a:pt x="597" y="20"/>
                </a:lnTo>
                <a:lnTo>
                  <a:pt x="597" y="25"/>
                </a:lnTo>
                <a:lnTo>
                  <a:pt x="597" y="30"/>
                </a:lnTo>
                <a:lnTo>
                  <a:pt x="598" y="36"/>
                </a:lnTo>
                <a:lnTo>
                  <a:pt x="599" y="44"/>
                </a:lnTo>
                <a:lnTo>
                  <a:pt x="599" y="76"/>
                </a:lnTo>
                <a:lnTo>
                  <a:pt x="598" y="102"/>
                </a:lnTo>
                <a:lnTo>
                  <a:pt x="597" y="126"/>
                </a:lnTo>
                <a:lnTo>
                  <a:pt x="596" y="146"/>
                </a:lnTo>
                <a:lnTo>
                  <a:pt x="595" y="165"/>
                </a:lnTo>
                <a:lnTo>
                  <a:pt x="594" y="185"/>
                </a:lnTo>
                <a:lnTo>
                  <a:pt x="592" y="205"/>
                </a:lnTo>
                <a:lnTo>
                  <a:pt x="592" y="228"/>
                </a:lnTo>
                <a:lnTo>
                  <a:pt x="592" y="239"/>
                </a:lnTo>
                <a:lnTo>
                  <a:pt x="591" y="249"/>
                </a:lnTo>
                <a:lnTo>
                  <a:pt x="589" y="258"/>
                </a:lnTo>
                <a:lnTo>
                  <a:pt x="587" y="267"/>
                </a:lnTo>
                <a:lnTo>
                  <a:pt x="585" y="276"/>
                </a:lnTo>
                <a:lnTo>
                  <a:pt x="581" y="285"/>
                </a:lnTo>
                <a:lnTo>
                  <a:pt x="577" y="295"/>
                </a:lnTo>
                <a:lnTo>
                  <a:pt x="573" y="304"/>
                </a:lnTo>
                <a:lnTo>
                  <a:pt x="562" y="321"/>
                </a:lnTo>
                <a:lnTo>
                  <a:pt x="550" y="337"/>
                </a:lnTo>
                <a:lnTo>
                  <a:pt x="535" y="353"/>
                </a:lnTo>
                <a:lnTo>
                  <a:pt x="520" y="367"/>
                </a:lnTo>
                <a:lnTo>
                  <a:pt x="503" y="379"/>
                </a:lnTo>
                <a:lnTo>
                  <a:pt x="487" y="391"/>
                </a:lnTo>
                <a:lnTo>
                  <a:pt x="468" y="402"/>
                </a:lnTo>
                <a:lnTo>
                  <a:pt x="450" y="410"/>
                </a:lnTo>
                <a:lnTo>
                  <a:pt x="431" y="417"/>
                </a:lnTo>
                <a:lnTo>
                  <a:pt x="411" y="422"/>
                </a:lnTo>
                <a:lnTo>
                  <a:pt x="393" y="425"/>
                </a:lnTo>
                <a:lnTo>
                  <a:pt x="374" y="426"/>
                </a:lnTo>
                <a:lnTo>
                  <a:pt x="372" y="433"/>
                </a:lnTo>
                <a:lnTo>
                  <a:pt x="368" y="440"/>
                </a:lnTo>
                <a:lnTo>
                  <a:pt x="365" y="446"/>
                </a:lnTo>
                <a:lnTo>
                  <a:pt x="362" y="452"/>
                </a:lnTo>
                <a:lnTo>
                  <a:pt x="353" y="464"/>
                </a:lnTo>
                <a:lnTo>
                  <a:pt x="342" y="474"/>
                </a:lnTo>
                <a:lnTo>
                  <a:pt x="331" y="483"/>
                </a:lnTo>
                <a:lnTo>
                  <a:pt x="318" y="491"/>
                </a:lnTo>
                <a:lnTo>
                  <a:pt x="306" y="499"/>
                </a:lnTo>
                <a:lnTo>
                  <a:pt x="293" y="507"/>
                </a:lnTo>
                <a:lnTo>
                  <a:pt x="281" y="516"/>
                </a:lnTo>
                <a:lnTo>
                  <a:pt x="269" y="525"/>
                </a:lnTo>
                <a:lnTo>
                  <a:pt x="258" y="534"/>
                </a:lnTo>
                <a:lnTo>
                  <a:pt x="248" y="544"/>
                </a:lnTo>
                <a:lnTo>
                  <a:pt x="243" y="549"/>
                </a:lnTo>
                <a:lnTo>
                  <a:pt x="239" y="555"/>
                </a:lnTo>
                <a:lnTo>
                  <a:pt x="236" y="561"/>
                </a:lnTo>
                <a:lnTo>
                  <a:pt x="232" y="568"/>
                </a:lnTo>
                <a:lnTo>
                  <a:pt x="230" y="575"/>
                </a:lnTo>
                <a:lnTo>
                  <a:pt x="229" y="582"/>
                </a:lnTo>
                <a:lnTo>
                  <a:pt x="228" y="590"/>
                </a:lnTo>
                <a:lnTo>
                  <a:pt x="227" y="598"/>
                </a:lnTo>
                <a:lnTo>
                  <a:pt x="228" y="604"/>
                </a:lnTo>
                <a:lnTo>
                  <a:pt x="231" y="611"/>
                </a:lnTo>
                <a:lnTo>
                  <a:pt x="237" y="619"/>
                </a:lnTo>
                <a:lnTo>
                  <a:pt x="242" y="629"/>
                </a:lnTo>
                <a:lnTo>
                  <a:pt x="249" y="637"/>
                </a:lnTo>
                <a:lnTo>
                  <a:pt x="255" y="645"/>
                </a:lnTo>
                <a:lnTo>
                  <a:pt x="262" y="650"/>
                </a:lnTo>
                <a:lnTo>
                  <a:pt x="267" y="654"/>
                </a:lnTo>
                <a:lnTo>
                  <a:pt x="262" y="663"/>
                </a:lnTo>
                <a:lnTo>
                  <a:pt x="258" y="671"/>
                </a:lnTo>
                <a:lnTo>
                  <a:pt x="255" y="680"/>
                </a:lnTo>
                <a:lnTo>
                  <a:pt x="254" y="685"/>
                </a:lnTo>
                <a:lnTo>
                  <a:pt x="254" y="694"/>
                </a:lnTo>
                <a:lnTo>
                  <a:pt x="256" y="701"/>
                </a:lnTo>
                <a:lnTo>
                  <a:pt x="258" y="709"/>
                </a:lnTo>
                <a:lnTo>
                  <a:pt x="261" y="715"/>
                </a:lnTo>
                <a:lnTo>
                  <a:pt x="263" y="722"/>
                </a:lnTo>
                <a:lnTo>
                  <a:pt x="265" y="729"/>
                </a:lnTo>
                <a:lnTo>
                  <a:pt x="266" y="738"/>
                </a:lnTo>
                <a:lnTo>
                  <a:pt x="267" y="747"/>
                </a:lnTo>
                <a:lnTo>
                  <a:pt x="267" y="766"/>
                </a:lnTo>
                <a:lnTo>
                  <a:pt x="267" y="780"/>
                </a:lnTo>
                <a:lnTo>
                  <a:pt x="267" y="790"/>
                </a:lnTo>
                <a:lnTo>
                  <a:pt x="267" y="796"/>
                </a:lnTo>
                <a:lnTo>
                  <a:pt x="266" y="799"/>
                </a:lnTo>
                <a:lnTo>
                  <a:pt x="264" y="803"/>
                </a:lnTo>
                <a:lnTo>
                  <a:pt x="261" y="808"/>
                </a:lnTo>
                <a:lnTo>
                  <a:pt x="256" y="814"/>
                </a:lnTo>
                <a:lnTo>
                  <a:pt x="244" y="827"/>
                </a:lnTo>
                <a:lnTo>
                  <a:pt x="230" y="841"/>
                </a:lnTo>
                <a:lnTo>
                  <a:pt x="215" y="856"/>
                </a:lnTo>
                <a:lnTo>
                  <a:pt x="200" y="868"/>
                </a:lnTo>
                <a:lnTo>
                  <a:pt x="193" y="873"/>
                </a:lnTo>
                <a:lnTo>
                  <a:pt x="186" y="877"/>
                </a:lnTo>
                <a:lnTo>
                  <a:pt x="180" y="880"/>
                </a:lnTo>
                <a:lnTo>
                  <a:pt x="174" y="882"/>
                </a:lnTo>
                <a:lnTo>
                  <a:pt x="161" y="885"/>
                </a:lnTo>
                <a:lnTo>
                  <a:pt x="147" y="887"/>
                </a:lnTo>
                <a:lnTo>
                  <a:pt x="132" y="889"/>
                </a:lnTo>
                <a:lnTo>
                  <a:pt x="118" y="890"/>
                </a:lnTo>
                <a:lnTo>
                  <a:pt x="113" y="891"/>
                </a:lnTo>
                <a:lnTo>
                  <a:pt x="106" y="892"/>
                </a:lnTo>
                <a:lnTo>
                  <a:pt x="102" y="894"/>
                </a:lnTo>
                <a:lnTo>
                  <a:pt x="96" y="896"/>
                </a:lnTo>
                <a:lnTo>
                  <a:pt x="93" y="900"/>
                </a:lnTo>
                <a:lnTo>
                  <a:pt x="91" y="904"/>
                </a:lnTo>
                <a:lnTo>
                  <a:pt x="88" y="908"/>
                </a:lnTo>
                <a:lnTo>
                  <a:pt x="87" y="913"/>
                </a:lnTo>
                <a:lnTo>
                  <a:pt x="88" y="920"/>
                </a:lnTo>
                <a:lnTo>
                  <a:pt x="90" y="925"/>
                </a:lnTo>
                <a:lnTo>
                  <a:pt x="91" y="931"/>
                </a:lnTo>
                <a:lnTo>
                  <a:pt x="93" y="935"/>
                </a:lnTo>
                <a:lnTo>
                  <a:pt x="95" y="939"/>
                </a:lnTo>
                <a:lnTo>
                  <a:pt x="99" y="941"/>
                </a:lnTo>
                <a:lnTo>
                  <a:pt x="103" y="943"/>
                </a:lnTo>
                <a:lnTo>
                  <a:pt x="108" y="943"/>
                </a:lnTo>
                <a:lnTo>
                  <a:pt x="94" y="993"/>
                </a:lnTo>
                <a:lnTo>
                  <a:pt x="91" y="992"/>
                </a:lnTo>
                <a:lnTo>
                  <a:pt x="82" y="990"/>
                </a:lnTo>
                <a:lnTo>
                  <a:pt x="75" y="988"/>
                </a:lnTo>
                <a:lnTo>
                  <a:pt x="74" y="987"/>
                </a:lnTo>
                <a:lnTo>
                  <a:pt x="74" y="820"/>
                </a:lnTo>
                <a:lnTo>
                  <a:pt x="74" y="810"/>
                </a:lnTo>
                <a:lnTo>
                  <a:pt x="73" y="801"/>
                </a:lnTo>
                <a:lnTo>
                  <a:pt x="71" y="793"/>
                </a:lnTo>
                <a:lnTo>
                  <a:pt x="70" y="785"/>
                </a:lnTo>
                <a:lnTo>
                  <a:pt x="64" y="774"/>
                </a:lnTo>
                <a:lnTo>
                  <a:pt x="58" y="765"/>
                </a:lnTo>
                <a:lnTo>
                  <a:pt x="52" y="755"/>
                </a:lnTo>
                <a:lnTo>
                  <a:pt x="47" y="744"/>
                </a:lnTo>
                <a:lnTo>
                  <a:pt x="45" y="738"/>
                </a:lnTo>
                <a:lnTo>
                  <a:pt x="42" y="729"/>
                </a:lnTo>
                <a:lnTo>
                  <a:pt x="41" y="720"/>
                </a:lnTo>
                <a:lnTo>
                  <a:pt x="41" y="709"/>
                </a:lnTo>
                <a:lnTo>
                  <a:pt x="51" y="704"/>
                </a:lnTo>
                <a:lnTo>
                  <a:pt x="72" y="690"/>
                </a:lnTo>
                <a:lnTo>
                  <a:pt x="95" y="675"/>
                </a:lnTo>
                <a:lnTo>
                  <a:pt x="108" y="666"/>
                </a:lnTo>
                <a:lnTo>
                  <a:pt x="107" y="653"/>
                </a:lnTo>
                <a:lnTo>
                  <a:pt x="106" y="636"/>
                </a:lnTo>
                <a:lnTo>
                  <a:pt x="106" y="627"/>
                </a:lnTo>
                <a:lnTo>
                  <a:pt x="108" y="617"/>
                </a:lnTo>
                <a:lnTo>
                  <a:pt x="109" y="614"/>
                </a:lnTo>
                <a:lnTo>
                  <a:pt x="110" y="610"/>
                </a:lnTo>
                <a:lnTo>
                  <a:pt x="113" y="607"/>
                </a:lnTo>
                <a:lnTo>
                  <a:pt x="115" y="604"/>
                </a:lnTo>
                <a:lnTo>
                  <a:pt x="129" y="591"/>
                </a:lnTo>
                <a:lnTo>
                  <a:pt x="149" y="571"/>
                </a:lnTo>
                <a:lnTo>
                  <a:pt x="159" y="558"/>
                </a:lnTo>
                <a:lnTo>
                  <a:pt x="166" y="546"/>
                </a:lnTo>
                <a:lnTo>
                  <a:pt x="170" y="539"/>
                </a:lnTo>
                <a:lnTo>
                  <a:pt x="172" y="532"/>
                </a:lnTo>
                <a:lnTo>
                  <a:pt x="174" y="526"/>
                </a:lnTo>
                <a:lnTo>
                  <a:pt x="174" y="519"/>
                </a:lnTo>
                <a:lnTo>
                  <a:pt x="174" y="498"/>
                </a:lnTo>
                <a:lnTo>
                  <a:pt x="172" y="479"/>
                </a:lnTo>
                <a:lnTo>
                  <a:pt x="170" y="460"/>
                </a:lnTo>
                <a:lnTo>
                  <a:pt x="168" y="441"/>
                </a:lnTo>
                <a:lnTo>
                  <a:pt x="165" y="423"/>
                </a:lnTo>
                <a:lnTo>
                  <a:pt x="163" y="404"/>
                </a:lnTo>
                <a:lnTo>
                  <a:pt x="161" y="384"/>
                </a:lnTo>
                <a:lnTo>
                  <a:pt x="161" y="364"/>
                </a:lnTo>
                <a:lnTo>
                  <a:pt x="152" y="364"/>
                </a:lnTo>
                <a:lnTo>
                  <a:pt x="142" y="363"/>
                </a:lnTo>
                <a:lnTo>
                  <a:pt x="132" y="361"/>
                </a:lnTo>
                <a:lnTo>
                  <a:pt x="122" y="358"/>
                </a:lnTo>
                <a:lnTo>
                  <a:pt x="102" y="350"/>
                </a:lnTo>
                <a:lnTo>
                  <a:pt x="81" y="341"/>
                </a:lnTo>
                <a:lnTo>
                  <a:pt x="42" y="323"/>
                </a:lnTo>
                <a:lnTo>
                  <a:pt x="15" y="30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00" name="Freeform 252"/>
          <p:cNvSpPr>
            <a:spLocks/>
          </p:cNvSpPr>
          <p:nvPr>
            <p:custDataLst>
              <p:tags r:id="rId179"/>
            </p:custDataLst>
          </p:nvPr>
        </p:nvSpPr>
        <p:spPr bwMode="auto">
          <a:xfrm>
            <a:off x="6018214" y="4235450"/>
            <a:ext cx="238125" cy="287338"/>
          </a:xfrm>
          <a:custGeom>
            <a:avLst/>
            <a:gdLst>
              <a:gd name="T0" fmla="*/ 30 w 545"/>
              <a:gd name="T1" fmla="*/ 428 h 549"/>
              <a:gd name="T2" fmla="*/ 46 w 545"/>
              <a:gd name="T3" fmla="*/ 454 h 549"/>
              <a:gd name="T4" fmla="*/ 46 w 545"/>
              <a:gd name="T5" fmla="*/ 512 h 549"/>
              <a:gd name="T6" fmla="*/ 48 w 545"/>
              <a:gd name="T7" fmla="*/ 527 h 549"/>
              <a:gd name="T8" fmla="*/ 55 w 545"/>
              <a:gd name="T9" fmla="*/ 537 h 549"/>
              <a:gd name="T10" fmla="*/ 68 w 545"/>
              <a:gd name="T11" fmla="*/ 545 h 549"/>
              <a:gd name="T12" fmla="*/ 100 w 545"/>
              <a:gd name="T13" fmla="*/ 549 h 549"/>
              <a:gd name="T14" fmla="*/ 113 w 545"/>
              <a:gd name="T15" fmla="*/ 546 h 549"/>
              <a:gd name="T16" fmla="*/ 130 w 545"/>
              <a:gd name="T17" fmla="*/ 533 h 549"/>
              <a:gd name="T18" fmla="*/ 143 w 545"/>
              <a:gd name="T19" fmla="*/ 507 h 549"/>
              <a:gd name="T20" fmla="*/ 154 w 545"/>
              <a:gd name="T21" fmla="*/ 477 h 549"/>
              <a:gd name="T22" fmla="*/ 169 w 545"/>
              <a:gd name="T23" fmla="*/ 454 h 549"/>
              <a:gd name="T24" fmla="*/ 183 w 545"/>
              <a:gd name="T25" fmla="*/ 445 h 549"/>
              <a:gd name="T26" fmla="*/ 201 w 545"/>
              <a:gd name="T27" fmla="*/ 444 h 549"/>
              <a:gd name="T28" fmla="*/ 222 w 545"/>
              <a:gd name="T29" fmla="*/ 448 h 549"/>
              <a:gd name="T30" fmla="*/ 252 w 545"/>
              <a:gd name="T31" fmla="*/ 461 h 549"/>
              <a:gd name="T32" fmla="*/ 272 w 545"/>
              <a:gd name="T33" fmla="*/ 468 h 549"/>
              <a:gd name="T34" fmla="*/ 297 w 545"/>
              <a:gd name="T35" fmla="*/ 469 h 549"/>
              <a:gd name="T36" fmla="*/ 319 w 545"/>
              <a:gd name="T37" fmla="*/ 464 h 549"/>
              <a:gd name="T38" fmla="*/ 332 w 545"/>
              <a:gd name="T39" fmla="*/ 453 h 549"/>
              <a:gd name="T40" fmla="*/ 359 w 545"/>
              <a:gd name="T41" fmla="*/ 388 h 549"/>
              <a:gd name="T42" fmla="*/ 382 w 545"/>
              <a:gd name="T43" fmla="*/ 363 h 549"/>
              <a:gd name="T44" fmla="*/ 447 w 545"/>
              <a:gd name="T45" fmla="*/ 314 h 549"/>
              <a:gd name="T46" fmla="*/ 527 w 545"/>
              <a:gd name="T47" fmla="*/ 264 h 549"/>
              <a:gd name="T48" fmla="*/ 528 w 545"/>
              <a:gd name="T49" fmla="*/ 232 h 549"/>
              <a:gd name="T50" fmla="*/ 503 w 545"/>
              <a:gd name="T51" fmla="*/ 218 h 549"/>
              <a:gd name="T52" fmla="*/ 485 w 545"/>
              <a:gd name="T53" fmla="*/ 199 h 549"/>
              <a:gd name="T54" fmla="*/ 460 w 545"/>
              <a:gd name="T55" fmla="*/ 157 h 549"/>
              <a:gd name="T56" fmla="*/ 440 w 545"/>
              <a:gd name="T57" fmla="*/ 132 h 549"/>
              <a:gd name="T58" fmla="*/ 377 w 545"/>
              <a:gd name="T59" fmla="*/ 76 h 549"/>
              <a:gd name="T60" fmla="*/ 359 w 545"/>
              <a:gd name="T61" fmla="*/ 53 h 549"/>
              <a:gd name="T62" fmla="*/ 348 w 545"/>
              <a:gd name="T63" fmla="*/ 24 h 549"/>
              <a:gd name="T64" fmla="*/ 319 w 545"/>
              <a:gd name="T65" fmla="*/ 0 h 549"/>
              <a:gd name="T66" fmla="*/ 244 w 545"/>
              <a:gd name="T67" fmla="*/ 2 h 549"/>
              <a:gd name="T68" fmla="*/ 176 w 545"/>
              <a:gd name="T69" fmla="*/ 13 h 549"/>
              <a:gd name="T70" fmla="*/ 95 w 545"/>
              <a:gd name="T71" fmla="*/ 22 h 549"/>
              <a:gd name="T72" fmla="*/ 71 w 545"/>
              <a:gd name="T73" fmla="*/ 27 h 549"/>
              <a:gd name="T74" fmla="*/ 67 w 545"/>
              <a:gd name="T75" fmla="*/ 38 h 549"/>
              <a:gd name="T76" fmla="*/ 73 w 545"/>
              <a:gd name="T77" fmla="*/ 56 h 549"/>
              <a:gd name="T78" fmla="*/ 84 w 545"/>
              <a:gd name="T79" fmla="*/ 74 h 549"/>
              <a:gd name="T80" fmla="*/ 86 w 545"/>
              <a:gd name="T81" fmla="*/ 107 h 549"/>
              <a:gd name="T82" fmla="*/ 74 w 545"/>
              <a:gd name="T83" fmla="*/ 171 h 549"/>
              <a:gd name="T84" fmla="*/ 62 w 545"/>
              <a:gd name="T85" fmla="*/ 237 h 549"/>
              <a:gd name="T86" fmla="*/ 47 w 545"/>
              <a:gd name="T87" fmla="*/ 263 h 549"/>
              <a:gd name="T88" fmla="*/ 26 w 545"/>
              <a:gd name="T89" fmla="*/ 277 h 549"/>
              <a:gd name="T90" fmla="*/ 5 w 545"/>
              <a:gd name="T91" fmla="*/ 307 h 549"/>
              <a:gd name="T92" fmla="*/ 1 w 545"/>
              <a:gd name="T93" fmla="*/ 339 h 549"/>
              <a:gd name="T94" fmla="*/ 8 w 545"/>
              <a:gd name="T95" fmla="*/ 367 h 549"/>
              <a:gd name="T96" fmla="*/ 8 w 545"/>
              <a:gd name="T97" fmla="*/ 391 h 549"/>
              <a:gd name="T98" fmla="*/ 0 w 545"/>
              <a:gd name="T99" fmla="*/ 408 h 5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545" h="549">
                <a:moveTo>
                  <a:pt x="13" y="420"/>
                </a:moveTo>
                <a:lnTo>
                  <a:pt x="21" y="424"/>
                </a:lnTo>
                <a:lnTo>
                  <a:pt x="30" y="428"/>
                </a:lnTo>
                <a:lnTo>
                  <a:pt x="40" y="431"/>
                </a:lnTo>
                <a:lnTo>
                  <a:pt x="46" y="432"/>
                </a:lnTo>
                <a:lnTo>
                  <a:pt x="46" y="454"/>
                </a:lnTo>
                <a:lnTo>
                  <a:pt x="46" y="472"/>
                </a:lnTo>
                <a:lnTo>
                  <a:pt x="46" y="491"/>
                </a:lnTo>
                <a:lnTo>
                  <a:pt x="46" y="512"/>
                </a:lnTo>
                <a:lnTo>
                  <a:pt x="47" y="518"/>
                </a:lnTo>
                <a:lnTo>
                  <a:pt x="47" y="523"/>
                </a:lnTo>
                <a:lnTo>
                  <a:pt x="48" y="527"/>
                </a:lnTo>
                <a:lnTo>
                  <a:pt x="51" y="531"/>
                </a:lnTo>
                <a:lnTo>
                  <a:pt x="53" y="534"/>
                </a:lnTo>
                <a:lnTo>
                  <a:pt x="55" y="537"/>
                </a:lnTo>
                <a:lnTo>
                  <a:pt x="57" y="540"/>
                </a:lnTo>
                <a:lnTo>
                  <a:pt x="61" y="542"/>
                </a:lnTo>
                <a:lnTo>
                  <a:pt x="68" y="545"/>
                </a:lnTo>
                <a:lnTo>
                  <a:pt x="77" y="547"/>
                </a:lnTo>
                <a:lnTo>
                  <a:pt x="88" y="548"/>
                </a:lnTo>
                <a:lnTo>
                  <a:pt x="100" y="549"/>
                </a:lnTo>
                <a:lnTo>
                  <a:pt x="104" y="548"/>
                </a:lnTo>
                <a:lnTo>
                  <a:pt x="109" y="548"/>
                </a:lnTo>
                <a:lnTo>
                  <a:pt x="113" y="546"/>
                </a:lnTo>
                <a:lnTo>
                  <a:pt x="117" y="544"/>
                </a:lnTo>
                <a:lnTo>
                  <a:pt x="123" y="539"/>
                </a:lnTo>
                <a:lnTo>
                  <a:pt x="130" y="533"/>
                </a:lnTo>
                <a:lnTo>
                  <a:pt x="134" y="525"/>
                </a:lnTo>
                <a:lnTo>
                  <a:pt x="138" y="516"/>
                </a:lnTo>
                <a:lnTo>
                  <a:pt x="143" y="507"/>
                </a:lnTo>
                <a:lnTo>
                  <a:pt x="146" y="496"/>
                </a:lnTo>
                <a:lnTo>
                  <a:pt x="151" y="487"/>
                </a:lnTo>
                <a:lnTo>
                  <a:pt x="154" y="477"/>
                </a:lnTo>
                <a:lnTo>
                  <a:pt x="158" y="469"/>
                </a:lnTo>
                <a:lnTo>
                  <a:pt x="164" y="461"/>
                </a:lnTo>
                <a:lnTo>
                  <a:pt x="169" y="454"/>
                </a:lnTo>
                <a:lnTo>
                  <a:pt x="176" y="448"/>
                </a:lnTo>
                <a:lnTo>
                  <a:pt x="179" y="446"/>
                </a:lnTo>
                <a:lnTo>
                  <a:pt x="183" y="445"/>
                </a:lnTo>
                <a:lnTo>
                  <a:pt x="188" y="444"/>
                </a:lnTo>
                <a:lnTo>
                  <a:pt x="193" y="444"/>
                </a:lnTo>
                <a:lnTo>
                  <a:pt x="201" y="444"/>
                </a:lnTo>
                <a:lnTo>
                  <a:pt x="209" y="445"/>
                </a:lnTo>
                <a:lnTo>
                  <a:pt x="215" y="446"/>
                </a:lnTo>
                <a:lnTo>
                  <a:pt x="222" y="448"/>
                </a:lnTo>
                <a:lnTo>
                  <a:pt x="232" y="453"/>
                </a:lnTo>
                <a:lnTo>
                  <a:pt x="242" y="457"/>
                </a:lnTo>
                <a:lnTo>
                  <a:pt x="252" y="461"/>
                </a:lnTo>
                <a:lnTo>
                  <a:pt x="261" y="465"/>
                </a:lnTo>
                <a:lnTo>
                  <a:pt x="267" y="467"/>
                </a:lnTo>
                <a:lnTo>
                  <a:pt x="272" y="468"/>
                </a:lnTo>
                <a:lnTo>
                  <a:pt x="279" y="469"/>
                </a:lnTo>
                <a:lnTo>
                  <a:pt x="286" y="469"/>
                </a:lnTo>
                <a:lnTo>
                  <a:pt x="297" y="469"/>
                </a:lnTo>
                <a:lnTo>
                  <a:pt x="305" y="468"/>
                </a:lnTo>
                <a:lnTo>
                  <a:pt x="313" y="466"/>
                </a:lnTo>
                <a:lnTo>
                  <a:pt x="319" y="464"/>
                </a:lnTo>
                <a:lnTo>
                  <a:pt x="324" y="461"/>
                </a:lnTo>
                <a:lnTo>
                  <a:pt x="328" y="457"/>
                </a:lnTo>
                <a:lnTo>
                  <a:pt x="332" y="453"/>
                </a:lnTo>
                <a:lnTo>
                  <a:pt x="335" y="447"/>
                </a:lnTo>
                <a:lnTo>
                  <a:pt x="345" y="422"/>
                </a:lnTo>
                <a:lnTo>
                  <a:pt x="359" y="388"/>
                </a:lnTo>
                <a:lnTo>
                  <a:pt x="365" y="380"/>
                </a:lnTo>
                <a:lnTo>
                  <a:pt x="373" y="372"/>
                </a:lnTo>
                <a:lnTo>
                  <a:pt x="382" y="363"/>
                </a:lnTo>
                <a:lnTo>
                  <a:pt x="393" y="353"/>
                </a:lnTo>
                <a:lnTo>
                  <a:pt x="418" y="333"/>
                </a:lnTo>
                <a:lnTo>
                  <a:pt x="447" y="314"/>
                </a:lnTo>
                <a:lnTo>
                  <a:pt x="476" y="296"/>
                </a:lnTo>
                <a:lnTo>
                  <a:pt x="503" y="278"/>
                </a:lnTo>
                <a:lnTo>
                  <a:pt x="527" y="264"/>
                </a:lnTo>
                <a:lnTo>
                  <a:pt x="545" y="253"/>
                </a:lnTo>
                <a:lnTo>
                  <a:pt x="538" y="235"/>
                </a:lnTo>
                <a:lnTo>
                  <a:pt x="528" y="232"/>
                </a:lnTo>
                <a:lnTo>
                  <a:pt x="518" y="229"/>
                </a:lnTo>
                <a:lnTo>
                  <a:pt x="511" y="223"/>
                </a:lnTo>
                <a:lnTo>
                  <a:pt x="503" y="218"/>
                </a:lnTo>
                <a:lnTo>
                  <a:pt x="496" y="212"/>
                </a:lnTo>
                <a:lnTo>
                  <a:pt x="491" y="206"/>
                </a:lnTo>
                <a:lnTo>
                  <a:pt x="485" y="199"/>
                </a:lnTo>
                <a:lnTo>
                  <a:pt x="480" y="191"/>
                </a:lnTo>
                <a:lnTo>
                  <a:pt x="470" y="175"/>
                </a:lnTo>
                <a:lnTo>
                  <a:pt x="460" y="157"/>
                </a:lnTo>
                <a:lnTo>
                  <a:pt x="454" y="149"/>
                </a:lnTo>
                <a:lnTo>
                  <a:pt x="447" y="141"/>
                </a:lnTo>
                <a:lnTo>
                  <a:pt x="440" y="132"/>
                </a:lnTo>
                <a:lnTo>
                  <a:pt x="432" y="124"/>
                </a:lnTo>
                <a:lnTo>
                  <a:pt x="404" y="101"/>
                </a:lnTo>
                <a:lnTo>
                  <a:pt x="377" y="76"/>
                </a:lnTo>
                <a:lnTo>
                  <a:pt x="370" y="69"/>
                </a:lnTo>
                <a:lnTo>
                  <a:pt x="365" y="62"/>
                </a:lnTo>
                <a:lnTo>
                  <a:pt x="359" y="53"/>
                </a:lnTo>
                <a:lnTo>
                  <a:pt x="355" y="44"/>
                </a:lnTo>
                <a:lnTo>
                  <a:pt x="350" y="35"/>
                </a:lnTo>
                <a:lnTo>
                  <a:pt x="348" y="24"/>
                </a:lnTo>
                <a:lnTo>
                  <a:pt x="346" y="13"/>
                </a:lnTo>
                <a:lnTo>
                  <a:pt x="346" y="0"/>
                </a:lnTo>
                <a:lnTo>
                  <a:pt x="319" y="0"/>
                </a:lnTo>
                <a:lnTo>
                  <a:pt x="293" y="0"/>
                </a:lnTo>
                <a:lnTo>
                  <a:pt x="268" y="1"/>
                </a:lnTo>
                <a:lnTo>
                  <a:pt x="244" y="2"/>
                </a:lnTo>
                <a:lnTo>
                  <a:pt x="221" y="6"/>
                </a:lnTo>
                <a:lnTo>
                  <a:pt x="198" y="9"/>
                </a:lnTo>
                <a:lnTo>
                  <a:pt x="176" y="13"/>
                </a:lnTo>
                <a:lnTo>
                  <a:pt x="153" y="19"/>
                </a:lnTo>
                <a:lnTo>
                  <a:pt x="123" y="21"/>
                </a:lnTo>
                <a:lnTo>
                  <a:pt x="95" y="22"/>
                </a:lnTo>
                <a:lnTo>
                  <a:pt x="84" y="23"/>
                </a:lnTo>
                <a:lnTo>
                  <a:pt x="75" y="25"/>
                </a:lnTo>
                <a:lnTo>
                  <a:pt x="71" y="27"/>
                </a:lnTo>
                <a:lnTo>
                  <a:pt x="68" y="30"/>
                </a:lnTo>
                <a:lnTo>
                  <a:pt x="67" y="33"/>
                </a:lnTo>
                <a:lnTo>
                  <a:pt x="67" y="38"/>
                </a:lnTo>
                <a:lnTo>
                  <a:pt x="67" y="44"/>
                </a:lnTo>
                <a:lnTo>
                  <a:pt x="69" y="50"/>
                </a:lnTo>
                <a:lnTo>
                  <a:pt x="73" y="56"/>
                </a:lnTo>
                <a:lnTo>
                  <a:pt x="77" y="63"/>
                </a:lnTo>
                <a:lnTo>
                  <a:pt x="80" y="68"/>
                </a:lnTo>
                <a:lnTo>
                  <a:pt x="84" y="74"/>
                </a:lnTo>
                <a:lnTo>
                  <a:pt x="86" y="80"/>
                </a:lnTo>
                <a:lnTo>
                  <a:pt x="87" y="87"/>
                </a:lnTo>
                <a:lnTo>
                  <a:pt x="86" y="107"/>
                </a:lnTo>
                <a:lnTo>
                  <a:pt x="82" y="129"/>
                </a:lnTo>
                <a:lnTo>
                  <a:pt x="78" y="150"/>
                </a:lnTo>
                <a:lnTo>
                  <a:pt x="74" y="171"/>
                </a:lnTo>
                <a:lnTo>
                  <a:pt x="68" y="193"/>
                </a:lnTo>
                <a:lnTo>
                  <a:pt x="64" y="214"/>
                </a:lnTo>
                <a:lnTo>
                  <a:pt x="62" y="237"/>
                </a:lnTo>
                <a:lnTo>
                  <a:pt x="61" y="259"/>
                </a:lnTo>
                <a:lnTo>
                  <a:pt x="54" y="261"/>
                </a:lnTo>
                <a:lnTo>
                  <a:pt x="47" y="263"/>
                </a:lnTo>
                <a:lnTo>
                  <a:pt x="42" y="266"/>
                </a:lnTo>
                <a:lnTo>
                  <a:pt x="36" y="269"/>
                </a:lnTo>
                <a:lnTo>
                  <a:pt x="26" y="277"/>
                </a:lnTo>
                <a:lnTo>
                  <a:pt x="18" y="287"/>
                </a:lnTo>
                <a:lnTo>
                  <a:pt x="10" y="297"/>
                </a:lnTo>
                <a:lnTo>
                  <a:pt x="5" y="307"/>
                </a:lnTo>
                <a:lnTo>
                  <a:pt x="1" y="317"/>
                </a:lnTo>
                <a:lnTo>
                  <a:pt x="0" y="327"/>
                </a:lnTo>
                <a:lnTo>
                  <a:pt x="1" y="339"/>
                </a:lnTo>
                <a:lnTo>
                  <a:pt x="3" y="349"/>
                </a:lnTo>
                <a:lnTo>
                  <a:pt x="6" y="358"/>
                </a:lnTo>
                <a:lnTo>
                  <a:pt x="8" y="367"/>
                </a:lnTo>
                <a:lnTo>
                  <a:pt x="9" y="376"/>
                </a:lnTo>
                <a:lnTo>
                  <a:pt x="9" y="386"/>
                </a:lnTo>
                <a:lnTo>
                  <a:pt x="8" y="391"/>
                </a:lnTo>
                <a:lnTo>
                  <a:pt x="6" y="397"/>
                </a:lnTo>
                <a:lnTo>
                  <a:pt x="3" y="402"/>
                </a:lnTo>
                <a:lnTo>
                  <a:pt x="0" y="408"/>
                </a:lnTo>
                <a:lnTo>
                  <a:pt x="13" y="42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01" name="Freeform 253"/>
          <p:cNvSpPr>
            <a:spLocks/>
          </p:cNvSpPr>
          <p:nvPr>
            <p:custDataLst>
              <p:tags r:id="rId180"/>
            </p:custDataLst>
          </p:nvPr>
        </p:nvSpPr>
        <p:spPr bwMode="auto">
          <a:xfrm>
            <a:off x="6591300" y="4037014"/>
            <a:ext cx="196850" cy="434975"/>
          </a:xfrm>
          <a:custGeom>
            <a:avLst/>
            <a:gdLst>
              <a:gd name="T0" fmla="*/ 112 w 452"/>
              <a:gd name="T1" fmla="*/ 261 h 832"/>
              <a:gd name="T2" fmla="*/ 138 w 452"/>
              <a:gd name="T3" fmla="*/ 248 h 832"/>
              <a:gd name="T4" fmla="*/ 165 w 452"/>
              <a:gd name="T5" fmla="*/ 240 h 832"/>
              <a:gd name="T6" fmla="*/ 192 w 452"/>
              <a:gd name="T7" fmla="*/ 232 h 832"/>
              <a:gd name="T8" fmla="*/ 215 w 452"/>
              <a:gd name="T9" fmla="*/ 217 h 832"/>
              <a:gd name="T10" fmla="*/ 232 w 452"/>
              <a:gd name="T11" fmla="*/ 200 h 832"/>
              <a:gd name="T12" fmla="*/ 232 w 452"/>
              <a:gd name="T13" fmla="*/ 179 h 832"/>
              <a:gd name="T14" fmla="*/ 265 w 452"/>
              <a:gd name="T15" fmla="*/ 178 h 832"/>
              <a:gd name="T16" fmla="*/ 282 w 452"/>
              <a:gd name="T17" fmla="*/ 173 h 832"/>
              <a:gd name="T18" fmla="*/ 298 w 452"/>
              <a:gd name="T19" fmla="*/ 162 h 832"/>
              <a:gd name="T20" fmla="*/ 320 w 452"/>
              <a:gd name="T21" fmla="*/ 133 h 832"/>
              <a:gd name="T22" fmla="*/ 350 w 452"/>
              <a:gd name="T23" fmla="*/ 75 h 832"/>
              <a:gd name="T24" fmla="*/ 378 w 452"/>
              <a:gd name="T25" fmla="*/ 0 h 832"/>
              <a:gd name="T26" fmla="*/ 385 w 452"/>
              <a:gd name="T27" fmla="*/ 19 h 832"/>
              <a:gd name="T28" fmla="*/ 407 w 452"/>
              <a:gd name="T29" fmla="*/ 47 h 832"/>
              <a:gd name="T30" fmla="*/ 448 w 452"/>
              <a:gd name="T31" fmla="*/ 85 h 832"/>
              <a:gd name="T32" fmla="*/ 440 w 452"/>
              <a:gd name="T33" fmla="*/ 103 h 832"/>
              <a:gd name="T34" fmla="*/ 444 w 452"/>
              <a:gd name="T35" fmla="*/ 138 h 832"/>
              <a:gd name="T36" fmla="*/ 452 w 452"/>
              <a:gd name="T37" fmla="*/ 185 h 832"/>
              <a:gd name="T38" fmla="*/ 448 w 452"/>
              <a:gd name="T39" fmla="*/ 206 h 832"/>
              <a:gd name="T40" fmla="*/ 428 w 452"/>
              <a:gd name="T41" fmla="*/ 234 h 832"/>
              <a:gd name="T42" fmla="*/ 409 w 452"/>
              <a:gd name="T43" fmla="*/ 261 h 832"/>
              <a:gd name="T44" fmla="*/ 405 w 452"/>
              <a:gd name="T45" fmla="*/ 283 h 832"/>
              <a:gd name="T46" fmla="*/ 393 w 452"/>
              <a:gd name="T47" fmla="*/ 308 h 832"/>
              <a:gd name="T48" fmla="*/ 383 w 452"/>
              <a:gd name="T49" fmla="*/ 318 h 832"/>
              <a:gd name="T50" fmla="*/ 377 w 452"/>
              <a:gd name="T51" fmla="*/ 332 h 832"/>
              <a:gd name="T52" fmla="*/ 368 w 452"/>
              <a:gd name="T53" fmla="*/ 364 h 832"/>
              <a:gd name="T54" fmla="*/ 338 w 452"/>
              <a:gd name="T55" fmla="*/ 427 h 832"/>
              <a:gd name="T56" fmla="*/ 321 w 452"/>
              <a:gd name="T57" fmla="*/ 470 h 832"/>
              <a:gd name="T58" fmla="*/ 318 w 452"/>
              <a:gd name="T59" fmla="*/ 500 h 832"/>
              <a:gd name="T60" fmla="*/ 310 w 452"/>
              <a:gd name="T61" fmla="*/ 531 h 832"/>
              <a:gd name="T62" fmla="*/ 281 w 452"/>
              <a:gd name="T63" fmla="*/ 602 h 832"/>
              <a:gd name="T64" fmla="*/ 260 w 452"/>
              <a:gd name="T65" fmla="*/ 637 h 832"/>
              <a:gd name="T66" fmla="*/ 242 w 452"/>
              <a:gd name="T67" fmla="*/ 655 h 832"/>
              <a:gd name="T68" fmla="*/ 232 w 452"/>
              <a:gd name="T69" fmla="*/ 660 h 832"/>
              <a:gd name="T70" fmla="*/ 228 w 452"/>
              <a:gd name="T71" fmla="*/ 714 h 832"/>
              <a:gd name="T72" fmla="*/ 215 w 452"/>
              <a:gd name="T73" fmla="*/ 759 h 832"/>
              <a:gd name="T74" fmla="*/ 191 w 452"/>
              <a:gd name="T75" fmla="*/ 795 h 832"/>
              <a:gd name="T76" fmla="*/ 157 w 452"/>
              <a:gd name="T77" fmla="*/ 819 h 832"/>
              <a:gd name="T78" fmla="*/ 110 w 452"/>
              <a:gd name="T79" fmla="*/ 831 h 832"/>
              <a:gd name="T80" fmla="*/ 80 w 452"/>
              <a:gd name="T81" fmla="*/ 827 h 832"/>
              <a:gd name="T82" fmla="*/ 73 w 452"/>
              <a:gd name="T83" fmla="*/ 817 h 832"/>
              <a:gd name="T84" fmla="*/ 50 w 452"/>
              <a:gd name="T85" fmla="*/ 810 h 832"/>
              <a:gd name="T86" fmla="*/ 26 w 452"/>
              <a:gd name="T87" fmla="*/ 798 h 832"/>
              <a:gd name="T88" fmla="*/ 12 w 452"/>
              <a:gd name="T89" fmla="*/ 777 h 832"/>
              <a:gd name="T90" fmla="*/ 3 w 452"/>
              <a:gd name="T91" fmla="*/ 752 h 832"/>
              <a:gd name="T92" fmla="*/ 0 w 452"/>
              <a:gd name="T93" fmla="*/ 708 h 832"/>
              <a:gd name="T94" fmla="*/ 4 w 452"/>
              <a:gd name="T95" fmla="*/ 694 h 832"/>
              <a:gd name="T96" fmla="*/ 19 w 452"/>
              <a:gd name="T97" fmla="*/ 678 h 832"/>
              <a:gd name="T98" fmla="*/ 11 w 452"/>
              <a:gd name="T99" fmla="*/ 672 h 832"/>
              <a:gd name="T100" fmla="*/ 0 w 452"/>
              <a:gd name="T101" fmla="*/ 652 h 832"/>
              <a:gd name="T102" fmla="*/ 5 w 452"/>
              <a:gd name="T103" fmla="*/ 628 h 832"/>
              <a:gd name="T104" fmla="*/ 8 w 452"/>
              <a:gd name="T105" fmla="*/ 610 h 832"/>
              <a:gd name="T106" fmla="*/ 5 w 452"/>
              <a:gd name="T107" fmla="*/ 591 h 832"/>
              <a:gd name="T108" fmla="*/ 18 w 452"/>
              <a:gd name="T109" fmla="*/ 587 h 832"/>
              <a:gd name="T110" fmla="*/ 43 w 452"/>
              <a:gd name="T111" fmla="*/ 568 h 832"/>
              <a:gd name="T112" fmla="*/ 63 w 452"/>
              <a:gd name="T113" fmla="*/ 538 h 832"/>
              <a:gd name="T114" fmla="*/ 76 w 452"/>
              <a:gd name="T115" fmla="*/ 506 h 832"/>
              <a:gd name="T116" fmla="*/ 86 w 452"/>
              <a:gd name="T117" fmla="*/ 462 h 832"/>
              <a:gd name="T118" fmla="*/ 83 w 452"/>
              <a:gd name="T119" fmla="*/ 438 h 832"/>
              <a:gd name="T120" fmla="*/ 70 w 452"/>
              <a:gd name="T121" fmla="*/ 408 h 832"/>
              <a:gd name="T122" fmla="*/ 56 w 452"/>
              <a:gd name="T123" fmla="*/ 382 h 832"/>
              <a:gd name="T124" fmla="*/ 53 w 452"/>
              <a:gd name="T125" fmla="*/ 363 h 8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52" h="832">
                <a:moveTo>
                  <a:pt x="93" y="264"/>
                </a:moveTo>
                <a:lnTo>
                  <a:pt x="103" y="263"/>
                </a:lnTo>
                <a:lnTo>
                  <a:pt x="112" y="261"/>
                </a:lnTo>
                <a:lnTo>
                  <a:pt x="120" y="257"/>
                </a:lnTo>
                <a:lnTo>
                  <a:pt x="129" y="252"/>
                </a:lnTo>
                <a:lnTo>
                  <a:pt x="138" y="248"/>
                </a:lnTo>
                <a:lnTo>
                  <a:pt x="147" y="244"/>
                </a:lnTo>
                <a:lnTo>
                  <a:pt x="157" y="241"/>
                </a:lnTo>
                <a:lnTo>
                  <a:pt x="165" y="240"/>
                </a:lnTo>
                <a:lnTo>
                  <a:pt x="175" y="239"/>
                </a:lnTo>
                <a:lnTo>
                  <a:pt x="184" y="236"/>
                </a:lnTo>
                <a:lnTo>
                  <a:pt x="192" y="232"/>
                </a:lnTo>
                <a:lnTo>
                  <a:pt x="199" y="227"/>
                </a:lnTo>
                <a:lnTo>
                  <a:pt x="206" y="222"/>
                </a:lnTo>
                <a:lnTo>
                  <a:pt x="215" y="217"/>
                </a:lnTo>
                <a:lnTo>
                  <a:pt x="222" y="213"/>
                </a:lnTo>
                <a:lnTo>
                  <a:pt x="232" y="209"/>
                </a:lnTo>
                <a:lnTo>
                  <a:pt x="232" y="200"/>
                </a:lnTo>
                <a:lnTo>
                  <a:pt x="232" y="191"/>
                </a:lnTo>
                <a:lnTo>
                  <a:pt x="232" y="184"/>
                </a:lnTo>
                <a:lnTo>
                  <a:pt x="232" y="179"/>
                </a:lnTo>
                <a:lnTo>
                  <a:pt x="248" y="179"/>
                </a:lnTo>
                <a:lnTo>
                  <a:pt x="259" y="179"/>
                </a:lnTo>
                <a:lnTo>
                  <a:pt x="265" y="178"/>
                </a:lnTo>
                <a:lnTo>
                  <a:pt x="271" y="177"/>
                </a:lnTo>
                <a:lnTo>
                  <a:pt x="276" y="175"/>
                </a:lnTo>
                <a:lnTo>
                  <a:pt x="282" y="173"/>
                </a:lnTo>
                <a:lnTo>
                  <a:pt x="287" y="170"/>
                </a:lnTo>
                <a:lnTo>
                  <a:pt x="293" y="166"/>
                </a:lnTo>
                <a:lnTo>
                  <a:pt x="298" y="162"/>
                </a:lnTo>
                <a:lnTo>
                  <a:pt x="303" y="157"/>
                </a:lnTo>
                <a:lnTo>
                  <a:pt x="311" y="145"/>
                </a:lnTo>
                <a:lnTo>
                  <a:pt x="320" y="133"/>
                </a:lnTo>
                <a:lnTo>
                  <a:pt x="329" y="120"/>
                </a:lnTo>
                <a:lnTo>
                  <a:pt x="336" y="106"/>
                </a:lnTo>
                <a:lnTo>
                  <a:pt x="350" y="75"/>
                </a:lnTo>
                <a:lnTo>
                  <a:pt x="361" y="46"/>
                </a:lnTo>
                <a:lnTo>
                  <a:pt x="371" y="20"/>
                </a:lnTo>
                <a:lnTo>
                  <a:pt x="378" y="0"/>
                </a:lnTo>
                <a:lnTo>
                  <a:pt x="379" y="7"/>
                </a:lnTo>
                <a:lnTo>
                  <a:pt x="383" y="13"/>
                </a:lnTo>
                <a:lnTo>
                  <a:pt x="385" y="19"/>
                </a:lnTo>
                <a:lnTo>
                  <a:pt x="389" y="25"/>
                </a:lnTo>
                <a:lnTo>
                  <a:pt x="397" y="36"/>
                </a:lnTo>
                <a:lnTo>
                  <a:pt x="407" y="47"/>
                </a:lnTo>
                <a:lnTo>
                  <a:pt x="430" y="65"/>
                </a:lnTo>
                <a:lnTo>
                  <a:pt x="452" y="80"/>
                </a:lnTo>
                <a:lnTo>
                  <a:pt x="448" y="85"/>
                </a:lnTo>
                <a:lnTo>
                  <a:pt x="444" y="91"/>
                </a:lnTo>
                <a:lnTo>
                  <a:pt x="442" y="96"/>
                </a:lnTo>
                <a:lnTo>
                  <a:pt x="440" y="103"/>
                </a:lnTo>
                <a:lnTo>
                  <a:pt x="440" y="114"/>
                </a:lnTo>
                <a:lnTo>
                  <a:pt x="442" y="125"/>
                </a:lnTo>
                <a:lnTo>
                  <a:pt x="444" y="138"/>
                </a:lnTo>
                <a:lnTo>
                  <a:pt x="448" y="151"/>
                </a:lnTo>
                <a:lnTo>
                  <a:pt x="451" y="168"/>
                </a:lnTo>
                <a:lnTo>
                  <a:pt x="452" y="185"/>
                </a:lnTo>
                <a:lnTo>
                  <a:pt x="451" y="192"/>
                </a:lnTo>
                <a:lnTo>
                  <a:pt x="450" y="199"/>
                </a:lnTo>
                <a:lnTo>
                  <a:pt x="448" y="206"/>
                </a:lnTo>
                <a:lnTo>
                  <a:pt x="444" y="213"/>
                </a:lnTo>
                <a:lnTo>
                  <a:pt x="437" y="224"/>
                </a:lnTo>
                <a:lnTo>
                  <a:pt x="428" y="234"/>
                </a:lnTo>
                <a:lnTo>
                  <a:pt x="420" y="244"/>
                </a:lnTo>
                <a:lnTo>
                  <a:pt x="412" y="255"/>
                </a:lnTo>
                <a:lnTo>
                  <a:pt x="409" y="261"/>
                </a:lnTo>
                <a:lnTo>
                  <a:pt x="407" y="269"/>
                </a:lnTo>
                <a:lnTo>
                  <a:pt x="406" y="276"/>
                </a:lnTo>
                <a:lnTo>
                  <a:pt x="405" y="283"/>
                </a:lnTo>
                <a:lnTo>
                  <a:pt x="402" y="289"/>
                </a:lnTo>
                <a:lnTo>
                  <a:pt x="397" y="302"/>
                </a:lnTo>
                <a:lnTo>
                  <a:pt x="393" y="308"/>
                </a:lnTo>
                <a:lnTo>
                  <a:pt x="388" y="314"/>
                </a:lnTo>
                <a:lnTo>
                  <a:pt x="386" y="316"/>
                </a:lnTo>
                <a:lnTo>
                  <a:pt x="383" y="318"/>
                </a:lnTo>
                <a:lnTo>
                  <a:pt x="381" y="319"/>
                </a:lnTo>
                <a:lnTo>
                  <a:pt x="378" y="320"/>
                </a:lnTo>
                <a:lnTo>
                  <a:pt x="377" y="332"/>
                </a:lnTo>
                <a:lnTo>
                  <a:pt x="376" y="343"/>
                </a:lnTo>
                <a:lnTo>
                  <a:pt x="373" y="354"/>
                </a:lnTo>
                <a:lnTo>
                  <a:pt x="368" y="364"/>
                </a:lnTo>
                <a:lnTo>
                  <a:pt x="360" y="386"/>
                </a:lnTo>
                <a:lnTo>
                  <a:pt x="349" y="406"/>
                </a:lnTo>
                <a:lnTo>
                  <a:pt x="338" y="427"/>
                </a:lnTo>
                <a:lnTo>
                  <a:pt x="328" y="449"/>
                </a:lnTo>
                <a:lnTo>
                  <a:pt x="325" y="459"/>
                </a:lnTo>
                <a:lnTo>
                  <a:pt x="321" y="470"/>
                </a:lnTo>
                <a:lnTo>
                  <a:pt x="319" y="481"/>
                </a:lnTo>
                <a:lnTo>
                  <a:pt x="319" y="493"/>
                </a:lnTo>
                <a:lnTo>
                  <a:pt x="318" y="500"/>
                </a:lnTo>
                <a:lnTo>
                  <a:pt x="316" y="509"/>
                </a:lnTo>
                <a:lnTo>
                  <a:pt x="314" y="520"/>
                </a:lnTo>
                <a:lnTo>
                  <a:pt x="310" y="531"/>
                </a:lnTo>
                <a:lnTo>
                  <a:pt x="300" y="559"/>
                </a:lnTo>
                <a:lnTo>
                  <a:pt x="288" y="587"/>
                </a:lnTo>
                <a:lnTo>
                  <a:pt x="281" y="602"/>
                </a:lnTo>
                <a:lnTo>
                  <a:pt x="274" y="615"/>
                </a:lnTo>
                <a:lnTo>
                  <a:pt x="266" y="627"/>
                </a:lnTo>
                <a:lnTo>
                  <a:pt x="260" y="637"/>
                </a:lnTo>
                <a:lnTo>
                  <a:pt x="252" y="646"/>
                </a:lnTo>
                <a:lnTo>
                  <a:pt x="245" y="653"/>
                </a:lnTo>
                <a:lnTo>
                  <a:pt x="242" y="655"/>
                </a:lnTo>
                <a:lnTo>
                  <a:pt x="239" y="658"/>
                </a:lnTo>
                <a:lnTo>
                  <a:pt x="236" y="659"/>
                </a:lnTo>
                <a:lnTo>
                  <a:pt x="232" y="660"/>
                </a:lnTo>
                <a:lnTo>
                  <a:pt x="231" y="678"/>
                </a:lnTo>
                <a:lnTo>
                  <a:pt x="230" y="696"/>
                </a:lnTo>
                <a:lnTo>
                  <a:pt x="228" y="714"/>
                </a:lnTo>
                <a:lnTo>
                  <a:pt x="225" y="730"/>
                </a:lnTo>
                <a:lnTo>
                  <a:pt x="220" y="745"/>
                </a:lnTo>
                <a:lnTo>
                  <a:pt x="215" y="759"/>
                </a:lnTo>
                <a:lnTo>
                  <a:pt x="207" y="773"/>
                </a:lnTo>
                <a:lnTo>
                  <a:pt x="199" y="785"/>
                </a:lnTo>
                <a:lnTo>
                  <a:pt x="191" y="795"/>
                </a:lnTo>
                <a:lnTo>
                  <a:pt x="181" y="805"/>
                </a:lnTo>
                <a:lnTo>
                  <a:pt x="169" y="812"/>
                </a:lnTo>
                <a:lnTo>
                  <a:pt x="157" y="819"/>
                </a:lnTo>
                <a:lnTo>
                  <a:pt x="142" y="825"/>
                </a:lnTo>
                <a:lnTo>
                  <a:pt x="127" y="829"/>
                </a:lnTo>
                <a:lnTo>
                  <a:pt x="110" y="831"/>
                </a:lnTo>
                <a:lnTo>
                  <a:pt x="93" y="832"/>
                </a:lnTo>
                <a:lnTo>
                  <a:pt x="86" y="831"/>
                </a:lnTo>
                <a:lnTo>
                  <a:pt x="80" y="827"/>
                </a:lnTo>
                <a:lnTo>
                  <a:pt x="77" y="825"/>
                </a:lnTo>
                <a:lnTo>
                  <a:pt x="75" y="821"/>
                </a:lnTo>
                <a:lnTo>
                  <a:pt x="73" y="817"/>
                </a:lnTo>
                <a:lnTo>
                  <a:pt x="73" y="813"/>
                </a:lnTo>
                <a:lnTo>
                  <a:pt x="61" y="812"/>
                </a:lnTo>
                <a:lnTo>
                  <a:pt x="50" y="810"/>
                </a:lnTo>
                <a:lnTo>
                  <a:pt x="41" y="807"/>
                </a:lnTo>
                <a:lnTo>
                  <a:pt x="34" y="803"/>
                </a:lnTo>
                <a:lnTo>
                  <a:pt x="26" y="798"/>
                </a:lnTo>
                <a:lnTo>
                  <a:pt x="20" y="791"/>
                </a:lnTo>
                <a:lnTo>
                  <a:pt x="15" y="785"/>
                </a:lnTo>
                <a:lnTo>
                  <a:pt x="12" y="777"/>
                </a:lnTo>
                <a:lnTo>
                  <a:pt x="8" y="769"/>
                </a:lnTo>
                <a:lnTo>
                  <a:pt x="5" y="760"/>
                </a:lnTo>
                <a:lnTo>
                  <a:pt x="3" y="752"/>
                </a:lnTo>
                <a:lnTo>
                  <a:pt x="2" y="743"/>
                </a:lnTo>
                <a:lnTo>
                  <a:pt x="0" y="726"/>
                </a:lnTo>
                <a:lnTo>
                  <a:pt x="0" y="708"/>
                </a:lnTo>
                <a:lnTo>
                  <a:pt x="1" y="702"/>
                </a:lnTo>
                <a:lnTo>
                  <a:pt x="2" y="697"/>
                </a:lnTo>
                <a:lnTo>
                  <a:pt x="4" y="694"/>
                </a:lnTo>
                <a:lnTo>
                  <a:pt x="7" y="691"/>
                </a:lnTo>
                <a:lnTo>
                  <a:pt x="14" y="685"/>
                </a:lnTo>
                <a:lnTo>
                  <a:pt x="19" y="678"/>
                </a:lnTo>
                <a:lnTo>
                  <a:pt x="17" y="677"/>
                </a:lnTo>
                <a:lnTo>
                  <a:pt x="14" y="675"/>
                </a:lnTo>
                <a:lnTo>
                  <a:pt x="11" y="672"/>
                </a:lnTo>
                <a:lnTo>
                  <a:pt x="7" y="668"/>
                </a:lnTo>
                <a:lnTo>
                  <a:pt x="2" y="660"/>
                </a:lnTo>
                <a:lnTo>
                  <a:pt x="0" y="652"/>
                </a:lnTo>
                <a:lnTo>
                  <a:pt x="1" y="642"/>
                </a:lnTo>
                <a:lnTo>
                  <a:pt x="3" y="635"/>
                </a:lnTo>
                <a:lnTo>
                  <a:pt x="5" y="628"/>
                </a:lnTo>
                <a:lnTo>
                  <a:pt x="7" y="622"/>
                </a:lnTo>
                <a:lnTo>
                  <a:pt x="8" y="616"/>
                </a:lnTo>
                <a:lnTo>
                  <a:pt x="8" y="610"/>
                </a:lnTo>
                <a:lnTo>
                  <a:pt x="5" y="602"/>
                </a:lnTo>
                <a:lnTo>
                  <a:pt x="0" y="591"/>
                </a:lnTo>
                <a:lnTo>
                  <a:pt x="5" y="591"/>
                </a:lnTo>
                <a:lnTo>
                  <a:pt x="9" y="590"/>
                </a:lnTo>
                <a:lnTo>
                  <a:pt x="14" y="589"/>
                </a:lnTo>
                <a:lnTo>
                  <a:pt x="18" y="587"/>
                </a:lnTo>
                <a:lnTo>
                  <a:pt x="27" y="582"/>
                </a:lnTo>
                <a:lnTo>
                  <a:pt x="36" y="575"/>
                </a:lnTo>
                <a:lnTo>
                  <a:pt x="43" y="568"/>
                </a:lnTo>
                <a:lnTo>
                  <a:pt x="50" y="559"/>
                </a:lnTo>
                <a:lnTo>
                  <a:pt x="57" y="549"/>
                </a:lnTo>
                <a:lnTo>
                  <a:pt x="63" y="538"/>
                </a:lnTo>
                <a:lnTo>
                  <a:pt x="68" y="527"/>
                </a:lnTo>
                <a:lnTo>
                  <a:pt x="73" y="516"/>
                </a:lnTo>
                <a:lnTo>
                  <a:pt x="76" y="506"/>
                </a:lnTo>
                <a:lnTo>
                  <a:pt x="80" y="496"/>
                </a:lnTo>
                <a:lnTo>
                  <a:pt x="84" y="476"/>
                </a:lnTo>
                <a:lnTo>
                  <a:pt x="86" y="462"/>
                </a:lnTo>
                <a:lnTo>
                  <a:pt x="85" y="453"/>
                </a:lnTo>
                <a:lnTo>
                  <a:pt x="84" y="445"/>
                </a:lnTo>
                <a:lnTo>
                  <a:pt x="83" y="438"/>
                </a:lnTo>
                <a:lnTo>
                  <a:pt x="81" y="430"/>
                </a:lnTo>
                <a:lnTo>
                  <a:pt x="75" y="419"/>
                </a:lnTo>
                <a:lnTo>
                  <a:pt x="70" y="408"/>
                </a:lnTo>
                <a:lnTo>
                  <a:pt x="63" y="398"/>
                </a:lnTo>
                <a:lnTo>
                  <a:pt x="58" y="388"/>
                </a:lnTo>
                <a:lnTo>
                  <a:pt x="56" y="382"/>
                </a:lnTo>
                <a:lnTo>
                  <a:pt x="54" y="376"/>
                </a:lnTo>
                <a:lnTo>
                  <a:pt x="53" y="370"/>
                </a:lnTo>
                <a:lnTo>
                  <a:pt x="53" y="363"/>
                </a:lnTo>
                <a:lnTo>
                  <a:pt x="93" y="26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02" name="Freeform 254"/>
          <p:cNvSpPr>
            <a:spLocks/>
          </p:cNvSpPr>
          <p:nvPr>
            <p:custDataLst>
              <p:tags r:id="rId181"/>
            </p:custDataLst>
          </p:nvPr>
        </p:nvSpPr>
        <p:spPr bwMode="auto">
          <a:xfrm>
            <a:off x="6267451" y="3735389"/>
            <a:ext cx="36513" cy="66675"/>
          </a:xfrm>
          <a:custGeom>
            <a:avLst/>
            <a:gdLst>
              <a:gd name="T0" fmla="*/ 80 w 80"/>
              <a:gd name="T1" fmla="*/ 2 h 126"/>
              <a:gd name="T2" fmla="*/ 80 w 80"/>
              <a:gd name="T3" fmla="*/ 101 h 126"/>
              <a:gd name="T4" fmla="*/ 78 w 80"/>
              <a:gd name="T5" fmla="*/ 104 h 126"/>
              <a:gd name="T6" fmla="*/ 75 w 80"/>
              <a:gd name="T7" fmla="*/ 107 h 126"/>
              <a:gd name="T8" fmla="*/ 70 w 80"/>
              <a:gd name="T9" fmla="*/ 109 h 126"/>
              <a:gd name="T10" fmla="*/ 67 w 80"/>
              <a:gd name="T11" fmla="*/ 111 h 126"/>
              <a:gd name="T12" fmla="*/ 58 w 80"/>
              <a:gd name="T13" fmla="*/ 114 h 126"/>
              <a:gd name="T14" fmla="*/ 48 w 80"/>
              <a:gd name="T15" fmla="*/ 116 h 126"/>
              <a:gd name="T16" fmla="*/ 36 w 80"/>
              <a:gd name="T17" fmla="*/ 117 h 126"/>
              <a:gd name="T18" fmla="*/ 25 w 80"/>
              <a:gd name="T19" fmla="*/ 119 h 126"/>
              <a:gd name="T20" fmla="*/ 13 w 80"/>
              <a:gd name="T21" fmla="*/ 123 h 126"/>
              <a:gd name="T22" fmla="*/ 0 w 80"/>
              <a:gd name="T23" fmla="*/ 126 h 126"/>
              <a:gd name="T24" fmla="*/ 7 w 80"/>
              <a:gd name="T25" fmla="*/ 40 h 126"/>
              <a:gd name="T26" fmla="*/ 23 w 80"/>
              <a:gd name="T27" fmla="*/ 27 h 126"/>
              <a:gd name="T28" fmla="*/ 41 w 80"/>
              <a:gd name="T29" fmla="*/ 12 h 126"/>
              <a:gd name="T30" fmla="*/ 51 w 80"/>
              <a:gd name="T31" fmla="*/ 5 h 126"/>
              <a:gd name="T32" fmla="*/ 60 w 80"/>
              <a:gd name="T33" fmla="*/ 1 h 126"/>
              <a:gd name="T34" fmla="*/ 65 w 80"/>
              <a:gd name="T35" fmla="*/ 0 h 126"/>
              <a:gd name="T36" fmla="*/ 70 w 80"/>
              <a:gd name="T37" fmla="*/ 0 h 126"/>
              <a:gd name="T38" fmla="*/ 75 w 80"/>
              <a:gd name="T39" fmla="*/ 1 h 126"/>
              <a:gd name="T40" fmla="*/ 80 w 80"/>
              <a:gd name="T41" fmla="*/ 2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80" h="126">
                <a:moveTo>
                  <a:pt x="80" y="2"/>
                </a:moveTo>
                <a:lnTo>
                  <a:pt x="80" y="101"/>
                </a:lnTo>
                <a:lnTo>
                  <a:pt x="78" y="104"/>
                </a:lnTo>
                <a:lnTo>
                  <a:pt x="75" y="107"/>
                </a:lnTo>
                <a:lnTo>
                  <a:pt x="70" y="109"/>
                </a:lnTo>
                <a:lnTo>
                  <a:pt x="67" y="111"/>
                </a:lnTo>
                <a:lnTo>
                  <a:pt x="58" y="114"/>
                </a:lnTo>
                <a:lnTo>
                  <a:pt x="48" y="116"/>
                </a:lnTo>
                <a:lnTo>
                  <a:pt x="36" y="117"/>
                </a:lnTo>
                <a:lnTo>
                  <a:pt x="25" y="119"/>
                </a:lnTo>
                <a:lnTo>
                  <a:pt x="13" y="123"/>
                </a:lnTo>
                <a:lnTo>
                  <a:pt x="0" y="126"/>
                </a:lnTo>
                <a:lnTo>
                  <a:pt x="7" y="40"/>
                </a:lnTo>
                <a:lnTo>
                  <a:pt x="23" y="27"/>
                </a:lnTo>
                <a:lnTo>
                  <a:pt x="41" y="12"/>
                </a:lnTo>
                <a:lnTo>
                  <a:pt x="51" y="5"/>
                </a:lnTo>
                <a:lnTo>
                  <a:pt x="60" y="1"/>
                </a:lnTo>
                <a:lnTo>
                  <a:pt x="65" y="0"/>
                </a:lnTo>
                <a:lnTo>
                  <a:pt x="70" y="0"/>
                </a:lnTo>
                <a:lnTo>
                  <a:pt x="75" y="1"/>
                </a:lnTo>
                <a:lnTo>
                  <a:pt x="80" y="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03" name="Freeform 255"/>
          <p:cNvSpPr>
            <a:spLocks/>
          </p:cNvSpPr>
          <p:nvPr>
            <p:custDataLst>
              <p:tags r:id="rId182"/>
            </p:custDataLst>
          </p:nvPr>
        </p:nvSpPr>
        <p:spPr bwMode="auto">
          <a:xfrm>
            <a:off x="6256338" y="3695701"/>
            <a:ext cx="55562" cy="60325"/>
          </a:xfrm>
          <a:custGeom>
            <a:avLst/>
            <a:gdLst>
              <a:gd name="T0" fmla="*/ 113 w 124"/>
              <a:gd name="T1" fmla="*/ 0 h 117"/>
              <a:gd name="T2" fmla="*/ 116 w 124"/>
              <a:gd name="T3" fmla="*/ 15 h 117"/>
              <a:gd name="T4" fmla="*/ 122 w 124"/>
              <a:gd name="T5" fmla="*/ 35 h 117"/>
              <a:gd name="T6" fmla="*/ 124 w 124"/>
              <a:gd name="T7" fmla="*/ 45 h 117"/>
              <a:gd name="T8" fmla="*/ 124 w 124"/>
              <a:gd name="T9" fmla="*/ 54 h 117"/>
              <a:gd name="T10" fmla="*/ 124 w 124"/>
              <a:gd name="T11" fmla="*/ 59 h 117"/>
              <a:gd name="T12" fmla="*/ 123 w 124"/>
              <a:gd name="T13" fmla="*/ 64 h 117"/>
              <a:gd name="T14" fmla="*/ 122 w 124"/>
              <a:gd name="T15" fmla="*/ 69 h 117"/>
              <a:gd name="T16" fmla="*/ 119 w 124"/>
              <a:gd name="T17" fmla="*/ 73 h 117"/>
              <a:gd name="T18" fmla="*/ 114 w 124"/>
              <a:gd name="T19" fmla="*/ 72 h 117"/>
              <a:gd name="T20" fmla="*/ 108 w 124"/>
              <a:gd name="T21" fmla="*/ 71 h 117"/>
              <a:gd name="T22" fmla="*/ 103 w 124"/>
              <a:gd name="T23" fmla="*/ 72 h 117"/>
              <a:gd name="T24" fmla="*/ 96 w 124"/>
              <a:gd name="T25" fmla="*/ 73 h 117"/>
              <a:gd name="T26" fmla="*/ 83 w 124"/>
              <a:gd name="T27" fmla="*/ 78 h 117"/>
              <a:gd name="T28" fmla="*/ 71 w 124"/>
              <a:gd name="T29" fmla="*/ 85 h 117"/>
              <a:gd name="T30" fmla="*/ 46 w 124"/>
              <a:gd name="T31" fmla="*/ 103 h 117"/>
              <a:gd name="T32" fmla="*/ 26 w 124"/>
              <a:gd name="T33" fmla="*/ 117 h 117"/>
              <a:gd name="T34" fmla="*/ 23 w 124"/>
              <a:gd name="T35" fmla="*/ 112 h 117"/>
              <a:gd name="T36" fmla="*/ 13 w 124"/>
              <a:gd name="T37" fmla="*/ 101 h 117"/>
              <a:gd name="T38" fmla="*/ 4 w 124"/>
              <a:gd name="T39" fmla="*/ 89 h 117"/>
              <a:gd name="T40" fmla="*/ 0 w 124"/>
              <a:gd name="T41" fmla="*/ 79 h 117"/>
              <a:gd name="T42" fmla="*/ 1 w 124"/>
              <a:gd name="T43" fmla="*/ 76 h 117"/>
              <a:gd name="T44" fmla="*/ 2 w 124"/>
              <a:gd name="T45" fmla="*/ 72 h 117"/>
              <a:gd name="T46" fmla="*/ 5 w 124"/>
              <a:gd name="T47" fmla="*/ 67 h 117"/>
              <a:gd name="T48" fmla="*/ 9 w 124"/>
              <a:gd name="T49" fmla="*/ 62 h 117"/>
              <a:gd name="T50" fmla="*/ 17 w 124"/>
              <a:gd name="T51" fmla="*/ 52 h 117"/>
              <a:gd name="T52" fmla="*/ 27 w 124"/>
              <a:gd name="T53" fmla="*/ 42 h 117"/>
              <a:gd name="T54" fmla="*/ 48 w 124"/>
              <a:gd name="T55" fmla="*/ 22 h 117"/>
              <a:gd name="T56" fmla="*/ 60 w 124"/>
              <a:gd name="T57" fmla="*/ 12 h 117"/>
              <a:gd name="T58" fmla="*/ 73 w 124"/>
              <a:gd name="T59" fmla="*/ 12 h 117"/>
              <a:gd name="T60" fmla="*/ 86 w 124"/>
              <a:gd name="T61" fmla="*/ 12 h 117"/>
              <a:gd name="T62" fmla="*/ 100 w 124"/>
              <a:gd name="T63" fmla="*/ 6 h 117"/>
              <a:gd name="T64" fmla="*/ 113 w 124"/>
              <a:gd name="T65" fmla="*/ 0 h 1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24" h="117">
                <a:moveTo>
                  <a:pt x="113" y="0"/>
                </a:moveTo>
                <a:lnTo>
                  <a:pt x="116" y="15"/>
                </a:lnTo>
                <a:lnTo>
                  <a:pt x="122" y="35"/>
                </a:lnTo>
                <a:lnTo>
                  <a:pt x="124" y="45"/>
                </a:lnTo>
                <a:lnTo>
                  <a:pt x="124" y="54"/>
                </a:lnTo>
                <a:lnTo>
                  <a:pt x="124" y="59"/>
                </a:lnTo>
                <a:lnTo>
                  <a:pt x="123" y="64"/>
                </a:lnTo>
                <a:lnTo>
                  <a:pt x="122" y="69"/>
                </a:lnTo>
                <a:lnTo>
                  <a:pt x="119" y="73"/>
                </a:lnTo>
                <a:lnTo>
                  <a:pt x="114" y="72"/>
                </a:lnTo>
                <a:lnTo>
                  <a:pt x="108" y="71"/>
                </a:lnTo>
                <a:lnTo>
                  <a:pt x="103" y="72"/>
                </a:lnTo>
                <a:lnTo>
                  <a:pt x="96" y="73"/>
                </a:lnTo>
                <a:lnTo>
                  <a:pt x="83" y="78"/>
                </a:lnTo>
                <a:lnTo>
                  <a:pt x="71" y="85"/>
                </a:lnTo>
                <a:lnTo>
                  <a:pt x="46" y="103"/>
                </a:lnTo>
                <a:lnTo>
                  <a:pt x="26" y="117"/>
                </a:lnTo>
                <a:lnTo>
                  <a:pt x="23" y="112"/>
                </a:lnTo>
                <a:lnTo>
                  <a:pt x="13" y="101"/>
                </a:lnTo>
                <a:lnTo>
                  <a:pt x="4" y="89"/>
                </a:lnTo>
                <a:lnTo>
                  <a:pt x="0" y="79"/>
                </a:lnTo>
                <a:lnTo>
                  <a:pt x="1" y="76"/>
                </a:lnTo>
                <a:lnTo>
                  <a:pt x="2" y="72"/>
                </a:lnTo>
                <a:lnTo>
                  <a:pt x="5" y="67"/>
                </a:lnTo>
                <a:lnTo>
                  <a:pt x="9" y="62"/>
                </a:lnTo>
                <a:lnTo>
                  <a:pt x="17" y="52"/>
                </a:lnTo>
                <a:lnTo>
                  <a:pt x="27" y="42"/>
                </a:lnTo>
                <a:lnTo>
                  <a:pt x="48" y="22"/>
                </a:lnTo>
                <a:lnTo>
                  <a:pt x="60" y="12"/>
                </a:lnTo>
                <a:lnTo>
                  <a:pt x="73" y="12"/>
                </a:lnTo>
                <a:lnTo>
                  <a:pt x="86" y="12"/>
                </a:lnTo>
                <a:lnTo>
                  <a:pt x="100" y="6"/>
                </a:lnTo>
                <a:lnTo>
                  <a:pt x="1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04" name="Freeform 256"/>
          <p:cNvSpPr>
            <a:spLocks/>
          </p:cNvSpPr>
          <p:nvPr>
            <p:custDataLst>
              <p:tags r:id="rId183"/>
            </p:custDataLst>
          </p:nvPr>
        </p:nvSpPr>
        <p:spPr bwMode="auto">
          <a:xfrm>
            <a:off x="6565900" y="2395539"/>
            <a:ext cx="503238" cy="473075"/>
          </a:xfrm>
          <a:custGeom>
            <a:avLst/>
            <a:gdLst>
              <a:gd name="T0" fmla="*/ 928 w 1156"/>
              <a:gd name="T1" fmla="*/ 191 h 900"/>
              <a:gd name="T2" fmla="*/ 859 w 1156"/>
              <a:gd name="T3" fmla="*/ 162 h 900"/>
              <a:gd name="T4" fmla="*/ 773 w 1156"/>
              <a:gd name="T5" fmla="*/ 111 h 900"/>
              <a:gd name="T6" fmla="*/ 617 w 1156"/>
              <a:gd name="T7" fmla="*/ 104 h 900"/>
              <a:gd name="T8" fmla="*/ 551 w 1156"/>
              <a:gd name="T9" fmla="*/ 154 h 900"/>
              <a:gd name="T10" fmla="*/ 504 w 1156"/>
              <a:gd name="T11" fmla="*/ 179 h 900"/>
              <a:gd name="T12" fmla="*/ 426 w 1156"/>
              <a:gd name="T13" fmla="*/ 197 h 900"/>
              <a:gd name="T14" fmla="*/ 383 w 1156"/>
              <a:gd name="T15" fmla="*/ 199 h 900"/>
              <a:gd name="T16" fmla="*/ 355 w 1156"/>
              <a:gd name="T17" fmla="*/ 173 h 900"/>
              <a:gd name="T18" fmla="*/ 260 w 1156"/>
              <a:gd name="T19" fmla="*/ 136 h 900"/>
              <a:gd name="T20" fmla="*/ 228 w 1156"/>
              <a:gd name="T21" fmla="*/ 86 h 900"/>
              <a:gd name="T22" fmla="*/ 220 w 1156"/>
              <a:gd name="T23" fmla="*/ 23 h 900"/>
              <a:gd name="T24" fmla="*/ 188 w 1156"/>
              <a:gd name="T25" fmla="*/ 1 h 900"/>
              <a:gd name="T26" fmla="*/ 155 w 1156"/>
              <a:gd name="T27" fmla="*/ 21 h 900"/>
              <a:gd name="T28" fmla="*/ 136 w 1156"/>
              <a:gd name="T29" fmla="*/ 67 h 900"/>
              <a:gd name="T30" fmla="*/ 79 w 1156"/>
              <a:gd name="T31" fmla="*/ 54 h 900"/>
              <a:gd name="T32" fmla="*/ 4 w 1156"/>
              <a:gd name="T33" fmla="*/ 16 h 900"/>
              <a:gd name="T34" fmla="*/ 5 w 1156"/>
              <a:gd name="T35" fmla="*/ 72 h 900"/>
              <a:gd name="T36" fmla="*/ 45 w 1156"/>
              <a:gd name="T37" fmla="*/ 146 h 900"/>
              <a:gd name="T38" fmla="*/ 73 w 1156"/>
              <a:gd name="T39" fmla="*/ 205 h 900"/>
              <a:gd name="T40" fmla="*/ 135 w 1156"/>
              <a:gd name="T41" fmla="*/ 284 h 900"/>
              <a:gd name="T42" fmla="*/ 122 w 1156"/>
              <a:gd name="T43" fmla="*/ 316 h 900"/>
              <a:gd name="T44" fmla="*/ 133 w 1156"/>
              <a:gd name="T45" fmla="*/ 370 h 900"/>
              <a:gd name="T46" fmla="*/ 188 w 1156"/>
              <a:gd name="T47" fmla="*/ 428 h 900"/>
              <a:gd name="T48" fmla="*/ 259 w 1156"/>
              <a:gd name="T49" fmla="*/ 456 h 900"/>
              <a:gd name="T50" fmla="*/ 259 w 1156"/>
              <a:gd name="T51" fmla="*/ 524 h 900"/>
              <a:gd name="T52" fmla="*/ 335 w 1156"/>
              <a:gd name="T53" fmla="*/ 581 h 900"/>
              <a:gd name="T54" fmla="*/ 423 w 1156"/>
              <a:gd name="T55" fmla="*/ 664 h 900"/>
              <a:gd name="T56" fmla="*/ 471 w 1156"/>
              <a:gd name="T57" fmla="*/ 720 h 900"/>
              <a:gd name="T58" fmla="*/ 504 w 1156"/>
              <a:gd name="T59" fmla="*/ 733 h 900"/>
              <a:gd name="T60" fmla="*/ 542 w 1156"/>
              <a:gd name="T61" fmla="*/ 755 h 900"/>
              <a:gd name="T62" fmla="*/ 598 w 1156"/>
              <a:gd name="T63" fmla="*/ 787 h 900"/>
              <a:gd name="T64" fmla="*/ 685 w 1156"/>
              <a:gd name="T65" fmla="*/ 795 h 900"/>
              <a:gd name="T66" fmla="*/ 732 w 1156"/>
              <a:gd name="T67" fmla="*/ 780 h 900"/>
              <a:gd name="T68" fmla="*/ 779 w 1156"/>
              <a:gd name="T69" fmla="*/ 764 h 900"/>
              <a:gd name="T70" fmla="*/ 801 w 1156"/>
              <a:gd name="T71" fmla="*/ 796 h 900"/>
              <a:gd name="T72" fmla="*/ 813 w 1156"/>
              <a:gd name="T73" fmla="*/ 857 h 900"/>
              <a:gd name="T74" fmla="*/ 874 w 1156"/>
              <a:gd name="T75" fmla="*/ 874 h 900"/>
              <a:gd name="T76" fmla="*/ 1011 w 1156"/>
              <a:gd name="T77" fmla="*/ 892 h 900"/>
              <a:gd name="T78" fmla="*/ 1091 w 1156"/>
              <a:gd name="T79" fmla="*/ 879 h 900"/>
              <a:gd name="T80" fmla="*/ 1099 w 1156"/>
              <a:gd name="T81" fmla="*/ 831 h 900"/>
              <a:gd name="T82" fmla="*/ 1156 w 1156"/>
              <a:gd name="T83" fmla="*/ 770 h 900"/>
              <a:gd name="T84" fmla="*/ 1132 w 1156"/>
              <a:gd name="T85" fmla="*/ 750 h 900"/>
              <a:gd name="T86" fmla="*/ 1096 w 1156"/>
              <a:gd name="T87" fmla="*/ 708 h 900"/>
              <a:gd name="T88" fmla="*/ 1031 w 1156"/>
              <a:gd name="T89" fmla="*/ 643 h 900"/>
              <a:gd name="T90" fmla="*/ 1018 w 1156"/>
              <a:gd name="T91" fmla="*/ 603 h 900"/>
              <a:gd name="T92" fmla="*/ 1044 w 1156"/>
              <a:gd name="T93" fmla="*/ 559 h 900"/>
              <a:gd name="T94" fmla="*/ 1048 w 1156"/>
              <a:gd name="T95" fmla="*/ 526 h 900"/>
              <a:gd name="T96" fmla="*/ 1030 w 1156"/>
              <a:gd name="T97" fmla="*/ 512 h 900"/>
              <a:gd name="T98" fmla="*/ 983 w 1156"/>
              <a:gd name="T99" fmla="*/ 507 h 900"/>
              <a:gd name="T100" fmla="*/ 954 w 1156"/>
              <a:gd name="T101" fmla="*/ 453 h 900"/>
              <a:gd name="T102" fmla="*/ 937 w 1156"/>
              <a:gd name="T103" fmla="*/ 373 h 900"/>
              <a:gd name="T104" fmla="*/ 924 w 1156"/>
              <a:gd name="T105" fmla="*/ 357 h 900"/>
              <a:gd name="T106" fmla="*/ 940 w 1156"/>
              <a:gd name="T107" fmla="*/ 334 h 900"/>
              <a:gd name="T108" fmla="*/ 960 w 1156"/>
              <a:gd name="T109" fmla="*/ 293 h 9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156" h="900">
                <a:moveTo>
                  <a:pt x="963" y="271"/>
                </a:moveTo>
                <a:lnTo>
                  <a:pt x="954" y="252"/>
                </a:lnTo>
                <a:lnTo>
                  <a:pt x="948" y="234"/>
                </a:lnTo>
                <a:lnTo>
                  <a:pt x="941" y="213"/>
                </a:lnTo>
                <a:lnTo>
                  <a:pt x="937" y="191"/>
                </a:lnTo>
                <a:lnTo>
                  <a:pt x="928" y="191"/>
                </a:lnTo>
                <a:lnTo>
                  <a:pt x="920" y="190"/>
                </a:lnTo>
                <a:lnTo>
                  <a:pt x="913" y="189"/>
                </a:lnTo>
                <a:lnTo>
                  <a:pt x="906" y="187"/>
                </a:lnTo>
                <a:lnTo>
                  <a:pt x="893" y="183"/>
                </a:lnTo>
                <a:lnTo>
                  <a:pt x="881" y="177"/>
                </a:lnTo>
                <a:lnTo>
                  <a:pt x="859" y="162"/>
                </a:lnTo>
                <a:lnTo>
                  <a:pt x="839" y="145"/>
                </a:lnTo>
                <a:lnTo>
                  <a:pt x="828" y="137"/>
                </a:lnTo>
                <a:lnTo>
                  <a:pt x="816" y="129"/>
                </a:lnTo>
                <a:lnTo>
                  <a:pt x="803" y="122"/>
                </a:lnTo>
                <a:lnTo>
                  <a:pt x="789" y="116"/>
                </a:lnTo>
                <a:lnTo>
                  <a:pt x="773" y="111"/>
                </a:lnTo>
                <a:lnTo>
                  <a:pt x="755" y="106"/>
                </a:lnTo>
                <a:lnTo>
                  <a:pt x="745" y="105"/>
                </a:lnTo>
                <a:lnTo>
                  <a:pt x="734" y="104"/>
                </a:lnTo>
                <a:lnTo>
                  <a:pt x="723" y="104"/>
                </a:lnTo>
                <a:lnTo>
                  <a:pt x="711" y="104"/>
                </a:lnTo>
                <a:lnTo>
                  <a:pt x="617" y="104"/>
                </a:lnTo>
                <a:lnTo>
                  <a:pt x="609" y="113"/>
                </a:lnTo>
                <a:lnTo>
                  <a:pt x="587" y="129"/>
                </a:lnTo>
                <a:lnTo>
                  <a:pt x="576" y="138"/>
                </a:lnTo>
                <a:lnTo>
                  <a:pt x="565" y="146"/>
                </a:lnTo>
                <a:lnTo>
                  <a:pt x="556" y="152"/>
                </a:lnTo>
                <a:lnTo>
                  <a:pt x="551" y="154"/>
                </a:lnTo>
                <a:lnTo>
                  <a:pt x="542" y="155"/>
                </a:lnTo>
                <a:lnTo>
                  <a:pt x="532" y="157"/>
                </a:lnTo>
                <a:lnTo>
                  <a:pt x="522" y="159"/>
                </a:lnTo>
                <a:lnTo>
                  <a:pt x="512" y="160"/>
                </a:lnTo>
                <a:lnTo>
                  <a:pt x="518" y="173"/>
                </a:lnTo>
                <a:lnTo>
                  <a:pt x="504" y="179"/>
                </a:lnTo>
                <a:lnTo>
                  <a:pt x="490" y="184"/>
                </a:lnTo>
                <a:lnTo>
                  <a:pt x="478" y="188"/>
                </a:lnTo>
                <a:lnTo>
                  <a:pt x="465" y="192"/>
                </a:lnTo>
                <a:lnTo>
                  <a:pt x="453" y="194"/>
                </a:lnTo>
                <a:lnTo>
                  <a:pt x="439" y="196"/>
                </a:lnTo>
                <a:lnTo>
                  <a:pt x="426" y="197"/>
                </a:lnTo>
                <a:lnTo>
                  <a:pt x="412" y="197"/>
                </a:lnTo>
                <a:lnTo>
                  <a:pt x="405" y="198"/>
                </a:lnTo>
                <a:lnTo>
                  <a:pt x="398" y="199"/>
                </a:lnTo>
                <a:lnTo>
                  <a:pt x="393" y="200"/>
                </a:lnTo>
                <a:lnTo>
                  <a:pt x="389" y="200"/>
                </a:lnTo>
                <a:lnTo>
                  <a:pt x="383" y="199"/>
                </a:lnTo>
                <a:lnTo>
                  <a:pt x="379" y="197"/>
                </a:lnTo>
                <a:lnTo>
                  <a:pt x="371" y="194"/>
                </a:lnTo>
                <a:lnTo>
                  <a:pt x="367" y="190"/>
                </a:lnTo>
                <a:lnTo>
                  <a:pt x="363" y="184"/>
                </a:lnTo>
                <a:lnTo>
                  <a:pt x="358" y="179"/>
                </a:lnTo>
                <a:lnTo>
                  <a:pt x="355" y="173"/>
                </a:lnTo>
                <a:lnTo>
                  <a:pt x="351" y="168"/>
                </a:lnTo>
                <a:lnTo>
                  <a:pt x="345" y="163"/>
                </a:lnTo>
                <a:lnTo>
                  <a:pt x="338" y="160"/>
                </a:lnTo>
                <a:lnTo>
                  <a:pt x="316" y="153"/>
                </a:lnTo>
                <a:lnTo>
                  <a:pt x="280" y="142"/>
                </a:lnTo>
                <a:lnTo>
                  <a:pt x="260" y="136"/>
                </a:lnTo>
                <a:lnTo>
                  <a:pt x="244" y="128"/>
                </a:lnTo>
                <a:lnTo>
                  <a:pt x="237" y="124"/>
                </a:lnTo>
                <a:lnTo>
                  <a:pt x="232" y="120"/>
                </a:lnTo>
                <a:lnTo>
                  <a:pt x="228" y="116"/>
                </a:lnTo>
                <a:lnTo>
                  <a:pt x="225" y="111"/>
                </a:lnTo>
                <a:lnTo>
                  <a:pt x="228" y="86"/>
                </a:lnTo>
                <a:lnTo>
                  <a:pt x="228" y="65"/>
                </a:lnTo>
                <a:lnTo>
                  <a:pt x="228" y="56"/>
                </a:lnTo>
                <a:lnTo>
                  <a:pt x="226" y="46"/>
                </a:lnTo>
                <a:lnTo>
                  <a:pt x="224" y="37"/>
                </a:lnTo>
                <a:lnTo>
                  <a:pt x="222" y="30"/>
                </a:lnTo>
                <a:lnTo>
                  <a:pt x="220" y="23"/>
                </a:lnTo>
                <a:lnTo>
                  <a:pt x="217" y="17"/>
                </a:lnTo>
                <a:lnTo>
                  <a:pt x="212" y="12"/>
                </a:lnTo>
                <a:lnTo>
                  <a:pt x="207" y="8"/>
                </a:lnTo>
                <a:lnTo>
                  <a:pt x="201" y="5"/>
                </a:lnTo>
                <a:lnTo>
                  <a:pt x="195" y="2"/>
                </a:lnTo>
                <a:lnTo>
                  <a:pt x="188" y="1"/>
                </a:lnTo>
                <a:lnTo>
                  <a:pt x="179" y="0"/>
                </a:lnTo>
                <a:lnTo>
                  <a:pt x="174" y="1"/>
                </a:lnTo>
                <a:lnTo>
                  <a:pt x="168" y="3"/>
                </a:lnTo>
                <a:lnTo>
                  <a:pt x="164" y="7"/>
                </a:lnTo>
                <a:lnTo>
                  <a:pt x="161" y="11"/>
                </a:lnTo>
                <a:lnTo>
                  <a:pt x="155" y="21"/>
                </a:lnTo>
                <a:lnTo>
                  <a:pt x="151" y="34"/>
                </a:lnTo>
                <a:lnTo>
                  <a:pt x="147" y="46"/>
                </a:lnTo>
                <a:lnTo>
                  <a:pt x="144" y="57"/>
                </a:lnTo>
                <a:lnTo>
                  <a:pt x="142" y="62"/>
                </a:lnTo>
                <a:lnTo>
                  <a:pt x="139" y="65"/>
                </a:lnTo>
                <a:lnTo>
                  <a:pt x="136" y="67"/>
                </a:lnTo>
                <a:lnTo>
                  <a:pt x="133" y="68"/>
                </a:lnTo>
                <a:lnTo>
                  <a:pt x="125" y="68"/>
                </a:lnTo>
                <a:lnTo>
                  <a:pt x="118" y="66"/>
                </a:lnTo>
                <a:lnTo>
                  <a:pt x="109" y="64"/>
                </a:lnTo>
                <a:lnTo>
                  <a:pt x="100" y="62"/>
                </a:lnTo>
                <a:lnTo>
                  <a:pt x="79" y="54"/>
                </a:lnTo>
                <a:lnTo>
                  <a:pt x="58" y="46"/>
                </a:lnTo>
                <a:lnTo>
                  <a:pt x="39" y="38"/>
                </a:lnTo>
                <a:lnTo>
                  <a:pt x="21" y="29"/>
                </a:lnTo>
                <a:lnTo>
                  <a:pt x="15" y="24"/>
                </a:lnTo>
                <a:lnTo>
                  <a:pt x="8" y="20"/>
                </a:lnTo>
                <a:lnTo>
                  <a:pt x="4" y="16"/>
                </a:lnTo>
                <a:lnTo>
                  <a:pt x="0" y="12"/>
                </a:lnTo>
                <a:lnTo>
                  <a:pt x="0" y="25"/>
                </a:lnTo>
                <a:lnTo>
                  <a:pt x="0" y="37"/>
                </a:lnTo>
                <a:lnTo>
                  <a:pt x="0" y="49"/>
                </a:lnTo>
                <a:lnTo>
                  <a:pt x="1" y="62"/>
                </a:lnTo>
                <a:lnTo>
                  <a:pt x="5" y="72"/>
                </a:lnTo>
                <a:lnTo>
                  <a:pt x="7" y="81"/>
                </a:lnTo>
                <a:lnTo>
                  <a:pt x="15" y="96"/>
                </a:lnTo>
                <a:lnTo>
                  <a:pt x="24" y="111"/>
                </a:lnTo>
                <a:lnTo>
                  <a:pt x="33" y="124"/>
                </a:lnTo>
                <a:lnTo>
                  <a:pt x="42" y="138"/>
                </a:lnTo>
                <a:lnTo>
                  <a:pt x="45" y="146"/>
                </a:lnTo>
                <a:lnTo>
                  <a:pt x="49" y="156"/>
                </a:lnTo>
                <a:lnTo>
                  <a:pt x="52" y="167"/>
                </a:lnTo>
                <a:lnTo>
                  <a:pt x="53" y="179"/>
                </a:lnTo>
                <a:lnTo>
                  <a:pt x="60" y="179"/>
                </a:lnTo>
                <a:lnTo>
                  <a:pt x="64" y="190"/>
                </a:lnTo>
                <a:lnTo>
                  <a:pt x="73" y="205"/>
                </a:lnTo>
                <a:lnTo>
                  <a:pt x="83" y="223"/>
                </a:lnTo>
                <a:lnTo>
                  <a:pt x="96" y="241"/>
                </a:lnTo>
                <a:lnTo>
                  <a:pt x="109" y="258"/>
                </a:lnTo>
                <a:lnTo>
                  <a:pt x="122" y="273"/>
                </a:lnTo>
                <a:lnTo>
                  <a:pt x="129" y="280"/>
                </a:lnTo>
                <a:lnTo>
                  <a:pt x="135" y="284"/>
                </a:lnTo>
                <a:lnTo>
                  <a:pt x="141" y="288"/>
                </a:lnTo>
                <a:lnTo>
                  <a:pt x="146" y="290"/>
                </a:lnTo>
                <a:lnTo>
                  <a:pt x="139" y="296"/>
                </a:lnTo>
                <a:lnTo>
                  <a:pt x="130" y="304"/>
                </a:lnTo>
                <a:lnTo>
                  <a:pt x="127" y="310"/>
                </a:lnTo>
                <a:lnTo>
                  <a:pt x="122" y="316"/>
                </a:lnTo>
                <a:lnTo>
                  <a:pt x="120" y="324"/>
                </a:lnTo>
                <a:lnTo>
                  <a:pt x="120" y="332"/>
                </a:lnTo>
                <a:lnTo>
                  <a:pt x="120" y="341"/>
                </a:lnTo>
                <a:lnTo>
                  <a:pt x="123" y="350"/>
                </a:lnTo>
                <a:lnTo>
                  <a:pt x="128" y="360"/>
                </a:lnTo>
                <a:lnTo>
                  <a:pt x="133" y="370"/>
                </a:lnTo>
                <a:lnTo>
                  <a:pt x="140" y="380"/>
                </a:lnTo>
                <a:lnTo>
                  <a:pt x="147" y="391"/>
                </a:lnTo>
                <a:lnTo>
                  <a:pt x="157" y="401"/>
                </a:lnTo>
                <a:lnTo>
                  <a:pt x="167" y="410"/>
                </a:lnTo>
                <a:lnTo>
                  <a:pt x="177" y="420"/>
                </a:lnTo>
                <a:lnTo>
                  <a:pt x="188" y="428"/>
                </a:lnTo>
                <a:lnTo>
                  <a:pt x="200" y="436"/>
                </a:lnTo>
                <a:lnTo>
                  <a:pt x="212" y="442"/>
                </a:lnTo>
                <a:lnTo>
                  <a:pt x="224" y="449"/>
                </a:lnTo>
                <a:lnTo>
                  <a:pt x="236" y="453"/>
                </a:lnTo>
                <a:lnTo>
                  <a:pt x="247" y="455"/>
                </a:lnTo>
                <a:lnTo>
                  <a:pt x="259" y="456"/>
                </a:lnTo>
                <a:lnTo>
                  <a:pt x="260" y="469"/>
                </a:lnTo>
                <a:lnTo>
                  <a:pt x="264" y="483"/>
                </a:lnTo>
                <a:lnTo>
                  <a:pt x="265" y="490"/>
                </a:lnTo>
                <a:lnTo>
                  <a:pt x="265" y="500"/>
                </a:lnTo>
                <a:lnTo>
                  <a:pt x="263" y="511"/>
                </a:lnTo>
                <a:lnTo>
                  <a:pt x="259" y="524"/>
                </a:lnTo>
                <a:lnTo>
                  <a:pt x="305" y="573"/>
                </a:lnTo>
                <a:lnTo>
                  <a:pt x="312" y="574"/>
                </a:lnTo>
                <a:lnTo>
                  <a:pt x="319" y="576"/>
                </a:lnTo>
                <a:lnTo>
                  <a:pt x="324" y="578"/>
                </a:lnTo>
                <a:lnTo>
                  <a:pt x="330" y="580"/>
                </a:lnTo>
                <a:lnTo>
                  <a:pt x="335" y="581"/>
                </a:lnTo>
                <a:lnTo>
                  <a:pt x="342" y="581"/>
                </a:lnTo>
                <a:lnTo>
                  <a:pt x="349" y="578"/>
                </a:lnTo>
                <a:lnTo>
                  <a:pt x="358" y="573"/>
                </a:lnTo>
                <a:lnTo>
                  <a:pt x="372" y="593"/>
                </a:lnTo>
                <a:lnTo>
                  <a:pt x="404" y="639"/>
                </a:lnTo>
                <a:lnTo>
                  <a:pt x="423" y="664"/>
                </a:lnTo>
                <a:lnTo>
                  <a:pt x="439" y="687"/>
                </a:lnTo>
                <a:lnTo>
                  <a:pt x="447" y="697"/>
                </a:lnTo>
                <a:lnTo>
                  <a:pt x="455" y="705"/>
                </a:lnTo>
                <a:lnTo>
                  <a:pt x="460" y="711"/>
                </a:lnTo>
                <a:lnTo>
                  <a:pt x="465" y="714"/>
                </a:lnTo>
                <a:lnTo>
                  <a:pt x="471" y="720"/>
                </a:lnTo>
                <a:lnTo>
                  <a:pt x="479" y="727"/>
                </a:lnTo>
                <a:lnTo>
                  <a:pt x="483" y="729"/>
                </a:lnTo>
                <a:lnTo>
                  <a:pt x="488" y="731"/>
                </a:lnTo>
                <a:lnTo>
                  <a:pt x="493" y="733"/>
                </a:lnTo>
                <a:lnTo>
                  <a:pt x="498" y="733"/>
                </a:lnTo>
                <a:lnTo>
                  <a:pt x="504" y="733"/>
                </a:lnTo>
                <a:lnTo>
                  <a:pt x="512" y="733"/>
                </a:lnTo>
                <a:lnTo>
                  <a:pt x="522" y="733"/>
                </a:lnTo>
                <a:lnTo>
                  <a:pt x="532" y="733"/>
                </a:lnTo>
                <a:lnTo>
                  <a:pt x="533" y="741"/>
                </a:lnTo>
                <a:lnTo>
                  <a:pt x="537" y="748"/>
                </a:lnTo>
                <a:lnTo>
                  <a:pt x="542" y="755"/>
                </a:lnTo>
                <a:lnTo>
                  <a:pt x="547" y="761"/>
                </a:lnTo>
                <a:lnTo>
                  <a:pt x="554" y="766"/>
                </a:lnTo>
                <a:lnTo>
                  <a:pt x="561" y="771"/>
                </a:lnTo>
                <a:lnTo>
                  <a:pt x="570" y="776"/>
                </a:lnTo>
                <a:lnTo>
                  <a:pt x="579" y="781"/>
                </a:lnTo>
                <a:lnTo>
                  <a:pt x="598" y="787"/>
                </a:lnTo>
                <a:lnTo>
                  <a:pt x="616" y="791"/>
                </a:lnTo>
                <a:lnTo>
                  <a:pt x="635" y="794"/>
                </a:lnTo>
                <a:lnTo>
                  <a:pt x="651" y="795"/>
                </a:lnTo>
                <a:lnTo>
                  <a:pt x="663" y="795"/>
                </a:lnTo>
                <a:lnTo>
                  <a:pt x="671" y="795"/>
                </a:lnTo>
                <a:lnTo>
                  <a:pt x="685" y="795"/>
                </a:lnTo>
                <a:lnTo>
                  <a:pt x="700" y="793"/>
                </a:lnTo>
                <a:lnTo>
                  <a:pt x="706" y="792"/>
                </a:lnTo>
                <a:lnTo>
                  <a:pt x="713" y="790"/>
                </a:lnTo>
                <a:lnTo>
                  <a:pt x="718" y="787"/>
                </a:lnTo>
                <a:lnTo>
                  <a:pt x="724" y="783"/>
                </a:lnTo>
                <a:lnTo>
                  <a:pt x="732" y="780"/>
                </a:lnTo>
                <a:lnTo>
                  <a:pt x="742" y="773"/>
                </a:lnTo>
                <a:lnTo>
                  <a:pt x="749" y="769"/>
                </a:lnTo>
                <a:lnTo>
                  <a:pt x="756" y="766"/>
                </a:lnTo>
                <a:lnTo>
                  <a:pt x="763" y="764"/>
                </a:lnTo>
                <a:lnTo>
                  <a:pt x="771" y="764"/>
                </a:lnTo>
                <a:lnTo>
                  <a:pt x="779" y="764"/>
                </a:lnTo>
                <a:lnTo>
                  <a:pt x="785" y="767"/>
                </a:lnTo>
                <a:lnTo>
                  <a:pt x="790" y="771"/>
                </a:lnTo>
                <a:lnTo>
                  <a:pt x="794" y="775"/>
                </a:lnTo>
                <a:lnTo>
                  <a:pt x="796" y="782"/>
                </a:lnTo>
                <a:lnTo>
                  <a:pt x="798" y="789"/>
                </a:lnTo>
                <a:lnTo>
                  <a:pt x="801" y="796"/>
                </a:lnTo>
                <a:lnTo>
                  <a:pt x="802" y="804"/>
                </a:lnTo>
                <a:lnTo>
                  <a:pt x="803" y="820"/>
                </a:lnTo>
                <a:lnTo>
                  <a:pt x="805" y="837"/>
                </a:lnTo>
                <a:lnTo>
                  <a:pt x="807" y="845"/>
                </a:lnTo>
                <a:lnTo>
                  <a:pt x="809" y="851"/>
                </a:lnTo>
                <a:lnTo>
                  <a:pt x="813" y="857"/>
                </a:lnTo>
                <a:lnTo>
                  <a:pt x="817" y="862"/>
                </a:lnTo>
                <a:lnTo>
                  <a:pt x="822" y="865"/>
                </a:lnTo>
                <a:lnTo>
                  <a:pt x="828" y="867"/>
                </a:lnTo>
                <a:lnTo>
                  <a:pt x="838" y="869"/>
                </a:lnTo>
                <a:lnTo>
                  <a:pt x="849" y="871"/>
                </a:lnTo>
                <a:lnTo>
                  <a:pt x="874" y="874"/>
                </a:lnTo>
                <a:lnTo>
                  <a:pt x="897" y="875"/>
                </a:lnTo>
                <a:lnTo>
                  <a:pt x="925" y="876"/>
                </a:lnTo>
                <a:lnTo>
                  <a:pt x="948" y="878"/>
                </a:lnTo>
                <a:lnTo>
                  <a:pt x="970" y="882"/>
                </a:lnTo>
                <a:lnTo>
                  <a:pt x="991" y="887"/>
                </a:lnTo>
                <a:lnTo>
                  <a:pt x="1011" y="892"/>
                </a:lnTo>
                <a:lnTo>
                  <a:pt x="1035" y="896"/>
                </a:lnTo>
                <a:lnTo>
                  <a:pt x="1047" y="898"/>
                </a:lnTo>
                <a:lnTo>
                  <a:pt x="1060" y="899"/>
                </a:lnTo>
                <a:lnTo>
                  <a:pt x="1074" y="900"/>
                </a:lnTo>
                <a:lnTo>
                  <a:pt x="1089" y="900"/>
                </a:lnTo>
                <a:lnTo>
                  <a:pt x="1091" y="879"/>
                </a:lnTo>
                <a:lnTo>
                  <a:pt x="1093" y="865"/>
                </a:lnTo>
                <a:lnTo>
                  <a:pt x="1095" y="854"/>
                </a:lnTo>
                <a:lnTo>
                  <a:pt x="1096" y="844"/>
                </a:lnTo>
                <a:lnTo>
                  <a:pt x="1096" y="840"/>
                </a:lnTo>
                <a:lnTo>
                  <a:pt x="1097" y="836"/>
                </a:lnTo>
                <a:lnTo>
                  <a:pt x="1099" y="831"/>
                </a:lnTo>
                <a:lnTo>
                  <a:pt x="1102" y="827"/>
                </a:lnTo>
                <a:lnTo>
                  <a:pt x="1108" y="820"/>
                </a:lnTo>
                <a:lnTo>
                  <a:pt x="1116" y="814"/>
                </a:lnTo>
                <a:lnTo>
                  <a:pt x="1136" y="802"/>
                </a:lnTo>
                <a:lnTo>
                  <a:pt x="1156" y="789"/>
                </a:lnTo>
                <a:lnTo>
                  <a:pt x="1156" y="770"/>
                </a:lnTo>
                <a:lnTo>
                  <a:pt x="1151" y="769"/>
                </a:lnTo>
                <a:lnTo>
                  <a:pt x="1147" y="768"/>
                </a:lnTo>
                <a:lnTo>
                  <a:pt x="1143" y="766"/>
                </a:lnTo>
                <a:lnTo>
                  <a:pt x="1140" y="764"/>
                </a:lnTo>
                <a:lnTo>
                  <a:pt x="1136" y="758"/>
                </a:lnTo>
                <a:lnTo>
                  <a:pt x="1132" y="750"/>
                </a:lnTo>
                <a:lnTo>
                  <a:pt x="1130" y="734"/>
                </a:lnTo>
                <a:lnTo>
                  <a:pt x="1129" y="720"/>
                </a:lnTo>
                <a:lnTo>
                  <a:pt x="1121" y="719"/>
                </a:lnTo>
                <a:lnTo>
                  <a:pt x="1114" y="717"/>
                </a:lnTo>
                <a:lnTo>
                  <a:pt x="1105" y="713"/>
                </a:lnTo>
                <a:lnTo>
                  <a:pt x="1096" y="708"/>
                </a:lnTo>
                <a:lnTo>
                  <a:pt x="1087" y="701"/>
                </a:lnTo>
                <a:lnTo>
                  <a:pt x="1077" y="694"/>
                </a:lnTo>
                <a:lnTo>
                  <a:pt x="1069" y="686"/>
                </a:lnTo>
                <a:lnTo>
                  <a:pt x="1061" y="678"/>
                </a:lnTo>
                <a:lnTo>
                  <a:pt x="1044" y="660"/>
                </a:lnTo>
                <a:lnTo>
                  <a:pt x="1031" y="643"/>
                </a:lnTo>
                <a:lnTo>
                  <a:pt x="1026" y="635"/>
                </a:lnTo>
                <a:lnTo>
                  <a:pt x="1021" y="628"/>
                </a:lnTo>
                <a:lnTo>
                  <a:pt x="1018" y="622"/>
                </a:lnTo>
                <a:lnTo>
                  <a:pt x="1016" y="616"/>
                </a:lnTo>
                <a:lnTo>
                  <a:pt x="1017" y="609"/>
                </a:lnTo>
                <a:lnTo>
                  <a:pt x="1018" y="603"/>
                </a:lnTo>
                <a:lnTo>
                  <a:pt x="1019" y="598"/>
                </a:lnTo>
                <a:lnTo>
                  <a:pt x="1021" y="593"/>
                </a:lnTo>
                <a:lnTo>
                  <a:pt x="1027" y="584"/>
                </a:lnTo>
                <a:lnTo>
                  <a:pt x="1033" y="576"/>
                </a:lnTo>
                <a:lnTo>
                  <a:pt x="1039" y="568"/>
                </a:lnTo>
                <a:lnTo>
                  <a:pt x="1044" y="559"/>
                </a:lnTo>
                <a:lnTo>
                  <a:pt x="1047" y="553"/>
                </a:lnTo>
                <a:lnTo>
                  <a:pt x="1048" y="548"/>
                </a:lnTo>
                <a:lnTo>
                  <a:pt x="1049" y="542"/>
                </a:lnTo>
                <a:lnTo>
                  <a:pt x="1050" y="536"/>
                </a:lnTo>
                <a:lnTo>
                  <a:pt x="1049" y="531"/>
                </a:lnTo>
                <a:lnTo>
                  <a:pt x="1048" y="526"/>
                </a:lnTo>
                <a:lnTo>
                  <a:pt x="1047" y="522"/>
                </a:lnTo>
                <a:lnTo>
                  <a:pt x="1044" y="519"/>
                </a:lnTo>
                <a:lnTo>
                  <a:pt x="1041" y="517"/>
                </a:lnTo>
                <a:lnTo>
                  <a:pt x="1038" y="515"/>
                </a:lnTo>
                <a:lnTo>
                  <a:pt x="1035" y="513"/>
                </a:lnTo>
                <a:lnTo>
                  <a:pt x="1030" y="512"/>
                </a:lnTo>
                <a:lnTo>
                  <a:pt x="1013" y="511"/>
                </a:lnTo>
                <a:lnTo>
                  <a:pt x="996" y="512"/>
                </a:lnTo>
                <a:lnTo>
                  <a:pt x="993" y="511"/>
                </a:lnTo>
                <a:lnTo>
                  <a:pt x="990" y="510"/>
                </a:lnTo>
                <a:lnTo>
                  <a:pt x="986" y="509"/>
                </a:lnTo>
                <a:lnTo>
                  <a:pt x="983" y="507"/>
                </a:lnTo>
                <a:lnTo>
                  <a:pt x="976" y="501"/>
                </a:lnTo>
                <a:lnTo>
                  <a:pt x="971" y="493"/>
                </a:lnTo>
                <a:lnTo>
                  <a:pt x="966" y="485"/>
                </a:lnTo>
                <a:lnTo>
                  <a:pt x="962" y="475"/>
                </a:lnTo>
                <a:lnTo>
                  <a:pt x="958" y="464"/>
                </a:lnTo>
                <a:lnTo>
                  <a:pt x="954" y="453"/>
                </a:lnTo>
                <a:lnTo>
                  <a:pt x="950" y="429"/>
                </a:lnTo>
                <a:lnTo>
                  <a:pt x="946" y="407"/>
                </a:lnTo>
                <a:lnTo>
                  <a:pt x="943" y="389"/>
                </a:lnTo>
                <a:lnTo>
                  <a:pt x="943" y="375"/>
                </a:lnTo>
                <a:lnTo>
                  <a:pt x="940" y="375"/>
                </a:lnTo>
                <a:lnTo>
                  <a:pt x="937" y="373"/>
                </a:lnTo>
                <a:lnTo>
                  <a:pt x="934" y="371"/>
                </a:lnTo>
                <a:lnTo>
                  <a:pt x="931" y="369"/>
                </a:lnTo>
                <a:lnTo>
                  <a:pt x="928" y="366"/>
                </a:lnTo>
                <a:lnTo>
                  <a:pt x="926" y="363"/>
                </a:lnTo>
                <a:lnTo>
                  <a:pt x="924" y="360"/>
                </a:lnTo>
                <a:lnTo>
                  <a:pt x="924" y="357"/>
                </a:lnTo>
                <a:lnTo>
                  <a:pt x="924" y="354"/>
                </a:lnTo>
                <a:lnTo>
                  <a:pt x="925" y="351"/>
                </a:lnTo>
                <a:lnTo>
                  <a:pt x="926" y="348"/>
                </a:lnTo>
                <a:lnTo>
                  <a:pt x="928" y="345"/>
                </a:lnTo>
                <a:lnTo>
                  <a:pt x="934" y="339"/>
                </a:lnTo>
                <a:lnTo>
                  <a:pt x="940" y="334"/>
                </a:lnTo>
                <a:lnTo>
                  <a:pt x="946" y="328"/>
                </a:lnTo>
                <a:lnTo>
                  <a:pt x="951" y="323"/>
                </a:lnTo>
                <a:lnTo>
                  <a:pt x="955" y="318"/>
                </a:lnTo>
                <a:lnTo>
                  <a:pt x="957" y="314"/>
                </a:lnTo>
                <a:lnTo>
                  <a:pt x="958" y="301"/>
                </a:lnTo>
                <a:lnTo>
                  <a:pt x="960" y="293"/>
                </a:lnTo>
                <a:lnTo>
                  <a:pt x="962" y="285"/>
                </a:lnTo>
                <a:lnTo>
                  <a:pt x="963" y="27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05" name="Freeform 257"/>
          <p:cNvSpPr>
            <a:spLocks/>
          </p:cNvSpPr>
          <p:nvPr>
            <p:custDataLst>
              <p:tags r:id="rId184"/>
            </p:custDataLst>
          </p:nvPr>
        </p:nvSpPr>
        <p:spPr bwMode="auto">
          <a:xfrm>
            <a:off x="6589713" y="3052763"/>
            <a:ext cx="247650" cy="228600"/>
          </a:xfrm>
          <a:custGeom>
            <a:avLst/>
            <a:gdLst>
              <a:gd name="T0" fmla="*/ 26 w 571"/>
              <a:gd name="T1" fmla="*/ 190 h 443"/>
              <a:gd name="T2" fmla="*/ 37 w 571"/>
              <a:gd name="T3" fmla="*/ 177 h 443"/>
              <a:gd name="T4" fmla="*/ 41 w 571"/>
              <a:gd name="T5" fmla="*/ 164 h 443"/>
              <a:gd name="T6" fmla="*/ 39 w 571"/>
              <a:gd name="T7" fmla="*/ 129 h 443"/>
              <a:gd name="T8" fmla="*/ 44 w 571"/>
              <a:gd name="T9" fmla="*/ 120 h 443"/>
              <a:gd name="T10" fmla="*/ 55 w 571"/>
              <a:gd name="T11" fmla="*/ 112 h 443"/>
              <a:gd name="T12" fmla="*/ 68 w 571"/>
              <a:gd name="T13" fmla="*/ 107 h 443"/>
              <a:gd name="T14" fmla="*/ 80 w 571"/>
              <a:gd name="T15" fmla="*/ 104 h 443"/>
              <a:gd name="T16" fmla="*/ 103 w 571"/>
              <a:gd name="T17" fmla="*/ 106 h 443"/>
              <a:gd name="T18" fmla="*/ 124 w 571"/>
              <a:gd name="T19" fmla="*/ 109 h 443"/>
              <a:gd name="T20" fmla="*/ 158 w 571"/>
              <a:gd name="T21" fmla="*/ 120 h 443"/>
              <a:gd name="T22" fmla="*/ 184 w 571"/>
              <a:gd name="T23" fmla="*/ 135 h 443"/>
              <a:gd name="T24" fmla="*/ 206 w 571"/>
              <a:gd name="T25" fmla="*/ 154 h 443"/>
              <a:gd name="T26" fmla="*/ 254 w 571"/>
              <a:gd name="T27" fmla="*/ 92 h 443"/>
              <a:gd name="T28" fmla="*/ 285 w 571"/>
              <a:gd name="T29" fmla="*/ 49 h 443"/>
              <a:gd name="T30" fmla="*/ 538 w 571"/>
              <a:gd name="T31" fmla="*/ 43 h 443"/>
              <a:gd name="T32" fmla="*/ 557 w 571"/>
              <a:gd name="T33" fmla="*/ 78 h 443"/>
              <a:gd name="T34" fmla="*/ 562 w 571"/>
              <a:gd name="T35" fmla="*/ 98 h 443"/>
              <a:gd name="T36" fmla="*/ 564 w 571"/>
              <a:gd name="T37" fmla="*/ 123 h 443"/>
              <a:gd name="T38" fmla="*/ 568 w 571"/>
              <a:gd name="T39" fmla="*/ 151 h 443"/>
              <a:gd name="T40" fmla="*/ 571 w 571"/>
              <a:gd name="T41" fmla="*/ 178 h 443"/>
              <a:gd name="T42" fmla="*/ 564 w 571"/>
              <a:gd name="T43" fmla="*/ 180 h 443"/>
              <a:gd name="T44" fmla="*/ 562 w 571"/>
              <a:gd name="T45" fmla="*/ 179 h 443"/>
              <a:gd name="T46" fmla="*/ 558 w 571"/>
              <a:gd name="T47" fmla="*/ 184 h 443"/>
              <a:gd name="T48" fmla="*/ 548 w 571"/>
              <a:gd name="T49" fmla="*/ 207 h 443"/>
              <a:gd name="T50" fmla="*/ 534 w 571"/>
              <a:gd name="T51" fmla="*/ 225 h 443"/>
              <a:gd name="T52" fmla="*/ 515 w 571"/>
              <a:gd name="T53" fmla="*/ 239 h 443"/>
              <a:gd name="T54" fmla="*/ 494 w 571"/>
              <a:gd name="T55" fmla="*/ 249 h 443"/>
              <a:gd name="T56" fmla="*/ 405 w 571"/>
              <a:gd name="T57" fmla="*/ 283 h 443"/>
              <a:gd name="T58" fmla="*/ 347 w 571"/>
              <a:gd name="T59" fmla="*/ 307 h 443"/>
              <a:gd name="T60" fmla="*/ 295 w 571"/>
              <a:gd name="T61" fmla="*/ 328 h 443"/>
              <a:gd name="T62" fmla="*/ 245 w 571"/>
              <a:gd name="T63" fmla="*/ 345 h 443"/>
              <a:gd name="T64" fmla="*/ 186 w 571"/>
              <a:gd name="T65" fmla="*/ 363 h 443"/>
              <a:gd name="T66" fmla="*/ 167 w 571"/>
              <a:gd name="T67" fmla="*/ 371 h 443"/>
              <a:gd name="T68" fmla="*/ 149 w 571"/>
              <a:gd name="T69" fmla="*/ 381 h 443"/>
              <a:gd name="T70" fmla="*/ 119 w 571"/>
              <a:gd name="T71" fmla="*/ 403 h 443"/>
              <a:gd name="T72" fmla="*/ 92 w 571"/>
              <a:gd name="T73" fmla="*/ 426 h 443"/>
              <a:gd name="T74" fmla="*/ 67 w 571"/>
              <a:gd name="T75" fmla="*/ 443 h 443"/>
              <a:gd name="T76" fmla="*/ 50 w 571"/>
              <a:gd name="T77" fmla="*/ 378 h 443"/>
              <a:gd name="T78" fmla="*/ 33 w 571"/>
              <a:gd name="T79" fmla="*/ 313 h 443"/>
              <a:gd name="T80" fmla="*/ 16 w 571"/>
              <a:gd name="T81" fmla="*/ 251 h 443"/>
              <a:gd name="T82" fmla="*/ 0 w 571"/>
              <a:gd name="T83" fmla="*/ 196 h 4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571" h="443">
                <a:moveTo>
                  <a:pt x="0" y="196"/>
                </a:moveTo>
                <a:lnTo>
                  <a:pt x="26" y="190"/>
                </a:lnTo>
                <a:lnTo>
                  <a:pt x="33" y="184"/>
                </a:lnTo>
                <a:lnTo>
                  <a:pt x="37" y="177"/>
                </a:lnTo>
                <a:lnTo>
                  <a:pt x="39" y="171"/>
                </a:lnTo>
                <a:lnTo>
                  <a:pt x="41" y="164"/>
                </a:lnTo>
                <a:lnTo>
                  <a:pt x="41" y="149"/>
                </a:lnTo>
                <a:lnTo>
                  <a:pt x="39" y="129"/>
                </a:lnTo>
                <a:lnTo>
                  <a:pt x="41" y="124"/>
                </a:lnTo>
                <a:lnTo>
                  <a:pt x="44" y="120"/>
                </a:lnTo>
                <a:lnTo>
                  <a:pt x="49" y="116"/>
                </a:lnTo>
                <a:lnTo>
                  <a:pt x="55" y="112"/>
                </a:lnTo>
                <a:lnTo>
                  <a:pt x="61" y="109"/>
                </a:lnTo>
                <a:lnTo>
                  <a:pt x="68" y="107"/>
                </a:lnTo>
                <a:lnTo>
                  <a:pt x="75" y="105"/>
                </a:lnTo>
                <a:lnTo>
                  <a:pt x="80" y="104"/>
                </a:lnTo>
                <a:lnTo>
                  <a:pt x="92" y="105"/>
                </a:lnTo>
                <a:lnTo>
                  <a:pt x="103" y="106"/>
                </a:lnTo>
                <a:lnTo>
                  <a:pt x="114" y="107"/>
                </a:lnTo>
                <a:lnTo>
                  <a:pt x="124" y="109"/>
                </a:lnTo>
                <a:lnTo>
                  <a:pt x="142" y="113"/>
                </a:lnTo>
                <a:lnTo>
                  <a:pt x="158" y="120"/>
                </a:lnTo>
                <a:lnTo>
                  <a:pt x="172" y="127"/>
                </a:lnTo>
                <a:lnTo>
                  <a:pt x="184" y="135"/>
                </a:lnTo>
                <a:lnTo>
                  <a:pt x="195" y="145"/>
                </a:lnTo>
                <a:lnTo>
                  <a:pt x="206" y="154"/>
                </a:lnTo>
                <a:lnTo>
                  <a:pt x="227" y="127"/>
                </a:lnTo>
                <a:lnTo>
                  <a:pt x="254" y="92"/>
                </a:lnTo>
                <a:lnTo>
                  <a:pt x="276" y="62"/>
                </a:lnTo>
                <a:lnTo>
                  <a:pt x="285" y="49"/>
                </a:lnTo>
                <a:lnTo>
                  <a:pt x="538" y="0"/>
                </a:lnTo>
                <a:lnTo>
                  <a:pt x="538" y="43"/>
                </a:lnTo>
                <a:lnTo>
                  <a:pt x="548" y="60"/>
                </a:lnTo>
                <a:lnTo>
                  <a:pt x="557" y="78"/>
                </a:lnTo>
                <a:lnTo>
                  <a:pt x="560" y="87"/>
                </a:lnTo>
                <a:lnTo>
                  <a:pt x="562" y="98"/>
                </a:lnTo>
                <a:lnTo>
                  <a:pt x="564" y="110"/>
                </a:lnTo>
                <a:lnTo>
                  <a:pt x="564" y="123"/>
                </a:lnTo>
                <a:lnTo>
                  <a:pt x="565" y="136"/>
                </a:lnTo>
                <a:lnTo>
                  <a:pt x="568" y="151"/>
                </a:lnTo>
                <a:lnTo>
                  <a:pt x="570" y="164"/>
                </a:lnTo>
                <a:lnTo>
                  <a:pt x="571" y="178"/>
                </a:lnTo>
                <a:lnTo>
                  <a:pt x="568" y="180"/>
                </a:lnTo>
                <a:lnTo>
                  <a:pt x="564" y="180"/>
                </a:lnTo>
                <a:lnTo>
                  <a:pt x="563" y="179"/>
                </a:lnTo>
                <a:lnTo>
                  <a:pt x="562" y="179"/>
                </a:lnTo>
                <a:lnTo>
                  <a:pt x="561" y="179"/>
                </a:lnTo>
                <a:lnTo>
                  <a:pt x="558" y="184"/>
                </a:lnTo>
                <a:lnTo>
                  <a:pt x="553" y="196"/>
                </a:lnTo>
                <a:lnTo>
                  <a:pt x="548" y="207"/>
                </a:lnTo>
                <a:lnTo>
                  <a:pt x="541" y="217"/>
                </a:lnTo>
                <a:lnTo>
                  <a:pt x="534" y="225"/>
                </a:lnTo>
                <a:lnTo>
                  <a:pt x="525" y="232"/>
                </a:lnTo>
                <a:lnTo>
                  <a:pt x="515" y="239"/>
                </a:lnTo>
                <a:lnTo>
                  <a:pt x="505" y="244"/>
                </a:lnTo>
                <a:lnTo>
                  <a:pt x="494" y="249"/>
                </a:lnTo>
                <a:lnTo>
                  <a:pt x="449" y="267"/>
                </a:lnTo>
                <a:lnTo>
                  <a:pt x="405" y="283"/>
                </a:lnTo>
                <a:lnTo>
                  <a:pt x="374" y="296"/>
                </a:lnTo>
                <a:lnTo>
                  <a:pt x="347" y="307"/>
                </a:lnTo>
                <a:lnTo>
                  <a:pt x="321" y="318"/>
                </a:lnTo>
                <a:lnTo>
                  <a:pt x="295" y="328"/>
                </a:lnTo>
                <a:lnTo>
                  <a:pt x="270" y="337"/>
                </a:lnTo>
                <a:lnTo>
                  <a:pt x="245" y="345"/>
                </a:lnTo>
                <a:lnTo>
                  <a:pt x="216" y="354"/>
                </a:lnTo>
                <a:lnTo>
                  <a:pt x="186" y="363"/>
                </a:lnTo>
                <a:lnTo>
                  <a:pt x="177" y="366"/>
                </a:lnTo>
                <a:lnTo>
                  <a:pt x="167" y="371"/>
                </a:lnTo>
                <a:lnTo>
                  <a:pt x="158" y="376"/>
                </a:lnTo>
                <a:lnTo>
                  <a:pt x="149" y="381"/>
                </a:lnTo>
                <a:lnTo>
                  <a:pt x="134" y="392"/>
                </a:lnTo>
                <a:lnTo>
                  <a:pt x="119" y="403"/>
                </a:lnTo>
                <a:lnTo>
                  <a:pt x="105" y="414"/>
                </a:lnTo>
                <a:lnTo>
                  <a:pt x="92" y="426"/>
                </a:lnTo>
                <a:lnTo>
                  <a:pt x="79" y="435"/>
                </a:lnTo>
                <a:lnTo>
                  <a:pt x="67" y="443"/>
                </a:lnTo>
                <a:lnTo>
                  <a:pt x="58" y="410"/>
                </a:lnTo>
                <a:lnTo>
                  <a:pt x="50" y="378"/>
                </a:lnTo>
                <a:lnTo>
                  <a:pt x="42" y="345"/>
                </a:lnTo>
                <a:lnTo>
                  <a:pt x="33" y="313"/>
                </a:lnTo>
                <a:lnTo>
                  <a:pt x="24" y="282"/>
                </a:lnTo>
                <a:lnTo>
                  <a:pt x="16" y="251"/>
                </a:lnTo>
                <a:lnTo>
                  <a:pt x="8" y="223"/>
                </a:lnTo>
                <a:lnTo>
                  <a:pt x="0" y="19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06" name="Freeform 258"/>
          <p:cNvSpPr>
            <a:spLocks/>
          </p:cNvSpPr>
          <p:nvPr>
            <p:custDataLst>
              <p:tags r:id="rId185"/>
            </p:custDataLst>
          </p:nvPr>
        </p:nvSpPr>
        <p:spPr bwMode="auto">
          <a:xfrm>
            <a:off x="6784975" y="2827338"/>
            <a:ext cx="120650" cy="120650"/>
          </a:xfrm>
          <a:custGeom>
            <a:avLst/>
            <a:gdLst>
              <a:gd name="T0" fmla="*/ 0 w 286"/>
              <a:gd name="T1" fmla="*/ 111 h 228"/>
              <a:gd name="T2" fmla="*/ 4 w 286"/>
              <a:gd name="T3" fmla="*/ 109 h 228"/>
              <a:gd name="T4" fmla="*/ 7 w 286"/>
              <a:gd name="T5" fmla="*/ 109 h 228"/>
              <a:gd name="T6" fmla="*/ 10 w 286"/>
              <a:gd name="T7" fmla="*/ 110 h 228"/>
              <a:gd name="T8" fmla="*/ 11 w 286"/>
              <a:gd name="T9" fmla="*/ 111 h 228"/>
              <a:gd name="T10" fmla="*/ 12 w 286"/>
              <a:gd name="T11" fmla="*/ 117 h 228"/>
              <a:gd name="T12" fmla="*/ 13 w 286"/>
              <a:gd name="T13" fmla="*/ 123 h 228"/>
              <a:gd name="T14" fmla="*/ 14 w 286"/>
              <a:gd name="T15" fmla="*/ 128 h 228"/>
              <a:gd name="T16" fmla="*/ 16 w 286"/>
              <a:gd name="T17" fmla="*/ 131 h 228"/>
              <a:gd name="T18" fmla="*/ 19 w 286"/>
              <a:gd name="T19" fmla="*/ 134 h 228"/>
              <a:gd name="T20" fmla="*/ 24 w 286"/>
              <a:gd name="T21" fmla="*/ 136 h 228"/>
              <a:gd name="T22" fmla="*/ 29 w 286"/>
              <a:gd name="T23" fmla="*/ 137 h 228"/>
              <a:gd name="T24" fmla="*/ 37 w 286"/>
              <a:gd name="T25" fmla="*/ 138 h 228"/>
              <a:gd name="T26" fmla="*/ 48 w 286"/>
              <a:gd name="T27" fmla="*/ 138 h 228"/>
              <a:gd name="T28" fmla="*/ 60 w 286"/>
              <a:gd name="T29" fmla="*/ 136 h 228"/>
              <a:gd name="T30" fmla="*/ 98 w 286"/>
              <a:gd name="T31" fmla="*/ 130 h 228"/>
              <a:gd name="T32" fmla="*/ 129 w 286"/>
              <a:gd name="T33" fmla="*/ 122 h 228"/>
              <a:gd name="T34" fmla="*/ 143 w 286"/>
              <a:gd name="T35" fmla="*/ 118 h 228"/>
              <a:gd name="T36" fmla="*/ 156 w 286"/>
              <a:gd name="T37" fmla="*/ 114 h 228"/>
              <a:gd name="T38" fmla="*/ 167 w 286"/>
              <a:gd name="T39" fmla="*/ 109 h 228"/>
              <a:gd name="T40" fmla="*/ 178 w 286"/>
              <a:gd name="T41" fmla="*/ 103 h 228"/>
              <a:gd name="T42" fmla="*/ 188 w 286"/>
              <a:gd name="T43" fmla="*/ 96 h 228"/>
              <a:gd name="T44" fmla="*/ 198 w 286"/>
              <a:gd name="T45" fmla="*/ 87 h 228"/>
              <a:gd name="T46" fmla="*/ 208 w 286"/>
              <a:gd name="T47" fmla="*/ 78 h 228"/>
              <a:gd name="T48" fmla="*/ 219 w 286"/>
              <a:gd name="T49" fmla="*/ 65 h 228"/>
              <a:gd name="T50" fmla="*/ 229 w 286"/>
              <a:gd name="T51" fmla="*/ 52 h 228"/>
              <a:gd name="T52" fmla="*/ 241 w 286"/>
              <a:gd name="T53" fmla="*/ 37 h 228"/>
              <a:gd name="T54" fmla="*/ 253 w 286"/>
              <a:gd name="T55" fmla="*/ 20 h 228"/>
              <a:gd name="T56" fmla="*/ 266 w 286"/>
              <a:gd name="T57" fmla="*/ 0 h 228"/>
              <a:gd name="T58" fmla="*/ 270 w 286"/>
              <a:gd name="T59" fmla="*/ 7 h 228"/>
              <a:gd name="T60" fmla="*/ 274 w 286"/>
              <a:gd name="T61" fmla="*/ 13 h 228"/>
              <a:gd name="T62" fmla="*/ 276 w 286"/>
              <a:gd name="T63" fmla="*/ 20 h 228"/>
              <a:gd name="T64" fmla="*/ 279 w 286"/>
              <a:gd name="T65" fmla="*/ 27 h 228"/>
              <a:gd name="T66" fmla="*/ 282 w 286"/>
              <a:gd name="T67" fmla="*/ 42 h 228"/>
              <a:gd name="T68" fmla="*/ 286 w 286"/>
              <a:gd name="T69" fmla="*/ 62 h 228"/>
              <a:gd name="T70" fmla="*/ 246 w 286"/>
              <a:gd name="T71" fmla="*/ 198 h 228"/>
              <a:gd name="T72" fmla="*/ 226 w 286"/>
              <a:gd name="T73" fmla="*/ 228 h 228"/>
              <a:gd name="T74" fmla="*/ 53 w 286"/>
              <a:gd name="T75" fmla="*/ 210 h 228"/>
              <a:gd name="T76" fmla="*/ 0 w 286"/>
              <a:gd name="T77" fmla="*/ 111 h 2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86" h="228">
                <a:moveTo>
                  <a:pt x="0" y="111"/>
                </a:moveTo>
                <a:lnTo>
                  <a:pt x="4" y="109"/>
                </a:lnTo>
                <a:lnTo>
                  <a:pt x="7" y="109"/>
                </a:lnTo>
                <a:lnTo>
                  <a:pt x="10" y="110"/>
                </a:lnTo>
                <a:lnTo>
                  <a:pt x="11" y="111"/>
                </a:lnTo>
                <a:lnTo>
                  <a:pt x="12" y="117"/>
                </a:lnTo>
                <a:lnTo>
                  <a:pt x="13" y="123"/>
                </a:lnTo>
                <a:lnTo>
                  <a:pt x="14" y="128"/>
                </a:lnTo>
                <a:lnTo>
                  <a:pt x="16" y="131"/>
                </a:lnTo>
                <a:lnTo>
                  <a:pt x="19" y="134"/>
                </a:lnTo>
                <a:lnTo>
                  <a:pt x="24" y="136"/>
                </a:lnTo>
                <a:lnTo>
                  <a:pt x="29" y="137"/>
                </a:lnTo>
                <a:lnTo>
                  <a:pt x="37" y="138"/>
                </a:lnTo>
                <a:lnTo>
                  <a:pt x="48" y="138"/>
                </a:lnTo>
                <a:lnTo>
                  <a:pt x="60" y="136"/>
                </a:lnTo>
                <a:lnTo>
                  <a:pt x="98" y="130"/>
                </a:lnTo>
                <a:lnTo>
                  <a:pt x="129" y="122"/>
                </a:lnTo>
                <a:lnTo>
                  <a:pt x="143" y="118"/>
                </a:lnTo>
                <a:lnTo>
                  <a:pt x="156" y="114"/>
                </a:lnTo>
                <a:lnTo>
                  <a:pt x="167" y="109"/>
                </a:lnTo>
                <a:lnTo>
                  <a:pt x="178" y="103"/>
                </a:lnTo>
                <a:lnTo>
                  <a:pt x="188" y="96"/>
                </a:lnTo>
                <a:lnTo>
                  <a:pt x="198" y="87"/>
                </a:lnTo>
                <a:lnTo>
                  <a:pt x="208" y="78"/>
                </a:lnTo>
                <a:lnTo>
                  <a:pt x="219" y="65"/>
                </a:lnTo>
                <a:lnTo>
                  <a:pt x="229" y="52"/>
                </a:lnTo>
                <a:lnTo>
                  <a:pt x="241" y="37"/>
                </a:lnTo>
                <a:lnTo>
                  <a:pt x="253" y="20"/>
                </a:lnTo>
                <a:lnTo>
                  <a:pt x="266" y="0"/>
                </a:lnTo>
                <a:lnTo>
                  <a:pt x="270" y="7"/>
                </a:lnTo>
                <a:lnTo>
                  <a:pt x="274" y="13"/>
                </a:lnTo>
                <a:lnTo>
                  <a:pt x="276" y="20"/>
                </a:lnTo>
                <a:lnTo>
                  <a:pt x="279" y="27"/>
                </a:lnTo>
                <a:lnTo>
                  <a:pt x="282" y="42"/>
                </a:lnTo>
                <a:lnTo>
                  <a:pt x="286" y="62"/>
                </a:lnTo>
                <a:lnTo>
                  <a:pt x="246" y="198"/>
                </a:lnTo>
                <a:lnTo>
                  <a:pt x="226" y="228"/>
                </a:lnTo>
                <a:lnTo>
                  <a:pt x="53" y="210"/>
                </a:lnTo>
                <a:lnTo>
                  <a:pt x="0" y="11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07" name="Freeform 259"/>
          <p:cNvSpPr>
            <a:spLocks/>
          </p:cNvSpPr>
          <p:nvPr>
            <p:custDataLst>
              <p:tags r:id="rId186"/>
            </p:custDataLst>
          </p:nvPr>
        </p:nvSpPr>
        <p:spPr bwMode="auto">
          <a:xfrm>
            <a:off x="6472238" y="2479676"/>
            <a:ext cx="222250" cy="263525"/>
          </a:xfrm>
          <a:custGeom>
            <a:avLst/>
            <a:gdLst>
              <a:gd name="T0" fmla="*/ 478 w 524"/>
              <a:gd name="T1" fmla="*/ 370 h 505"/>
              <a:gd name="T2" fmla="*/ 484 w 524"/>
              <a:gd name="T3" fmla="*/ 346 h 505"/>
              <a:gd name="T4" fmla="*/ 483 w 524"/>
              <a:gd name="T5" fmla="*/ 329 h 505"/>
              <a:gd name="T6" fmla="*/ 478 w 524"/>
              <a:gd name="T7" fmla="*/ 302 h 505"/>
              <a:gd name="T8" fmla="*/ 455 w 524"/>
              <a:gd name="T9" fmla="*/ 299 h 505"/>
              <a:gd name="T10" fmla="*/ 431 w 524"/>
              <a:gd name="T11" fmla="*/ 288 h 505"/>
              <a:gd name="T12" fmla="*/ 407 w 524"/>
              <a:gd name="T13" fmla="*/ 274 h 505"/>
              <a:gd name="T14" fmla="*/ 386 w 524"/>
              <a:gd name="T15" fmla="*/ 256 h 505"/>
              <a:gd name="T16" fmla="*/ 366 w 524"/>
              <a:gd name="T17" fmla="*/ 237 h 505"/>
              <a:gd name="T18" fmla="*/ 352 w 524"/>
              <a:gd name="T19" fmla="*/ 216 h 505"/>
              <a:gd name="T20" fmla="*/ 342 w 524"/>
              <a:gd name="T21" fmla="*/ 196 h 505"/>
              <a:gd name="T22" fmla="*/ 339 w 524"/>
              <a:gd name="T23" fmla="*/ 178 h 505"/>
              <a:gd name="T24" fmla="*/ 341 w 524"/>
              <a:gd name="T25" fmla="*/ 162 h 505"/>
              <a:gd name="T26" fmla="*/ 349 w 524"/>
              <a:gd name="T27" fmla="*/ 150 h 505"/>
              <a:gd name="T28" fmla="*/ 365 w 524"/>
              <a:gd name="T29" fmla="*/ 136 h 505"/>
              <a:gd name="T30" fmla="*/ 354 w 524"/>
              <a:gd name="T31" fmla="*/ 130 h 505"/>
              <a:gd name="T32" fmla="*/ 341 w 524"/>
              <a:gd name="T33" fmla="*/ 119 h 505"/>
              <a:gd name="T34" fmla="*/ 315 w 524"/>
              <a:gd name="T35" fmla="*/ 87 h 505"/>
              <a:gd name="T36" fmla="*/ 292 w 524"/>
              <a:gd name="T37" fmla="*/ 51 h 505"/>
              <a:gd name="T38" fmla="*/ 279 w 524"/>
              <a:gd name="T39" fmla="*/ 25 h 505"/>
              <a:gd name="T40" fmla="*/ 260 w 524"/>
              <a:gd name="T41" fmla="*/ 24 h 505"/>
              <a:gd name="T42" fmla="*/ 239 w 524"/>
              <a:gd name="T43" fmla="*/ 19 h 505"/>
              <a:gd name="T44" fmla="*/ 219 w 524"/>
              <a:gd name="T45" fmla="*/ 11 h 505"/>
              <a:gd name="T46" fmla="*/ 197 w 524"/>
              <a:gd name="T47" fmla="*/ 6 h 505"/>
              <a:gd name="T48" fmla="*/ 170 w 524"/>
              <a:gd name="T49" fmla="*/ 3 h 505"/>
              <a:gd name="T50" fmla="*/ 149 w 524"/>
              <a:gd name="T51" fmla="*/ 8 h 505"/>
              <a:gd name="T52" fmla="*/ 114 w 524"/>
              <a:gd name="T53" fmla="*/ 41 h 505"/>
              <a:gd name="T54" fmla="*/ 98 w 524"/>
              <a:gd name="T55" fmla="*/ 57 h 505"/>
              <a:gd name="T56" fmla="*/ 93 w 524"/>
              <a:gd name="T57" fmla="*/ 64 h 505"/>
              <a:gd name="T58" fmla="*/ 94 w 524"/>
              <a:gd name="T59" fmla="*/ 94 h 505"/>
              <a:gd name="T60" fmla="*/ 95 w 524"/>
              <a:gd name="T61" fmla="*/ 140 h 505"/>
              <a:gd name="T62" fmla="*/ 94 w 524"/>
              <a:gd name="T63" fmla="*/ 164 h 505"/>
              <a:gd name="T64" fmla="*/ 86 w 524"/>
              <a:gd name="T65" fmla="*/ 180 h 505"/>
              <a:gd name="T66" fmla="*/ 67 w 524"/>
              <a:gd name="T67" fmla="*/ 197 h 505"/>
              <a:gd name="T68" fmla="*/ 40 w 524"/>
              <a:gd name="T69" fmla="*/ 214 h 505"/>
              <a:gd name="T70" fmla="*/ 13 w 524"/>
              <a:gd name="T71" fmla="*/ 228 h 505"/>
              <a:gd name="T72" fmla="*/ 2 w 524"/>
              <a:gd name="T73" fmla="*/ 246 h 505"/>
              <a:gd name="T74" fmla="*/ 2 w 524"/>
              <a:gd name="T75" fmla="*/ 264 h 505"/>
              <a:gd name="T76" fmla="*/ 0 w 524"/>
              <a:gd name="T77" fmla="*/ 278 h 505"/>
              <a:gd name="T78" fmla="*/ 0 w 524"/>
              <a:gd name="T79" fmla="*/ 289 h 505"/>
              <a:gd name="T80" fmla="*/ 7 w 524"/>
              <a:gd name="T81" fmla="*/ 301 h 505"/>
              <a:gd name="T82" fmla="*/ 26 w 524"/>
              <a:gd name="T83" fmla="*/ 314 h 505"/>
              <a:gd name="T84" fmla="*/ 62 w 524"/>
              <a:gd name="T85" fmla="*/ 331 h 505"/>
              <a:gd name="T86" fmla="*/ 120 w 524"/>
              <a:gd name="T87" fmla="*/ 355 h 505"/>
              <a:gd name="T88" fmla="*/ 180 w 524"/>
              <a:gd name="T89" fmla="*/ 374 h 505"/>
              <a:gd name="T90" fmla="*/ 214 w 524"/>
              <a:gd name="T91" fmla="*/ 385 h 505"/>
              <a:gd name="T92" fmla="*/ 237 w 524"/>
              <a:gd name="T93" fmla="*/ 400 h 505"/>
              <a:gd name="T94" fmla="*/ 252 w 524"/>
              <a:gd name="T95" fmla="*/ 418 h 505"/>
              <a:gd name="T96" fmla="*/ 262 w 524"/>
              <a:gd name="T97" fmla="*/ 435 h 505"/>
              <a:gd name="T98" fmla="*/ 266 w 524"/>
              <a:gd name="T99" fmla="*/ 451 h 505"/>
              <a:gd name="T100" fmla="*/ 270 w 524"/>
              <a:gd name="T101" fmla="*/ 469 h 505"/>
              <a:gd name="T102" fmla="*/ 277 w 524"/>
              <a:gd name="T103" fmla="*/ 481 h 505"/>
              <a:gd name="T104" fmla="*/ 287 w 524"/>
              <a:gd name="T105" fmla="*/ 489 h 505"/>
              <a:gd name="T106" fmla="*/ 307 w 524"/>
              <a:gd name="T107" fmla="*/ 497 h 505"/>
              <a:gd name="T108" fmla="*/ 328 w 524"/>
              <a:gd name="T109" fmla="*/ 503 h 505"/>
              <a:gd name="T110" fmla="*/ 335 w 524"/>
              <a:gd name="T111" fmla="*/ 500 h 505"/>
              <a:gd name="T112" fmla="*/ 346 w 524"/>
              <a:gd name="T113" fmla="*/ 499 h 505"/>
              <a:gd name="T114" fmla="*/ 366 w 524"/>
              <a:gd name="T115" fmla="*/ 503 h 505"/>
              <a:gd name="T116" fmla="*/ 383 w 524"/>
              <a:gd name="T117" fmla="*/ 505 h 505"/>
              <a:gd name="T118" fmla="*/ 437 w 524"/>
              <a:gd name="T119" fmla="*/ 505 h 505"/>
              <a:gd name="T120" fmla="*/ 465 w 524"/>
              <a:gd name="T121" fmla="*/ 449 h 505"/>
              <a:gd name="T122" fmla="*/ 492 w 524"/>
              <a:gd name="T123" fmla="*/ 437 h 5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24" h="505">
                <a:moveTo>
                  <a:pt x="524" y="419"/>
                </a:moveTo>
                <a:lnTo>
                  <a:pt x="478" y="370"/>
                </a:lnTo>
                <a:lnTo>
                  <a:pt x="482" y="357"/>
                </a:lnTo>
                <a:lnTo>
                  <a:pt x="484" y="346"/>
                </a:lnTo>
                <a:lnTo>
                  <a:pt x="484" y="336"/>
                </a:lnTo>
                <a:lnTo>
                  <a:pt x="483" y="329"/>
                </a:lnTo>
                <a:lnTo>
                  <a:pt x="479" y="315"/>
                </a:lnTo>
                <a:lnTo>
                  <a:pt x="478" y="302"/>
                </a:lnTo>
                <a:lnTo>
                  <a:pt x="466" y="301"/>
                </a:lnTo>
                <a:lnTo>
                  <a:pt x="455" y="299"/>
                </a:lnTo>
                <a:lnTo>
                  <a:pt x="443" y="295"/>
                </a:lnTo>
                <a:lnTo>
                  <a:pt x="431" y="288"/>
                </a:lnTo>
                <a:lnTo>
                  <a:pt x="419" y="282"/>
                </a:lnTo>
                <a:lnTo>
                  <a:pt x="407" y="274"/>
                </a:lnTo>
                <a:lnTo>
                  <a:pt x="396" y="266"/>
                </a:lnTo>
                <a:lnTo>
                  <a:pt x="386" y="256"/>
                </a:lnTo>
                <a:lnTo>
                  <a:pt x="376" y="247"/>
                </a:lnTo>
                <a:lnTo>
                  <a:pt x="366" y="237"/>
                </a:lnTo>
                <a:lnTo>
                  <a:pt x="359" y="226"/>
                </a:lnTo>
                <a:lnTo>
                  <a:pt x="352" y="216"/>
                </a:lnTo>
                <a:lnTo>
                  <a:pt x="347" y="206"/>
                </a:lnTo>
                <a:lnTo>
                  <a:pt x="342" y="196"/>
                </a:lnTo>
                <a:lnTo>
                  <a:pt x="339" y="187"/>
                </a:lnTo>
                <a:lnTo>
                  <a:pt x="339" y="178"/>
                </a:lnTo>
                <a:lnTo>
                  <a:pt x="339" y="170"/>
                </a:lnTo>
                <a:lnTo>
                  <a:pt x="341" y="162"/>
                </a:lnTo>
                <a:lnTo>
                  <a:pt x="346" y="156"/>
                </a:lnTo>
                <a:lnTo>
                  <a:pt x="349" y="150"/>
                </a:lnTo>
                <a:lnTo>
                  <a:pt x="358" y="142"/>
                </a:lnTo>
                <a:lnTo>
                  <a:pt x="365" y="136"/>
                </a:lnTo>
                <a:lnTo>
                  <a:pt x="360" y="134"/>
                </a:lnTo>
                <a:lnTo>
                  <a:pt x="354" y="130"/>
                </a:lnTo>
                <a:lnTo>
                  <a:pt x="348" y="126"/>
                </a:lnTo>
                <a:lnTo>
                  <a:pt x="341" y="119"/>
                </a:lnTo>
                <a:lnTo>
                  <a:pt x="328" y="104"/>
                </a:lnTo>
                <a:lnTo>
                  <a:pt x="315" y="87"/>
                </a:lnTo>
                <a:lnTo>
                  <a:pt x="302" y="69"/>
                </a:lnTo>
                <a:lnTo>
                  <a:pt x="292" y="51"/>
                </a:lnTo>
                <a:lnTo>
                  <a:pt x="283" y="36"/>
                </a:lnTo>
                <a:lnTo>
                  <a:pt x="279" y="25"/>
                </a:lnTo>
                <a:lnTo>
                  <a:pt x="272" y="25"/>
                </a:lnTo>
                <a:lnTo>
                  <a:pt x="260" y="24"/>
                </a:lnTo>
                <a:lnTo>
                  <a:pt x="249" y="22"/>
                </a:lnTo>
                <a:lnTo>
                  <a:pt x="239" y="19"/>
                </a:lnTo>
                <a:lnTo>
                  <a:pt x="229" y="16"/>
                </a:lnTo>
                <a:lnTo>
                  <a:pt x="219" y="11"/>
                </a:lnTo>
                <a:lnTo>
                  <a:pt x="208" y="9"/>
                </a:lnTo>
                <a:lnTo>
                  <a:pt x="197" y="6"/>
                </a:lnTo>
                <a:lnTo>
                  <a:pt x="185" y="6"/>
                </a:lnTo>
                <a:lnTo>
                  <a:pt x="170" y="3"/>
                </a:lnTo>
                <a:lnTo>
                  <a:pt x="159" y="0"/>
                </a:lnTo>
                <a:lnTo>
                  <a:pt x="149" y="8"/>
                </a:lnTo>
                <a:lnTo>
                  <a:pt x="126" y="29"/>
                </a:lnTo>
                <a:lnTo>
                  <a:pt x="114" y="41"/>
                </a:lnTo>
                <a:lnTo>
                  <a:pt x="103" y="52"/>
                </a:lnTo>
                <a:lnTo>
                  <a:pt x="98" y="57"/>
                </a:lnTo>
                <a:lnTo>
                  <a:pt x="95" y="61"/>
                </a:lnTo>
                <a:lnTo>
                  <a:pt x="93" y="64"/>
                </a:lnTo>
                <a:lnTo>
                  <a:pt x="93" y="68"/>
                </a:lnTo>
                <a:lnTo>
                  <a:pt x="94" y="94"/>
                </a:lnTo>
                <a:lnTo>
                  <a:pt x="95" y="125"/>
                </a:lnTo>
                <a:lnTo>
                  <a:pt x="95" y="140"/>
                </a:lnTo>
                <a:lnTo>
                  <a:pt x="95" y="153"/>
                </a:lnTo>
                <a:lnTo>
                  <a:pt x="94" y="164"/>
                </a:lnTo>
                <a:lnTo>
                  <a:pt x="93" y="172"/>
                </a:lnTo>
                <a:lnTo>
                  <a:pt x="86" y="180"/>
                </a:lnTo>
                <a:lnTo>
                  <a:pt x="78" y="188"/>
                </a:lnTo>
                <a:lnTo>
                  <a:pt x="67" y="197"/>
                </a:lnTo>
                <a:lnTo>
                  <a:pt x="53" y="206"/>
                </a:lnTo>
                <a:lnTo>
                  <a:pt x="40" y="214"/>
                </a:lnTo>
                <a:lnTo>
                  <a:pt x="26" y="222"/>
                </a:lnTo>
                <a:lnTo>
                  <a:pt x="13" y="228"/>
                </a:lnTo>
                <a:lnTo>
                  <a:pt x="0" y="235"/>
                </a:lnTo>
                <a:lnTo>
                  <a:pt x="2" y="246"/>
                </a:lnTo>
                <a:lnTo>
                  <a:pt x="3" y="256"/>
                </a:lnTo>
                <a:lnTo>
                  <a:pt x="2" y="264"/>
                </a:lnTo>
                <a:lnTo>
                  <a:pt x="1" y="272"/>
                </a:lnTo>
                <a:lnTo>
                  <a:pt x="0" y="278"/>
                </a:lnTo>
                <a:lnTo>
                  <a:pt x="0" y="284"/>
                </a:lnTo>
                <a:lnTo>
                  <a:pt x="0" y="289"/>
                </a:lnTo>
                <a:lnTo>
                  <a:pt x="2" y="295"/>
                </a:lnTo>
                <a:lnTo>
                  <a:pt x="7" y="301"/>
                </a:lnTo>
                <a:lnTo>
                  <a:pt x="15" y="307"/>
                </a:lnTo>
                <a:lnTo>
                  <a:pt x="26" y="314"/>
                </a:lnTo>
                <a:lnTo>
                  <a:pt x="41" y="321"/>
                </a:lnTo>
                <a:lnTo>
                  <a:pt x="62" y="331"/>
                </a:lnTo>
                <a:lnTo>
                  <a:pt x="89" y="341"/>
                </a:lnTo>
                <a:lnTo>
                  <a:pt x="120" y="355"/>
                </a:lnTo>
                <a:lnTo>
                  <a:pt x="159" y="370"/>
                </a:lnTo>
                <a:lnTo>
                  <a:pt x="180" y="374"/>
                </a:lnTo>
                <a:lnTo>
                  <a:pt x="198" y="379"/>
                </a:lnTo>
                <a:lnTo>
                  <a:pt x="214" y="385"/>
                </a:lnTo>
                <a:lnTo>
                  <a:pt x="226" y="393"/>
                </a:lnTo>
                <a:lnTo>
                  <a:pt x="237" y="400"/>
                </a:lnTo>
                <a:lnTo>
                  <a:pt x="246" y="410"/>
                </a:lnTo>
                <a:lnTo>
                  <a:pt x="252" y="418"/>
                </a:lnTo>
                <a:lnTo>
                  <a:pt x="258" y="427"/>
                </a:lnTo>
                <a:lnTo>
                  <a:pt x="262" y="435"/>
                </a:lnTo>
                <a:lnTo>
                  <a:pt x="265" y="443"/>
                </a:lnTo>
                <a:lnTo>
                  <a:pt x="266" y="451"/>
                </a:lnTo>
                <a:lnTo>
                  <a:pt x="269" y="458"/>
                </a:lnTo>
                <a:lnTo>
                  <a:pt x="270" y="469"/>
                </a:lnTo>
                <a:lnTo>
                  <a:pt x="272" y="475"/>
                </a:lnTo>
                <a:lnTo>
                  <a:pt x="277" y="481"/>
                </a:lnTo>
                <a:lnTo>
                  <a:pt x="282" y="485"/>
                </a:lnTo>
                <a:lnTo>
                  <a:pt x="287" y="489"/>
                </a:lnTo>
                <a:lnTo>
                  <a:pt x="294" y="492"/>
                </a:lnTo>
                <a:lnTo>
                  <a:pt x="307" y="497"/>
                </a:lnTo>
                <a:lnTo>
                  <a:pt x="325" y="505"/>
                </a:lnTo>
                <a:lnTo>
                  <a:pt x="328" y="503"/>
                </a:lnTo>
                <a:lnTo>
                  <a:pt x="331" y="501"/>
                </a:lnTo>
                <a:lnTo>
                  <a:pt x="335" y="500"/>
                </a:lnTo>
                <a:lnTo>
                  <a:pt x="338" y="500"/>
                </a:lnTo>
                <a:lnTo>
                  <a:pt x="346" y="499"/>
                </a:lnTo>
                <a:lnTo>
                  <a:pt x="353" y="500"/>
                </a:lnTo>
                <a:lnTo>
                  <a:pt x="366" y="503"/>
                </a:lnTo>
                <a:lnTo>
                  <a:pt x="372" y="505"/>
                </a:lnTo>
                <a:lnTo>
                  <a:pt x="383" y="505"/>
                </a:lnTo>
                <a:lnTo>
                  <a:pt x="407" y="505"/>
                </a:lnTo>
                <a:lnTo>
                  <a:pt x="437" y="505"/>
                </a:lnTo>
                <a:lnTo>
                  <a:pt x="458" y="505"/>
                </a:lnTo>
                <a:lnTo>
                  <a:pt x="465" y="449"/>
                </a:lnTo>
                <a:lnTo>
                  <a:pt x="478" y="443"/>
                </a:lnTo>
                <a:lnTo>
                  <a:pt x="492" y="437"/>
                </a:lnTo>
                <a:lnTo>
                  <a:pt x="524" y="4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08" name="Freeform 260"/>
          <p:cNvSpPr>
            <a:spLocks/>
          </p:cNvSpPr>
          <p:nvPr>
            <p:custDataLst>
              <p:tags r:id="rId187"/>
            </p:custDataLst>
          </p:nvPr>
        </p:nvSpPr>
        <p:spPr bwMode="auto">
          <a:xfrm>
            <a:off x="6972300" y="2439988"/>
            <a:ext cx="331788" cy="290512"/>
          </a:xfrm>
          <a:custGeom>
            <a:avLst/>
            <a:gdLst>
              <a:gd name="T0" fmla="*/ 62 w 764"/>
              <a:gd name="T1" fmla="*/ 196 h 555"/>
              <a:gd name="T2" fmla="*/ 93 w 764"/>
              <a:gd name="T3" fmla="*/ 190 h 555"/>
              <a:gd name="T4" fmla="*/ 128 w 764"/>
              <a:gd name="T5" fmla="*/ 182 h 555"/>
              <a:gd name="T6" fmla="*/ 175 w 764"/>
              <a:gd name="T7" fmla="*/ 151 h 555"/>
              <a:gd name="T8" fmla="*/ 194 w 764"/>
              <a:gd name="T9" fmla="*/ 126 h 555"/>
              <a:gd name="T10" fmla="*/ 199 w 764"/>
              <a:gd name="T11" fmla="*/ 88 h 555"/>
              <a:gd name="T12" fmla="*/ 208 w 764"/>
              <a:gd name="T13" fmla="*/ 69 h 555"/>
              <a:gd name="T14" fmla="*/ 240 w 764"/>
              <a:gd name="T15" fmla="*/ 60 h 555"/>
              <a:gd name="T16" fmla="*/ 294 w 764"/>
              <a:gd name="T17" fmla="*/ 62 h 555"/>
              <a:gd name="T18" fmla="*/ 329 w 764"/>
              <a:gd name="T19" fmla="*/ 71 h 555"/>
              <a:gd name="T20" fmla="*/ 362 w 764"/>
              <a:gd name="T21" fmla="*/ 90 h 555"/>
              <a:gd name="T22" fmla="*/ 386 w 764"/>
              <a:gd name="T23" fmla="*/ 93 h 555"/>
              <a:gd name="T24" fmla="*/ 419 w 764"/>
              <a:gd name="T25" fmla="*/ 84 h 555"/>
              <a:gd name="T26" fmla="*/ 460 w 764"/>
              <a:gd name="T27" fmla="*/ 61 h 555"/>
              <a:gd name="T28" fmla="*/ 479 w 764"/>
              <a:gd name="T29" fmla="*/ 33 h 555"/>
              <a:gd name="T30" fmla="*/ 508 w 764"/>
              <a:gd name="T31" fmla="*/ 4 h 555"/>
              <a:gd name="T32" fmla="*/ 530 w 764"/>
              <a:gd name="T33" fmla="*/ 19 h 555"/>
              <a:gd name="T34" fmla="*/ 550 w 764"/>
              <a:gd name="T35" fmla="*/ 45 h 555"/>
              <a:gd name="T36" fmla="*/ 561 w 764"/>
              <a:gd name="T37" fmla="*/ 87 h 555"/>
              <a:gd name="T38" fmla="*/ 570 w 764"/>
              <a:gd name="T39" fmla="*/ 101 h 555"/>
              <a:gd name="T40" fmla="*/ 589 w 764"/>
              <a:gd name="T41" fmla="*/ 104 h 555"/>
              <a:gd name="T42" fmla="*/ 622 w 764"/>
              <a:gd name="T43" fmla="*/ 73 h 555"/>
              <a:gd name="T44" fmla="*/ 743 w 764"/>
              <a:gd name="T45" fmla="*/ 66 h 555"/>
              <a:gd name="T46" fmla="*/ 759 w 764"/>
              <a:gd name="T47" fmla="*/ 87 h 555"/>
              <a:gd name="T48" fmla="*/ 679 w 764"/>
              <a:gd name="T49" fmla="*/ 100 h 555"/>
              <a:gd name="T50" fmla="*/ 605 w 764"/>
              <a:gd name="T51" fmla="*/ 112 h 555"/>
              <a:gd name="T52" fmla="*/ 574 w 764"/>
              <a:gd name="T53" fmla="*/ 130 h 555"/>
              <a:gd name="T54" fmla="*/ 571 w 764"/>
              <a:gd name="T55" fmla="*/ 147 h 555"/>
              <a:gd name="T56" fmla="*/ 582 w 764"/>
              <a:gd name="T57" fmla="*/ 164 h 555"/>
              <a:gd name="T58" fmla="*/ 601 w 764"/>
              <a:gd name="T59" fmla="*/ 180 h 555"/>
              <a:gd name="T60" fmla="*/ 604 w 764"/>
              <a:gd name="T61" fmla="*/ 195 h 555"/>
              <a:gd name="T62" fmla="*/ 594 w 764"/>
              <a:gd name="T63" fmla="*/ 213 h 555"/>
              <a:gd name="T64" fmla="*/ 574 w 764"/>
              <a:gd name="T65" fmla="*/ 237 h 555"/>
              <a:gd name="T66" fmla="*/ 565 w 764"/>
              <a:gd name="T67" fmla="*/ 255 h 555"/>
              <a:gd name="T68" fmla="*/ 542 w 764"/>
              <a:gd name="T69" fmla="*/ 269 h 555"/>
              <a:gd name="T70" fmla="*/ 519 w 764"/>
              <a:gd name="T71" fmla="*/ 310 h 555"/>
              <a:gd name="T72" fmla="*/ 508 w 764"/>
              <a:gd name="T73" fmla="*/ 363 h 555"/>
              <a:gd name="T74" fmla="*/ 497 w 764"/>
              <a:gd name="T75" fmla="*/ 425 h 555"/>
              <a:gd name="T76" fmla="*/ 477 w 764"/>
              <a:gd name="T77" fmla="*/ 412 h 555"/>
              <a:gd name="T78" fmla="*/ 460 w 764"/>
              <a:gd name="T79" fmla="*/ 407 h 555"/>
              <a:gd name="T80" fmla="*/ 439 w 764"/>
              <a:gd name="T81" fmla="*/ 418 h 555"/>
              <a:gd name="T82" fmla="*/ 411 w 764"/>
              <a:gd name="T83" fmla="*/ 440 h 555"/>
              <a:gd name="T84" fmla="*/ 393 w 764"/>
              <a:gd name="T85" fmla="*/ 444 h 555"/>
              <a:gd name="T86" fmla="*/ 375 w 764"/>
              <a:gd name="T87" fmla="*/ 463 h 555"/>
              <a:gd name="T88" fmla="*/ 365 w 764"/>
              <a:gd name="T89" fmla="*/ 511 h 555"/>
              <a:gd name="T90" fmla="*/ 350 w 764"/>
              <a:gd name="T91" fmla="*/ 525 h 555"/>
              <a:gd name="T92" fmla="*/ 270 w 764"/>
              <a:gd name="T93" fmla="*/ 546 h 555"/>
              <a:gd name="T94" fmla="*/ 194 w 764"/>
              <a:gd name="T95" fmla="*/ 554 h 555"/>
              <a:gd name="T96" fmla="*/ 113 w 764"/>
              <a:gd name="T97" fmla="*/ 542 h 555"/>
              <a:gd name="T98" fmla="*/ 95 w 764"/>
              <a:gd name="T99" fmla="*/ 518 h 555"/>
              <a:gd name="T100" fmla="*/ 115 w 764"/>
              <a:gd name="T101" fmla="*/ 488 h 555"/>
              <a:gd name="T102" fmla="*/ 125 w 764"/>
              <a:gd name="T103" fmla="*/ 462 h 555"/>
              <a:gd name="T104" fmla="*/ 123 w 764"/>
              <a:gd name="T105" fmla="*/ 442 h 555"/>
              <a:gd name="T106" fmla="*/ 111 w 764"/>
              <a:gd name="T107" fmla="*/ 433 h 555"/>
              <a:gd name="T108" fmla="*/ 69 w 764"/>
              <a:gd name="T109" fmla="*/ 431 h 555"/>
              <a:gd name="T110" fmla="*/ 52 w 764"/>
              <a:gd name="T111" fmla="*/ 421 h 555"/>
              <a:gd name="T112" fmla="*/ 34 w 764"/>
              <a:gd name="T113" fmla="*/ 384 h 555"/>
              <a:gd name="T114" fmla="*/ 19 w 764"/>
              <a:gd name="T115" fmla="*/ 309 h 555"/>
              <a:gd name="T116" fmla="*/ 10 w 764"/>
              <a:gd name="T117" fmla="*/ 291 h 555"/>
              <a:gd name="T118" fmla="*/ 0 w 764"/>
              <a:gd name="T119" fmla="*/ 280 h 555"/>
              <a:gd name="T120" fmla="*/ 2 w 764"/>
              <a:gd name="T121" fmla="*/ 268 h 555"/>
              <a:gd name="T122" fmla="*/ 22 w 764"/>
              <a:gd name="T123" fmla="*/ 248 h 555"/>
              <a:gd name="T124" fmla="*/ 34 w 764"/>
              <a:gd name="T125" fmla="*/ 221 h 5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764" h="555">
                <a:moveTo>
                  <a:pt x="39" y="191"/>
                </a:moveTo>
                <a:lnTo>
                  <a:pt x="48" y="194"/>
                </a:lnTo>
                <a:lnTo>
                  <a:pt x="56" y="196"/>
                </a:lnTo>
                <a:lnTo>
                  <a:pt x="62" y="196"/>
                </a:lnTo>
                <a:lnTo>
                  <a:pt x="68" y="195"/>
                </a:lnTo>
                <a:lnTo>
                  <a:pt x="77" y="192"/>
                </a:lnTo>
                <a:lnTo>
                  <a:pt x="85" y="191"/>
                </a:lnTo>
                <a:lnTo>
                  <a:pt x="93" y="190"/>
                </a:lnTo>
                <a:lnTo>
                  <a:pt x="101" y="190"/>
                </a:lnTo>
                <a:lnTo>
                  <a:pt x="107" y="188"/>
                </a:lnTo>
                <a:lnTo>
                  <a:pt x="114" y="186"/>
                </a:lnTo>
                <a:lnTo>
                  <a:pt x="128" y="182"/>
                </a:lnTo>
                <a:lnTo>
                  <a:pt x="140" y="175"/>
                </a:lnTo>
                <a:lnTo>
                  <a:pt x="152" y="168"/>
                </a:lnTo>
                <a:lnTo>
                  <a:pt x="164" y="160"/>
                </a:lnTo>
                <a:lnTo>
                  <a:pt x="175" y="151"/>
                </a:lnTo>
                <a:lnTo>
                  <a:pt x="185" y="142"/>
                </a:lnTo>
                <a:lnTo>
                  <a:pt x="189" y="136"/>
                </a:lnTo>
                <a:lnTo>
                  <a:pt x="192" y="131"/>
                </a:lnTo>
                <a:lnTo>
                  <a:pt x="194" y="126"/>
                </a:lnTo>
                <a:lnTo>
                  <a:pt x="195" y="120"/>
                </a:lnTo>
                <a:lnTo>
                  <a:pt x="197" y="109"/>
                </a:lnTo>
                <a:lnTo>
                  <a:pt x="198" y="98"/>
                </a:lnTo>
                <a:lnTo>
                  <a:pt x="199" y="88"/>
                </a:lnTo>
                <a:lnTo>
                  <a:pt x="202" y="78"/>
                </a:lnTo>
                <a:lnTo>
                  <a:pt x="204" y="74"/>
                </a:lnTo>
                <a:lnTo>
                  <a:pt x="206" y="71"/>
                </a:lnTo>
                <a:lnTo>
                  <a:pt x="208" y="69"/>
                </a:lnTo>
                <a:lnTo>
                  <a:pt x="212" y="68"/>
                </a:lnTo>
                <a:lnTo>
                  <a:pt x="221" y="64"/>
                </a:lnTo>
                <a:lnTo>
                  <a:pt x="231" y="62"/>
                </a:lnTo>
                <a:lnTo>
                  <a:pt x="240" y="60"/>
                </a:lnTo>
                <a:lnTo>
                  <a:pt x="249" y="60"/>
                </a:lnTo>
                <a:lnTo>
                  <a:pt x="266" y="61"/>
                </a:lnTo>
                <a:lnTo>
                  <a:pt x="285" y="61"/>
                </a:lnTo>
                <a:lnTo>
                  <a:pt x="294" y="62"/>
                </a:lnTo>
                <a:lnTo>
                  <a:pt x="303" y="63"/>
                </a:lnTo>
                <a:lnTo>
                  <a:pt x="310" y="64"/>
                </a:lnTo>
                <a:lnTo>
                  <a:pt x="317" y="66"/>
                </a:lnTo>
                <a:lnTo>
                  <a:pt x="329" y="71"/>
                </a:lnTo>
                <a:lnTo>
                  <a:pt x="339" y="77"/>
                </a:lnTo>
                <a:lnTo>
                  <a:pt x="348" y="82"/>
                </a:lnTo>
                <a:lnTo>
                  <a:pt x="357" y="88"/>
                </a:lnTo>
                <a:lnTo>
                  <a:pt x="362" y="90"/>
                </a:lnTo>
                <a:lnTo>
                  <a:pt x="366" y="91"/>
                </a:lnTo>
                <a:lnTo>
                  <a:pt x="372" y="92"/>
                </a:lnTo>
                <a:lnTo>
                  <a:pt x="378" y="93"/>
                </a:lnTo>
                <a:lnTo>
                  <a:pt x="386" y="93"/>
                </a:lnTo>
                <a:lnTo>
                  <a:pt x="394" y="92"/>
                </a:lnTo>
                <a:lnTo>
                  <a:pt x="402" y="90"/>
                </a:lnTo>
                <a:lnTo>
                  <a:pt x="407" y="89"/>
                </a:lnTo>
                <a:lnTo>
                  <a:pt x="419" y="84"/>
                </a:lnTo>
                <a:lnTo>
                  <a:pt x="429" y="78"/>
                </a:lnTo>
                <a:lnTo>
                  <a:pt x="439" y="72"/>
                </a:lnTo>
                <a:lnTo>
                  <a:pt x="449" y="66"/>
                </a:lnTo>
                <a:lnTo>
                  <a:pt x="460" y="61"/>
                </a:lnTo>
                <a:lnTo>
                  <a:pt x="471" y="55"/>
                </a:lnTo>
                <a:lnTo>
                  <a:pt x="472" y="48"/>
                </a:lnTo>
                <a:lnTo>
                  <a:pt x="475" y="41"/>
                </a:lnTo>
                <a:lnTo>
                  <a:pt x="479" y="33"/>
                </a:lnTo>
                <a:lnTo>
                  <a:pt x="485" y="25"/>
                </a:lnTo>
                <a:lnTo>
                  <a:pt x="496" y="11"/>
                </a:lnTo>
                <a:lnTo>
                  <a:pt x="505" y="0"/>
                </a:lnTo>
                <a:lnTo>
                  <a:pt x="508" y="4"/>
                </a:lnTo>
                <a:lnTo>
                  <a:pt x="512" y="8"/>
                </a:lnTo>
                <a:lnTo>
                  <a:pt x="518" y="12"/>
                </a:lnTo>
                <a:lnTo>
                  <a:pt x="525" y="15"/>
                </a:lnTo>
                <a:lnTo>
                  <a:pt x="530" y="19"/>
                </a:lnTo>
                <a:lnTo>
                  <a:pt x="537" y="22"/>
                </a:lnTo>
                <a:lnTo>
                  <a:pt x="541" y="26"/>
                </a:lnTo>
                <a:lnTo>
                  <a:pt x="544" y="31"/>
                </a:lnTo>
                <a:lnTo>
                  <a:pt x="550" y="45"/>
                </a:lnTo>
                <a:lnTo>
                  <a:pt x="554" y="58"/>
                </a:lnTo>
                <a:lnTo>
                  <a:pt x="556" y="70"/>
                </a:lnTo>
                <a:lnTo>
                  <a:pt x="559" y="81"/>
                </a:lnTo>
                <a:lnTo>
                  <a:pt x="561" y="87"/>
                </a:lnTo>
                <a:lnTo>
                  <a:pt x="562" y="91"/>
                </a:lnTo>
                <a:lnTo>
                  <a:pt x="564" y="95"/>
                </a:lnTo>
                <a:lnTo>
                  <a:pt x="566" y="99"/>
                </a:lnTo>
                <a:lnTo>
                  <a:pt x="570" y="101"/>
                </a:lnTo>
                <a:lnTo>
                  <a:pt x="574" y="103"/>
                </a:lnTo>
                <a:lnTo>
                  <a:pt x="578" y="104"/>
                </a:lnTo>
                <a:lnTo>
                  <a:pt x="584" y="105"/>
                </a:lnTo>
                <a:lnTo>
                  <a:pt x="589" y="104"/>
                </a:lnTo>
                <a:lnTo>
                  <a:pt x="596" y="100"/>
                </a:lnTo>
                <a:lnTo>
                  <a:pt x="602" y="95"/>
                </a:lnTo>
                <a:lnTo>
                  <a:pt x="610" y="88"/>
                </a:lnTo>
                <a:lnTo>
                  <a:pt x="622" y="73"/>
                </a:lnTo>
                <a:lnTo>
                  <a:pt x="631" y="61"/>
                </a:lnTo>
                <a:lnTo>
                  <a:pt x="723" y="61"/>
                </a:lnTo>
                <a:lnTo>
                  <a:pt x="736" y="61"/>
                </a:lnTo>
                <a:lnTo>
                  <a:pt x="743" y="66"/>
                </a:lnTo>
                <a:lnTo>
                  <a:pt x="748" y="70"/>
                </a:lnTo>
                <a:lnTo>
                  <a:pt x="752" y="75"/>
                </a:lnTo>
                <a:lnTo>
                  <a:pt x="755" y="79"/>
                </a:lnTo>
                <a:lnTo>
                  <a:pt x="759" y="87"/>
                </a:lnTo>
                <a:lnTo>
                  <a:pt x="764" y="93"/>
                </a:lnTo>
                <a:lnTo>
                  <a:pt x="740" y="95"/>
                </a:lnTo>
                <a:lnTo>
                  <a:pt x="711" y="97"/>
                </a:lnTo>
                <a:lnTo>
                  <a:pt x="679" y="100"/>
                </a:lnTo>
                <a:lnTo>
                  <a:pt x="647" y="103"/>
                </a:lnTo>
                <a:lnTo>
                  <a:pt x="632" y="106"/>
                </a:lnTo>
                <a:lnTo>
                  <a:pt x="618" y="109"/>
                </a:lnTo>
                <a:lnTo>
                  <a:pt x="605" y="112"/>
                </a:lnTo>
                <a:lnTo>
                  <a:pt x="594" y="117"/>
                </a:lnTo>
                <a:lnTo>
                  <a:pt x="584" y="122"/>
                </a:lnTo>
                <a:lnTo>
                  <a:pt x="577" y="127"/>
                </a:lnTo>
                <a:lnTo>
                  <a:pt x="574" y="130"/>
                </a:lnTo>
                <a:lnTo>
                  <a:pt x="572" y="134"/>
                </a:lnTo>
                <a:lnTo>
                  <a:pt x="571" y="137"/>
                </a:lnTo>
                <a:lnTo>
                  <a:pt x="571" y="142"/>
                </a:lnTo>
                <a:lnTo>
                  <a:pt x="571" y="147"/>
                </a:lnTo>
                <a:lnTo>
                  <a:pt x="572" y="152"/>
                </a:lnTo>
                <a:lnTo>
                  <a:pt x="574" y="156"/>
                </a:lnTo>
                <a:lnTo>
                  <a:pt x="576" y="159"/>
                </a:lnTo>
                <a:lnTo>
                  <a:pt x="582" y="164"/>
                </a:lnTo>
                <a:lnTo>
                  <a:pt x="587" y="169"/>
                </a:lnTo>
                <a:lnTo>
                  <a:pt x="594" y="173"/>
                </a:lnTo>
                <a:lnTo>
                  <a:pt x="599" y="177"/>
                </a:lnTo>
                <a:lnTo>
                  <a:pt x="601" y="180"/>
                </a:lnTo>
                <a:lnTo>
                  <a:pt x="602" y="183"/>
                </a:lnTo>
                <a:lnTo>
                  <a:pt x="604" y="186"/>
                </a:lnTo>
                <a:lnTo>
                  <a:pt x="604" y="191"/>
                </a:lnTo>
                <a:lnTo>
                  <a:pt x="604" y="195"/>
                </a:lnTo>
                <a:lnTo>
                  <a:pt x="602" y="200"/>
                </a:lnTo>
                <a:lnTo>
                  <a:pt x="601" y="204"/>
                </a:lnTo>
                <a:lnTo>
                  <a:pt x="599" y="207"/>
                </a:lnTo>
                <a:lnTo>
                  <a:pt x="594" y="213"/>
                </a:lnTo>
                <a:lnTo>
                  <a:pt x="587" y="220"/>
                </a:lnTo>
                <a:lnTo>
                  <a:pt x="582" y="226"/>
                </a:lnTo>
                <a:lnTo>
                  <a:pt x="576" y="233"/>
                </a:lnTo>
                <a:lnTo>
                  <a:pt x="574" y="237"/>
                </a:lnTo>
                <a:lnTo>
                  <a:pt x="572" y="242"/>
                </a:lnTo>
                <a:lnTo>
                  <a:pt x="571" y="247"/>
                </a:lnTo>
                <a:lnTo>
                  <a:pt x="571" y="252"/>
                </a:lnTo>
                <a:lnTo>
                  <a:pt x="565" y="255"/>
                </a:lnTo>
                <a:lnTo>
                  <a:pt x="560" y="256"/>
                </a:lnTo>
                <a:lnTo>
                  <a:pt x="555" y="259"/>
                </a:lnTo>
                <a:lnTo>
                  <a:pt x="551" y="262"/>
                </a:lnTo>
                <a:lnTo>
                  <a:pt x="542" y="269"/>
                </a:lnTo>
                <a:lnTo>
                  <a:pt x="535" y="277"/>
                </a:lnTo>
                <a:lnTo>
                  <a:pt x="529" y="287"/>
                </a:lnTo>
                <a:lnTo>
                  <a:pt x="523" y="298"/>
                </a:lnTo>
                <a:lnTo>
                  <a:pt x="519" y="310"/>
                </a:lnTo>
                <a:lnTo>
                  <a:pt x="515" y="323"/>
                </a:lnTo>
                <a:lnTo>
                  <a:pt x="512" y="336"/>
                </a:lnTo>
                <a:lnTo>
                  <a:pt x="509" y="349"/>
                </a:lnTo>
                <a:lnTo>
                  <a:pt x="508" y="363"/>
                </a:lnTo>
                <a:lnTo>
                  <a:pt x="506" y="377"/>
                </a:lnTo>
                <a:lnTo>
                  <a:pt x="505" y="402"/>
                </a:lnTo>
                <a:lnTo>
                  <a:pt x="505" y="425"/>
                </a:lnTo>
                <a:lnTo>
                  <a:pt x="497" y="425"/>
                </a:lnTo>
                <a:lnTo>
                  <a:pt x="492" y="423"/>
                </a:lnTo>
                <a:lnTo>
                  <a:pt x="486" y="420"/>
                </a:lnTo>
                <a:lnTo>
                  <a:pt x="482" y="415"/>
                </a:lnTo>
                <a:lnTo>
                  <a:pt x="477" y="412"/>
                </a:lnTo>
                <a:lnTo>
                  <a:pt x="473" y="409"/>
                </a:lnTo>
                <a:lnTo>
                  <a:pt x="470" y="407"/>
                </a:lnTo>
                <a:lnTo>
                  <a:pt x="464" y="406"/>
                </a:lnTo>
                <a:lnTo>
                  <a:pt x="460" y="407"/>
                </a:lnTo>
                <a:lnTo>
                  <a:pt x="455" y="408"/>
                </a:lnTo>
                <a:lnTo>
                  <a:pt x="451" y="410"/>
                </a:lnTo>
                <a:lnTo>
                  <a:pt x="447" y="412"/>
                </a:lnTo>
                <a:lnTo>
                  <a:pt x="439" y="418"/>
                </a:lnTo>
                <a:lnTo>
                  <a:pt x="431" y="425"/>
                </a:lnTo>
                <a:lnTo>
                  <a:pt x="423" y="432"/>
                </a:lnTo>
                <a:lnTo>
                  <a:pt x="416" y="438"/>
                </a:lnTo>
                <a:lnTo>
                  <a:pt x="411" y="440"/>
                </a:lnTo>
                <a:lnTo>
                  <a:pt x="407" y="442"/>
                </a:lnTo>
                <a:lnTo>
                  <a:pt x="403" y="443"/>
                </a:lnTo>
                <a:lnTo>
                  <a:pt x="398" y="444"/>
                </a:lnTo>
                <a:lnTo>
                  <a:pt x="393" y="444"/>
                </a:lnTo>
                <a:lnTo>
                  <a:pt x="388" y="446"/>
                </a:lnTo>
                <a:lnTo>
                  <a:pt x="385" y="449"/>
                </a:lnTo>
                <a:lnTo>
                  <a:pt x="382" y="453"/>
                </a:lnTo>
                <a:lnTo>
                  <a:pt x="375" y="463"/>
                </a:lnTo>
                <a:lnTo>
                  <a:pt x="372" y="476"/>
                </a:lnTo>
                <a:lnTo>
                  <a:pt x="369" y="489"/>
                </a:lnTo>
                <a:lnTo>
                  <a:pt x="366" y="501"/>
                </a:lnTo>
                <a:lnTo>
                  <a:pt x="365" y="511"/>
                </a:lnTo>
                <a:lnTo>
                  <a:pt x="365" y="517"/>
                </a:lnTo>
                <a:lnTo>
                  <a:pt x="362" y="520"/>
                </a:lnTo>
                <a:lnTo>
                  <a:pt x="358" y="522"/>
                </a:lnTo>
                <a:lnTo>
                  <a:pt x="350" y="525"/>
                </a:lnTo>
                <a:lnTo>
                  <a:pt x="342" y="528"/>
                </a:lnTo>
                <a:lnTo>
                  <a:pt x="320" y="535"/>
                </a:lnTo>
                <a:lnTo>
                  <a:pt x="296" y="541"/>
                </a:lnTo>
                <a:lnTo>
                  <a:pt x="270" y="546"/>
                </a:lnTo>
                <a:lnTo>
                  <a:pt x="246" y="551"/>
                </a:lnTo>
                <a:lnTo>
                  <a:pt x="226" y="554"/>
                </a:lnTo>
                <a:lnTo>
                  <a:pt x="212" y="555"/>
                </a:lnTo>
                <a:lnTo>
                  <a:pt x="194" y="554"/>
                </a:lnTo>
                <a:lnTo>
                  <a:pt x="176" y="553"/>
                </a:lnTo>
                <a:lnTo>
                  <a:pt x="159" y="550"/>
                </a:lnTo>
                <a:lnTo>
                  <a:pt x="142" y="548"/>
                </a:lnTo>
                <a:lnTo>
                  <a:pt x="113" y="542"/>
                </a:lnTo>
                <a:lnTo>
                  <a:pt x="92" y="536"/>
                </a:lnTo>
                <a:lnTo>
                  <a:pt x="93" y="529"/>
                </a:lnTo>
                <a:lnTo>
                  <a:pt x="94" y="523"/>
                </a:lnTo>
                <a:lnTo>
                  <a:pt x="95" y="518"/>
                </a:lnTo>
                <a:lnTo>
                  <a:pt x="97" y="513"/>
                </a:lnTo>
                <a:lnTo>
                  <a:pt x="103" y="504"/>
                </a:lnTo>
                <a:lnTo>
                  <a:pt x="109" y="496"/>
                </a:lnTo>
                <a:lnTo>
                  <a:pt x="115" y="488"/>
                </a:lnTo>
                <a:lnTo>
                  <a:pt x="120" y="479"/>
                </a:lnTo>
                <a:lnTo>
                  <a:pt x="123" y="473"/>
                </a:lnTo>
                <a:lnTo>
                  <a:pt x="124" y="468"/>
                </a:lnTo>
                <a:lnTo>
                  <a:pt x="125" y="462"/>
                </a:lnTo>
                <a:lnTo>
                  <a:pt x="126" y="456"/>
                </a:lnTo>
                <a:lnTo>
                  <a:pt x="125" y="451"/>
                </a:lnTo>
                <a:lnTo>
                  <a:pt x="124" y="446"/>
                </a:lnTo>
                <a:lnTo>
                  <a:pt x="123" y="442"/>
                </a:lnTo>
                <a:lnTo>
                  <a:pt x="120" y="439"/>
                </a:lnTo>
                <a:lnTo>
                  <a:pt x="117" y="437"/>
                </a:lnTo>
                <a:lnTo>
                  <a:pt x="114" y="435"/>
                </a:lnTo>
                <a:lnTo>
                  <a:pt x="111" y="433"/>
                </a:lnTo>
                <a:lnTo>
                  <a:pt x="106" y="432"/>
                </a:lnTo>
                <a:lnTo>
                  <a:pt x="89" y="431"/>
                </a:lnTo>
                <a:lnTo>
                  <a:pt x="72" y="432"/>
                </a:lnTo>
                <a:lnTo>
                  <a:pt x="69" y="431"/>
                </a:lnTo>
                <a:lnTo>
                  <a:pt x="66" y="430"/>
                </a:lnTo>
                <a:lnTo>
                  <a:pt x="62" y="429"/>
                </a:lnTo>
                <a:lnTo>
                  <a:pt x="59" y="427"/>
                </a:lnTo>
                <a:lnTo>
                  <a:pt x="52" y="421"/>
                </a:lnTo>
                <a:lnTo>
                  <a:pt x="47" y="413"/>
                </a:lnTo>
                <a:lnTo>
                  <a:pt x="42" y="405"/>
                </a:lnTo>
                <a:lnTo>
                  <a:pt x="38" y="395"/>
                </a:lnTo>
                <a:lnTo>
                  <a:pt x="34" y="384"/>
                </a:lnTo>
                <a:lnTo>
                  <a:pt x="30" y="373"/>
                </a:lnTo>
                <a:lnTo>
                  <a:pt x="26" y="349"/>
                </a:lnTo>
                <a:lnTo>
                  <a:pt x="22" y="327"/>
                </a:lnTo>
                <a:lnTo>
                  <a:pt x="19" y="309"/>
                </a:lnTo>
                <a:lnTo>
                  <a:pt x="19" y="295"/>
                </a:lnTo>
                <a:lnTo>
                  <a:pt x="16" y="295"/>
                </a:lnTo>
                <a:lnTo>
                  <a:pt x="13" y="293"/>
                </a:lnTo>
                <a:lnTo>
                  <a:pt x="10" y="291"/>
                </a:lnTo>
                <a:lnTo>
                  <a:pt x="7" y="289"/>
                </a:lnTo>
                <a:lnTo>
                  <a:pt x="4" y="286"/>
                </a:lnTo>
                <a:lnTo>
                  <a:pt x="2" y="283"/>
                </a:lnTo>
                <a:lnTo>
                  <a:pt x="0" y="280"/>
                </a:lnTo>
                <a:lnTo>
                  <a:pt x="0" y="277"/>
                </a:lnTo>
                <a:lnTo>
                  <a:pt x="0" y="274"/>
                </a:lnTo>
                <a:lnTo>
                  <a:pt x="1" y="271"/>
                </a:lnTo>
                <a:lnTo>
                  <a:pt x="2" y="268"/>
                </a:lnTo>
                <a:lnTo>
                  <a:pt x="4" y="265"/>
                </a:lnTo>
                <a:lnTo>
                  <a:pt x="10" y="259"/>
                </a:lnTo>
                <a:lnTo>
                  <a:pt x="16" y="254"/>
                </a:lnTo>
                <a:lnTo>
                  <a:pt x="22" y="248"/>
                </a:lnTo>
                <a:lnTo>
                  <a:pt x="27" y="243"/>
                </a:lnTo>
                <a:lnTo>
                  <a:pt x="31" y="238"/>
                </a:lnTo>
                <a:lnTo>
                  <a:pt x="33" y="234"/>
                </a:lnTo>
                <a:lnTo>
                  <a:pt x="34" y="221"/>
                </a:lnTo>
                <a:lnTo>
                  <a:pt x="36" y="213"/>
                </a:lnTo>
                <a:lnTo>
                  <a:pt x="38" y="205"/>
                </a:lnTo>
                <a:lnTo>
                  <a:pt x="39" y="19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09" name="Freeform 261"/>
          <p:cNvSpPr>
            <a:spLocks/>
          </p:cNvSpPr>
          <p:nvPr>
            <p:custDataLst>
              <p:tags r:id="rId188"/>
            </p:custDataLst>
          </p:nvPr>
        </p:nvSpPr>
        <p:spPr bwMode="auto">
          <a:xfrm>
            <a:off x="7004051" y="2489201"/>
            <a:ext cx="365125" cy="423863"/>
          </a:xfrm>
          <a:custGeom>
            <a:avLst/>
            <a:gdLst>
              <a:gd name="T0" fmla="*/ 779 w 831"/>
              <a:gd name="T1" fmla="*/ 82 h 812"/>
              <a:gd name="T2" fmla="*/ 707 w 831"/>
              <a:gd name="T3" fmla="*/ 29 h 812"/>
              <a:gd name="T4" fmla="*/ 562 w 831"/>
              <a:gd name="T5" fmla="*/ 10 h 812"/>
              <a:gd name="T6" fmla="*/ 499 w 831"/>
              <a:gd name="T7" fmla="*/ 29 h 812"/>
              <a:gd name="T8" fmla="*/ 486 w 831"/>
              <a:gd name="T9" fmla="*/ 49 h 812"/>
              <a:gd name="T10" fmla="*/ 497 w 831"/>
              <a:gd name="T11" fmla="*/ 71 h 812"/>
              <a:gd name="T12" fmla="*/ 517 w 831"/>
              <a:gd name="T13" fmla="*/ 90 h 812"/>
              <a:gd name="T14" fmla="*/ 516 w 831"/>
              <a:gd name="T15" fmla="*/ 111 h 812"/>
              <a:gd name="T16" fmla="*/ 491 w 831"/>
              <a:gd name="T17" fmla="*/ 140 h 812"/>
              <a:gd name="T18" fmla="*/ 480 w 831"/>
              <a:gd name="T19" fmla="*/ 162 h 812"/>
              <a:gd name="T20" fmla="*/ 450 w 831"/>
              <a:gd name="T21" fmla="*/ 184 h 812"/>
              <a:gd name="T22" fmla="*/ 427 w 831"/>
              <a:gd name="T23" fmla="*/ 243 h 812"/>
              <a:gd name="T24" fmla="*/ 420 w 831"/>
              <a:gd name="T25" fmla="*/ 332 h 812"/>
              <a:gd name="T26" fmla="*/ 392 w 831"/>
              <a:gd name="T27" fmla="*/ 319 h 812"/>
              <a:gd name="T28" fmla="*/ 370 w 831"/>
              <a:gd name="T29" fmla="*/ 315 h 812"/>
              <a:gd name="T30" fmla="*/ 338 w 831"/>
              <a:gd name="T31" fmla="*/ 339 h 812"/>
              <a:gd name="T32" fmla="*/ 313 w 831"/>
              <a:gd name="T33" fmla="*/ 351 h 812"/>
              <a:gd name="T34" fmla="*/ 290 w 831"/>
              <a:gd name="T35" fmla="*/ 370 h 812"/>
              <a:gd name="T36" fmla="*/ 280 w 831"/>
              <a:gd name="T37" fmla="*/ 424 h 812"/>
              <a:gd name="T38" fmla="*/ 235 w 831"/>
              <a:gd name="T39" fmla="*/ 442 h 812"/>
              <a:gd name="T40" fmla="*/ 127 w 831"/>
              <a:gd name="T41" fmla="*/ 462 h 812"/>
              <a:gd name="T42" fmla="*/ 26 w 831"/>
              <a:gd name="T43" fmla="*/ 449 h 812"/>
              <a:gd name="T44" fmla="*/ 51 w 831"/>
              <a:gd name="T45" fmla="*/ 505 h 812"/>
              <a:gd name="T46" fmla="*/ 96 w 831"/>
              <a:gd name="T47" fmla="*/ 540 h 812"/>
              <a:gd name="T48" fmla="*/ 123 w 831"/>
              <a:gd name="T49" fmla="*/ 577 h 812"/>
              <a:gd name="T50" fmla="*/ 142 w 831"/>
              <a:gd name="T51" fmla="*/ 596 h 812"/>
              <a:gd name="T52" fmla="*/ 99 w 831"/>
              <a:gd name="T53" fmla="*/ 647 h 812"/>
              <a:gd name="T54" fmla="*/ 87 w 831"/>
              <a:gd name="T55" fmla="*/ 671 h 812"/>
              <a:gd name="T56" fmla="*/ 109 w 831"/>
              <a:gd name="T57" fmla="*/ 720 h 812"/>
              <a:gd name="T58" fmla="*/ 222 w 831"/>
              <a:gd name="T59" fmla="*/ 710 h 812"/>
              <a:gd name="T60" fmla="*/ 302 w 831"/>
              <a:gd name="T61" fmla="*/ 705 h 812"/>
              <a:gd name="T62" fmla="*/ 330 w 831"/>
              <a:gd name="T63" fmla="*/ 721 h 812"/>
              <a:gd name="T64" fmla="*/ 359 w 831"/>
              <a:gd name="T65" fmla="*/ 756 h 812"/>
              <a:gd name="T66" fmla="*/ 408 w 831"/>
              <a:gd name="T67" fmla="*/ 785 h 812"/>
              <a:gd name="T68" fmla="*/ 449 w 831"/>
              <a:gd name="T69" fmla="*/ 803 h 812"/>
              <a:gd name="T70" fmla="*/ 460 w 831"/>
              <a:gd name="T71" fmla="*/ 791 h 812"/>
              <a:gd name="T72" fmla="*/ 487 w 831"/>
              <a:gd name="T73" fmla="*/ 774 h 812"/>
              <a:gd name="T74" fmla="*/ 554 w 831"/>
              <a:gd name="T75" fmla="*/ 764 h 812"/>
              <a:gd name="T76" fmla="*/ 597 w 831"/>
              <a:gd name="T77" fmla="*/ 750 h 812"/>
              <a:gd name="T78" fmla="*/ 618 w 831"/>
              <a:gd name="T79" fmla="*/ 727 h 812"/>
              <a:gd name="T80" fmla="*/ 584 w 831"/>
              <a:gd name="T81" fmla="*/ 700 h 812"/>
              <a:gd name="T82" fmla="*/ 542 w 831"/>
              <a:gd name="T83" fmla="*/ 641 h 812"/>
              <a:gd name="T84" fmla="*/ 526 w 831"/>
              <a:gd name="T85" fmla="*/ 624 h 812"/>
              <a:gd name="T86" fmla="*/ 526 w 831"/>
              <a:gd name="T87" fmla="*/ 578 h 812"/>
              <a:gd name="T88" fmla="*/ 582 w 831"/>
              <a:gd name="T89" fmla="*/ 563 h 812"/>
              <a:gd name="T90" fmla="*/ 622 w 831"/>
              <a:gd name="T91" fmla="*/ 531 h 812"/>
              <a:gd name="T92" fmla="*/ 688 w 831"/>
              <a:gd name="T93" fmla="*/ 417 h 812"/>
              <a:gd name="T94" fmla="*/ 730 w 831"/>
              <a:gd name="T95" fmla="*/ 368 h 812"/>
              <a:gd name="T96" fmla="*/ 725 w 831"/>
              <a:gd name="T97" fmla="*/ 330 h 812"/>
              <a:gd name="T98" fmla="*/ 729 w 831"/>
              <a:gd name="T99" fmla="*/ 305 h 812"/>
              <a:gd name="T100" fmla="*/ 751 w 831"/>
              <a:gd name="T101" fmla="*/ 289 h 812"/>
              <a:gd name="T102" fmla="*/ 670 w 831"/>
              <a:gd name="T103" fmla="*/ 207 h 812"/>
              <a:gd name="T104" fmla="*/ 758 w 831"/>
              <a:gd name="T105" fmla="*/ 140 h 812"/>
              <a:gd name="T106" fmla="*/ 805 w 831"/>
              <a:gd name="T107" fmla="*/ 123 h 8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31" h="812">
                <a:moveTo>
                  <a:pt x="831" y="98"/>
                </a:moveTo>
                <a:lnTo>
                  <a:pt x="817" y="95"/>
                </a:lnTo>
                <a:lnTo>
                  <a:pt x="803" y="91"/>
                </a:lnTo>
                <a:lnTo>
                  <a:pt x="791" y="87"/>
                </a:lnTo>
                <a:lnTo>
                  <a:pt x="779" y="82"/>
                </a:lnTo>
                <a:lnTo>
                  <a:pt x="769" y="77"/>
                </a:lnTo>
                <a:lnTo>
                  <a:pt x="758" y="71"/>
                </a:lnTo>
                <a:lnTo>
                  <a:pt x="749" y="65"/>
                </a:lnTo>
                <a:lnTo>
                  <a:pt x="740" y="58"/>
                </a:lnTo>
                <a:lnTo>
                  <a:pt x="707" y="29"/>
                </a:lnTo>
                <a:lnTo>
                  <a:pt x="679" y="0"/>
                </a:lnTo>
                <a:lnTo>
                  <a:pt x="655" y="2"/>
                </a:lnTo>
                <a:lnTo>
                  <a:pt x="626" y="4"/>
                </a:lnTo>
                <a:lnTo>
                  <a:pt x="594" y="7"/>
                </a:lnTo>
                <a:lnTo>
                  <a:pt x="562" y="10"/>
                </a:lnTo>
                <a:lnTo>
                  <a:pt x="547" y="13"/>
                </a:lnTo>
                <a:lnTo>
                  <a:pt x="533" y="16"/>
                </a:lnTo>
                <a:lnTo>
                  <a:pt x="520" y="19"/>
                </a:lnTo>
                <a:lnTo>
                  <a:pt x="509" y="24"/>
                </a:lnTo>
                <a:lnTo>
                  <a:pt x="499" y="29"/>
                </a:lnTo>
                <a:lnTo>
                  <a:pt x="492" y="34"/>
                </a:lnTo>
                <a:lnTo>
                  <a:pt x="489" y="37"/>
                </a:lnTo>
                <a:lnTo>
                  <a:pt x="487" y="41"/>
                </a:lnTo>
                <a:lnTo>
                  <a:pt x="486" y="44"/>
                </a:lnTo>
                <a:lnTo>
                  <a:pt x="486" y="49"/>
                </a:lnTo>
                <a:lnTo>
                  <a:pt x="486" y="54"/>
                </a:lnTo>
                <a:lnTo>
                  <a:pt x="487" y="59"/>
                </a:lnTo>
                <a:lnTo>
                  <a:pt x="489" y="63"/>
                </a:lnTo>
                <a:lnTo>
                  <a:pt x="491" y="66"/>
                </a:lnTo>
                <a:lnTo>
                  <a:pt x="497" y="71"/>
                </a:lnTo>
                <a:lnTo>
                  <a:pt x="502" y="76"/>
                </a:lnTo>
                <a:lnTo>
                  <a:pt x="509" y="80"/>
                </a:lnTo>
                <a:lnTo>
                  <a:pt x="514" y="84"/>
                </a:lnTo>
                <a:lnTo>
                  <a:pt x="516" y="87"/>
                </a:lnTo>
                <a:lnTo>
                  <a:pt x="517" y="90"/>
                </a:lnTo>
                <a:lnTo>
                  <a:pt x="519" y="93"/>
                </a:lnTo>
                <a:lnTo>
                  <a:pt x="519" y="98"/>
                </a:lnTo>
                <a:lnTo>
                  <a:pt x="519" y="102"/>
                </a:lnTo>
                <a:lnTo>
                  <a:pt x="517" y="107"/>
                </a:lnTo>
                <a:lnTo>
                  <a:pt x="516" y="111"/>
                </a:lnTo>
                <a:lnTo>
                  <a:pt x="514" y="114"/>
                </a:lnTo>
                <a:lnTo>
                  <a:pt x="509" y="120"/>
                </a:lnTo>
                <a:lnTo>
                  <a:pt x="502" y="127"/>
                </a:lnTo>
                <a:lnTo>
                  <a:pt x="497" y="133"/>
                </a:lnTo>
                <a:lnTo>
                  <a:pt x="491" y="140"/>
                </a:lnTo>
                <a:lnTo>
                  <a:pt x="489" y="144"/>
                </a:lnTo>
                <a:lnTo>
                  <a:pt x="487" y="149"/>
                </a:lnTo>
                <a:lnTo>
                  <a:pt x="486" y="154"/>
                </a:lnTo>
                <a:lnTo>
                  <a:pt x="486" y="159"/>
                </a:lnTo>
                <a:lnTo>
                  <a:pt x="480" y="162"/>
                </a:lnTo>
                <a:lnTo>
                  <a:pt x="475" y="163"/>
                </a:lnTo>
                <a:lnTo>
                  <a:pt x="470" y="166"/>
                </a:lnTo>
                <a:lnTo>
                  <a:pt x="466" y="169"/>
                </a:lnTo>
                <a:lnTo>
                  <a:pt x="457" y="176"/>
                </a:lnTo>
                <a:lnTo>
                  <a:pt x="450" y="184"/>
                </a:lnTo>
                <a:lnTo>
                  <a:pt x="444" y="194"/>
                </a:lnTo>
                <a:lnTo>
                  <a:pt x="438" y="205"/>
                </a:lnTo>
                <a:lnTo>
                  <a:pt x="434" y="217"/>
                </a:lnTo>
                <a:lnTo>
                  <a:pt x="430" y="230"/>
                </a:lnTo>
                <a:lnTo>
                  <a:pt x="427" y="243"/>
                </a:lnTo>
                <a:lnTo>
                  <a:pt x="424" y="256"/>
                </a:lnTo>
                <a:lnTo>
                  <a:pt x="423" y="270"/>
                </a:lnTo>
                <a:lnTo>
                  <a:pt x="421" y="284"/>
                </a:lnTo>
                <a:lnTo>
                  <a:pt x="420" y="309"/>
                </a:lnTo>
                <a:lnTo>
                  <a:pt x="420" y="332"/>
                </a:lnTo>
                <a:lnTo>
                  <a:pt x="412" y="332"/>
                </a:lnTo>
                <a:lnTo>
                  <a:pt x="407" y="330"/>
                </a:lnTo>
                <a:lnTo>
                  <a:pt x="401" y="327"/>
                </a:lnTo>
                <a:lnTo>
                  <a:pt x="397" y="322"/>
                </a:lnTo>
                <a:lnTo>
                  <a:pt x="392" y="319"/>
                </a:lnTo>
                <a:lnTo>
                  <a:pt x="388" y="316"/>
                </a:lnTo>
                <a:lnTo>
                  <a:pt x="385" y="314"/>
                </a:lnTo>
                <a:lnTo>
                  <a:pt x="379" y="313"/>
                </a:lnTo>
                <a:lnTo>
                  <a:pt x="375" y="314"/>
                </a:lnTo>
                <a:lnTo>
                  <a:pt x="370" y="315"/>
                </a:lnTo>
                <a:lnTo>
                  <a:pt x="366" y="317"/>
                </a:lnTo>
                <a:lnTo>
                  <a:pt x="362" y="319"/>
                </a:lnTo>
                <a:lnTo>
                  <a:pt x="354" y="325"/>
                </a:lnTo>
                <a:lnTo>
                  <a:pt x="346" y="332"/>
                </a:lnTo>
                <a:lnTo>
                  <a:pt x="338" y="339"/>
                </a:lnTo>
                <a:lnTo>
                  <a:pt x="331" y="345"/>
                </a:lnTo>
                <a:lnTo>
                  <a:pt x="326" y="347"/>
                </a:lnTo>
                <a:lnTo>
                  <a:pt x="322" y="349"/>
                </a:lnTo>
                <a:lnTo>
                  <a:pt x="318" y="350"/>
                </a:lnTo>
                <a:lnTo>
                  <a:pt x="313" y="351"/>
                </a:lnTo>
                <a:lnTo>
                  <a:pt x="308" y="351"/>
                </a:lnTo>
                <a:lnTo>
                  <a:pt x="303" y="353"/>
                </a:lnTo>
                <a:lnTo>
                  <a:pt x="300" y="356"/>
                </a:lnTo>
                <a:lnTo>
                  <a:pt x="297" y="360"/>
                </a:lnTo>
                <a:lnTo>
                  <a:pt x="290" y="370"/>
                </a:lnTo>
                <a:lnTo>
                  <a:pt x="287" y="383"/>
                </a:lnTo>
                <a:lnTo>
                  <a:pt x="284" y="396"/>
                </a:lnTo>
                <a:lnTo>
                  <a:pt x="281" y="408"/>
                </a:lnTo>
                <a:lnTo>
                  <a:pt x="280" y="418"/>
                </a:lnTo>
                <a:lnTo>
                  <a:pt x="280" y="424"/>
                </a:lnTo>
                <a:lnTo>
                  <a:pt x="277" y="427"/>
                </a:lnTo>
                <a:lnTo>
                  <a:pt x="273" y="429"/>
                </a:lnTo>
                <a:lnTo>
                  <a:pt x="265" y="432"/>
                </a:lnTo>
                <a:lnTo>
                  <a:pt x="257" y="435"/>
                </a:lnTo>
                <a:lnTo>
                  <a:pt x="235" y="442"/>
                </a:lnTo>
                <a:lnTo>
                  <a:pt x="211" y="448"/>
                </a:lnTo>
                <a:lnTo>
                  <a:pt x="185" y="453"/>
                </a:lnTo>
                <a:lnTo>
                  <a:pt x="161" y="458"/>
                </a:lnTo>
                <a:lnTo>
                  <a:pt x="141" y="461"/>
                </a:lnTo>
                <a:lnTo>
                  <a:pt x="127" y="462"/>
                </a:lnTo>
                <a:lnTo>
                  <a:pt x="109" y="461"/>
                </a:lnTo>
                <a:lnTo>
                  <a:pt x="91" y="460"/>
                </a:lnTo>
                <a:lnTo>
                  <a:pt x="74" y="457"/>
                </a:lnTo>
                <a:lnTo>
                  <a:pt x="56" y="455"/>
                </a:lnTo>
                <a:lnTo>
                  <a:pt x="26" y="449"/>
                </a:lnTo>
                <a:lnTo>
                  <a:pt x="0" y="443"/>
                </a:lnTo>
                <a:lnTo>
                  <a:pt x="8" y="455"/>
                </a:lnTo>
                <a:lnTo>
                  <a:pt x="19" y="470"/>
                </a:lnTo>
                <a:lnTo>
                  <a:pt x="34" y="487"/>
                </a:lnTo>
                <a:lnTo>
                  <a:pt x="51" y="505"/>
                </a:lnTo>
                <a:lnTo>
                  <a:pt x="60" y="513"/>
                </a:lnTo>
                <a:lnTo>
                  <a:pt x="68" y="521"/>
                </a:lnTo>
                <a:lnTo>
                  <a:pt x="77" y="528"/>
                </a:lnTo>
                <a:lnTo>
                  <a:pt x="87" y="535"/>
                </a:lnTo>
                <a:lnTo>
                  <a:pt x="96" y="540"/>
                </a:lnTo>
                <a:lnTo>
                  <a:pt x="105" y="544"/>
                </a:lnTo>
                <a:lnTo>
                  <a:pt x="112" y="546"/>
                </a:lnTo>
                <a:lnTo>
                  <a:pt x="120" y="547"/>
                </a:lnTo>
                <a:lnTo>
                  <a:pt x="121" y="561"/>
                </a:lnTo>
                <a:lnTo>
                  <a:pt x="123" y="577"/>
                </a:lnTo>
                <a:lnTo>
                  <a:pt x="127" y="585"/>
                </a:lnTo>
                <a:lnTo>
                  <a:pt x="131" y="591"/>
                </a:lnTo>
                <a:lnTo>
                  <a:pt x="134" y="593"/>
                </a:lnTo>
                <a:lnTo>
                  <a:pt x="138" y="595"/>
                </a:lnTo>
                <a:lnTo>
                  <a:pt x="142" y="596"/>
                </a:lnTo>
                <a:lnTo>
                  <a:pt x="147" y="597"/>
                </a:lnTo>
                <a:lnTo>
                  <a:pt x="147" y="616"/>
                </a:lnTo>
                <a:lnTo>
                  <a:pt x="127" y="629"/>
                </a:lnTo>
                <a:lnTo>
                  <a:pt x="107" y="641"/>
                </a:lnTo>
                <a:lnTo>
                  <a:pt x="99" y="647"/>
                </a:lnTo>
                <a:lnTo>
                  <a:pt x="93" y="654"/>
                </a:lnTo>
                <a:lnTo>
                  <a:pt x="90" y="658"/>
                </a:lnTo>
                <a:lnTo>
                  <a:pt x="88" y="663"/>
                </a:lnTo>
                <a:lnTo>
                  <a:pt x="87" y="667"/>
                </a:lnTo>
                <a:lnTo>
                  <a:pt x="87" y="671"/>
                </a:lnTo>
                <a:lnTo>
                  <a:pt x="87" y="680"/>
                </a:lnTo>
                <a:lnTo>
                  <a:pt x="87" y="689"/>
                </a:lnTo>
                <a:lnTo>
                  <a:pt x="87" y="701"/>
                </a:lnTo>
                <a:lnTo>
                  <a:pt x="87" y="721"/>
                </a:lnTo>
                <a:lnTo>
                  <a:pt x="109" y="720"/>
                </a:lnTo>
                <a:lnTo>
                  <a:pt x="132" y="719"/>
                </a:lnTo>
                <a:lnTo>
                  <a:pt x="154" y="717"/>
                </a:lnTo>
                <a:lnTo>
                  <a:pt x="177" y="714"/>
                </a:lnTo>
                <a:lnTo>
                  <a:pt x="199" y="711"/>
                </a:lnTo>
                <a:lnTo>
                  <a:pt x="222" y="710"/>
                </a:lnTo>
                <a:lnTo>
                  <a:pt x="244" y="708"/>
                </a:lnTo>
                <a:lnTo>
                  <a:pt x="266" y="708"/>
                </a:lnTo>
                <a:lnTo>
                  <a:pt x="284" y="707"/>
                </a:lnTo>
                <a:lnTo>
                  <a:pt x="297" y="705"/>
                </a:lnTo>
                <a:lnTo>
                  <a:pt x="302" y="705"/>
                </a:lnTo>
                <a:lnTo>
                  <a:pt x="310" y="705"/>
                </a:lnTo>
                <a:lnTo>
                  <a:pt x="318" y="706"/>
                </a:lnTo>
                <a:lnTo>
                  <a:pt x="326" y="708"/>
                </a:lnTo>
                <a:lnTo>
                  <a:pt x="328" y="714"/>
                </a:lnTo>
                <a:lnTo>
                  <a:pt x="330" y="721"/>
                </a:lnTo>
                <a:lnTo>
                  <a:pt x="333" y="728"/>
                </a:lnTo>
                <a:lnTo>
                  <a:pt x="338" y="735"/>
                </a:lnTo>
                <a:lnTo>
                  <a:pt x="345" y="742"/>
                </a:lnTo>
                <a:lnTo>
                  <a:pt x="352" y="749"/>
                </a:lnTo>
                <a:lnTo>
                  <a:pt x="359" y="756"/>
                </a:lnTo>
                <a:lnTo>
                  <a:pt x="368" y="762"/>
                </a:lnTo>
                <a:lnTo>
                  <a:pt x="378" y="769"/>
                </a:lnTo>
                <a:lnTo>
                  <a:pt x="388" y="776"/>
                </a:lnTo>
                <a:lnTo>
                  <a:pt x="398" y="781"/>
                </a:lnTo>
                <a:lnTo>
                  <a:pt x="408" y="785"/>
                </a:lnTo>
                <a:lnTo>
                  <a:pt x="418" y="789"/>
                </a:lnTo>
                <a:lnTo>
                  <a:pt x="427" y="792"/>
                </a:lnTo>
                <a:lnTo>
                  <a:pt x="437" y="794"/>
                </a:lnTo>
                <a:lnTo>
                  <a:pt x="446" y="794"/>
                </a:lnTo>
                <a:lnTo>
                  <a:pt x="449" y="803"/>
                </a:lnTo>
                <a:lnTo>
                  <a:pt x="453" y="812"/>
                </a:lnTo>
                <a:lnTo>
                  <a:pt x="454" y="806"/>
                </a:lnTo>
                <a:lnTo>
                  <a:pt x="455" y="800"/>
                </a:lnTo>
                <a:lnTo>
                  <a:pt x="457" y="795"/>
                </a:lnTo>
                <a:lnTo>
                  <a:pt x="460" y="791"/>
                </a:lnTo>
                <a:lnTo>
                  <a:pt x="464" y="787"/>
                </a:lnTo>
                <a:lnTo>
                  <a:pt x="467" y="783"/>
                </a:lnTo>
                <a:lnTo>
                  <a:pt x="471" y="780"/>
                </a:lnTo>
                <a:lnTo>
                  <a:pt x="477" y="778"/>
                </a:lnTo>
                <a:lnTo>
                  <a:pt x="487" y="774"/>
                </a:lnTo>
                <a:lnTo>
                  <a:pt x="499" y="770"/>
                </a:lnTo>
                <a:lnTo>
                  <a:pt x="512" y="768"/>
                </a:lnTo>
                <a:lnTo>
                  <a:pt x="525" y="767"/>
                </a:lnTo>
                <a:lnTo>
                  <a:pt x="539" y="765"/>
                </a:lnTo>
                <a:lnTo>
                  <a:pt x="554" y="764"/>
                </a:lnTo>
                <a:lnTo>
                  <a:pt x="567" y="761"/>
                </a:lnTo>
                <a:lnTo>
                  <a:pt x="580" y="758"/>
                </a:lnTo>
                <a:lnTo>
                  <a:pt x="586" y="756"/>
                </a:lnTo>
                <a:lnTo>
                  <a:pt x="591" y="753"/>
                </a:lnTo>
                <a:lnTo>
                  <a:pt x="597" y="750"/>
                </a:lnTo>
                <a:lnTo>
                  <a:pt x="602" y="747"/>
                </a:lnTo>
                <a:lnTo>
                  <a:pt x="606" y="743"/>
                </a:lnTo>
                <a:lnTo>
                  <a:pt x="611" y="738"/>
                </a:lnTo>
                <a:lnTo>
                  <a:pt x="615" y="733"/>
                </a:lnTo>
                <a:lnTo>
                  <a:pt x="618" y="727"/>
                </a:lnTo>
                <a:lnTo>
                  <a:pt x="614" y="725"/>
                </a:lnTo>
                <a:lnTo>
                  <a:pt x="610" y="722"/>
                </a:lnTo>
                <a:lnTo>
                  <a:pt x="604" y="718"/>
                </a:lnTo>
                <a:lnTo>
                  <a:pt x="598" y="712"/>
                </a:lnTo>
                <a:lnTo>
                  <a:pt x="584" y="700"/>
                </a:lnTo>
                <a:lnTo>
                  <a:pt x="571" y="686"/>
                </a:lnTo>
                <a:lnTo>
                  <a:pt x="559" y="671"/>
                </a:lnTo>
                <a:lnTo>
                  <a:pt x="548" y="655"/>
                </a:lnTo>
                <a:lnTo>
                  <a:pt x="545" y="648"/>
                </a:lnTo>
                <a:lnTo>
                  <a:pt x="542" y="641"/>
                </a:lnTo>
                <a:lnTo>
                  <a:pt x="539" y="634"/>
                </a:lnTo>
                <a:lnTo>
                  <a:pt x="538" y="628"/>
                </a:lnTo>
                <a:lnTo>
                  <a:pt x="534" y="627"/>
                </a:lnTo>
                <a:lnTo>
                  <a:pt x="530" y="626"/>
                </a:lnTo>
                <a:lnTo>
                  <a:pt x="526" y="624"/>
                </a:lnTo>
                <a:lnTo>
                  <a:pt x="523" y="620"/>
                </a:lnTo>
                <a:lnTo>
                  <a:pt x="517" y="613"/>
                </a:lnTo>
                <a:lnTo>
                  <a:pt x="512" y="603"/>
                </a:lnTo>
                <a:lnTo>
                  <a:pt x="512" y="579"/>
                </a:lnTo>
                <a:lnTo>
                  <a:pt x="526" y="578"/>
                </a:lnTo>
                <a:lnTo>
                  <a:pt x="539" y="577"/>
                </a:lnTo>
                <a:lnTo>
                  <a:pt x="551" y="575"/>
                </a:lnTo>
                <a:lnTo>
                  <a:pt x="562" y="571"/>
                </a:lnTo>
                <a:lnTo>
                  <a:pt x="572" y="568"/>
                </a:lnTo>
                <a:lnTo>
                  <a:pt x="582" y="563"/>
                </a:lnTo>
                <a:lnTo>
                  <a:pt x="591" y="558"/>
                </a:lnTo>
                <a:lnTo>
                  <a:pt x="600" y="552"/>
                </a:lnTo>
                <a:lnTo>
                  <a:pt x="607" y="545"/>
                </a:lnTo>
                <a:lnTo>
                  <a:pt x="615" y="538"/>
                </a:lnTo>
                <a:lnTo>
                  <a:pt x="622" y="531"/>
                </a:lnTo>
                <a:lnTo>
                  <a:pt x="628" y="523"/>
                </a:lnTo>
                <a:lnTo>
                  <a:pt x="639" y="507"/>
                </a:lnTo>
                <a:lnTo>
                  <a:pt x="650" y="489"/>
                </a:lnTo>
                <a:lnTo>
                  <a:pt x="669" y="453"/>
                </a:lnTo>
                <a:lnTo>
                  <a:pt x="688" y="417"/>
                </a:lnTo>
                <a:lnTo>
                  <a:pt x="699" y="401"/>
                </a:lnTo>
                <a:lnTo>
                  <a:pt x="710" y="387"/>
                </a:lnTo>
                <a:lnTo>
                  <a:pt x="716" y="379"/>
                </a:lnTo>
                <a:lnTo>
                  <a:pt x="723" y="373"/>
                </a:lnTo>
                <a:lnTo>
                  <a:pt x="730" y="368"/>
                </a:lnTo>
                <a:lnTo>
                  <a:pt x="738" y="363"/>
                </a:lnTo>
                <a:lnTo>
                  <a:pt x="732" y="351"/>
                </a:lnTo>
                <a:lnTo>
                  <a:pt x="727" y="340"/>
                </a:lnTo>
                <a:lnTo>
                  <a:pt x="726" y="335"/>
                </a:lnTo>
                <a:lnTo>
                  <a:pt x="725" y="330"/>
                </a:lnTo>
                <a:lnTo>
                  <a:pt x="725" y="324"/>
                </a:lnTo>
                <a:lnTo>
                  <a:pt x="725" y="319"/>
                </a:lnTo>
                <a:lnTo>
                  <a:pt x="726" y="314"/>
                </a:lnTo>
                <a:lnTo>
                  <a:pt x="727" y="309"/>
                </a:lnTo>
                <a:lnTo>
                  <a:pt x="729" y="305"/>
                </a:lnTo>
                <a:lnTo>
                  <a:pt x="733" y="301"/>
                </a:lnTo>
                <a:lnTo>
                  <a:pt x="736" y="298"/>
                </a:lnTo>
                <a:lnTo>
                  <a:pt x="740" y="295"/>
                </a:lnTo>
                <a:lnTo>
                  <a:pt x="746" y="292"/>
                </a:lnTo>
                <a:lnTo>
                  <a:pt x="751" y="289"/>
                </a:lnTo>
                <a:lnTo>
                  <a:pt x="722" y="262"/>
                </a:lnTo>
                <a:lnTo>
                  <a:pt x="700" y="242"/>
                </a:lnTo>
                <a:lnTo>
                  <a:pt x="690" y="232"/>
                </a:lnTo>
                <a:lnTo>
                  <a:pt x="680" y="221"/>
                </a:lnTo>
                <a:lnTo>
                  <a:pt x="670" y="207"/>
                </a:lnTo>
                <a:lnTo>
                  <a:pt x="658" y="190"/>
                </a:lnTo>
                <a:lnTo>
                  <a:pt x="658" y="147"/>
                </a:lnTo>
                <a:lnTo>
                  <a:pt x="701" y="145"/>
                </a:lnTo>
                <a:lnTo>
                  <a:pt x="733" y="143"/>
                </a:lnTo>
                <a:lnTo>
                  <a:pt x="758" y="140"/>
                </a:lnTo>
                <a:lnTo>
                  <a:pt x="778" y="136"/>
                </a:lnTo>
                <a:lnTo>
                  <a:pt x="785" y="134"/>
                </a:lnTo>
                <a:lnTo>
                  <a:pt x="792" y="131"/>
                </a:lnTo>
                <a:lnTo>
                  <a:pt x="799" y="127"/>
                </a:lnTo>
                <a:lnTo>
                  <a:pt x="805" y="123"/>
                </a:lnTo>
                <a:lnTo>
                  <a:pt x="817" y="113"/>
                </a:lnTo>
                <a:lnTo>
                  <a:pt x="831" y="9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10" name="Freeform 262"/>
          <p:cNvSpPr>
            <a:spLocks/>
          </p:cNvSpPr>
          <p:nvPr>
            <p:custDataLst>
              <p:tags r:id="rId189"/>
            </p:custDataLst>
          </p:nvPr>
        </p:nvSpPr>
        <p:spPr bwMode="auto">
          <a:xfrm>
            <a:off x="7794626" y="2757489"/>
            <a:ext cx="220663" cy="585787"/>
          </a:xfrm>
          <a:custGeom>
            <a:avLst/>
            <a:gdLst>
              <a:gd name="T0" fmla="*/ 438 w 505"/>
              <a:gd name="T1" fmla="*/ 1067 h 1121"/>
              <a:gd name="T2" fmla="*/ 443 w 505"/>
              <a:gd name="T3" fmla="*/ 1028 h 1121"/>
              <a:gd name="T4" fmla="*/ 399 w 505"/>
              <a:gd name="T5" fmla="*/ 1022 h 1121"/>
              <a:gd name="T6" fmla="*/ 405 w 505"/>
              <a:gd name="T7" fmla="*/ 957 h 1121"/>
              <a:gd name="T8" fmla="*/ 419 w 505"/>
              <a:gd name="T9" fmla="*/ 931 h 1121"/>
              <a:gd name="T10" fmla="*/ 413 w 505"/>
              <a:gd name="T11" fmla="*/ 899 h 1121"/>
              <a:gd name="T12" fmla="*/ 398 w 505"/>
              <a:gd name="T13" fmla="*/ 893 h 1121"/>
              <a:gd name="T14" fmla="*/ 382 w 505"/>
              <a:gd name="T15" fmla="*/ 838 h 1121"/>
              <a:gd name="T16" fmla="*/ 324 w 505"/>
              <a:gd name="T17" fmla="*/ 719 h 1121"/>
              <a:gd name="T18" fmla="*/ 296 w 505"/>
              <a:gd name="T19" fmla="*/ 703 h 1121"/>
              <a:gd name="T20" fmla="*/ 282 w 505"/>
              <a:gd name="T21" fmla="*/ 718 h 1121"/>
              <a:gd name="T22" fmla="*/ 226 w 505"/>
              <a:gd name="T23" fmla="*/ 742 h 1121"/>
              <a:gd name="T24" fmla="*/ 169 w 505"/>
              <a:gd name="T25" fmla="*/ 736 h 1121"/>
              <a:gd name="T26" fmla="*/ 133 w 505"/>
              <a:gd name="T27" fmla="*/ 567 h 1121"/>
              <a:gd name="T28" fmla="*/ 101 w 505"/>
              <a:gd name="T29" fmla="*/ 520 h 1121"/>
              <a:gd name="T30" fmla="*/ 51 w 505"/>
              <a:gd name="T31" fmla="*/ 502 h 1121"/>
              <a:gd name="T32" fmla="*/ 8 w 505"/>
              <a:gd name="T33" fmla="*/ 471 h 1121"/>
              <a:gd name="T34" fmla="*/ 23 w 505"/>
              <a:gd name="T35" fmla="*/ 445 h 1121"/>
              <a:gd name="T36" fmla="*/ 58 w 505"/>
              <a:gd name="T37" fmla="*/ 361 h 1121"/>
              <a:gd name="T38" fmla="*/ 67 w 505"/>
              <a:gd name="T39" fmla="*/ 277 h 1121"/>
              <a:gd name="T40" fmla="*/ 80 w 505"/>
              <a:gd name="T41" fmla="*/ 265 h 1121"/>
              <a:gd name="T42" fmla="*/ 113 w 505"/>
              <a:gd name="T43" fmla="*/ 258 h 1121"/>
              <a:gd name="T44" fmla="*/ 134 w 505"/>
              <a:gd name="T45" fmla="*/ 222 h 1121"/>
              <a:gd name="T46" fmla="*/ 140 w 505"/>
              <a:gd name="T47" fmla="*/ 117 h 1121"/>
              <a:gd name="T48" fmla="*/ 159 w 505"/>
              <a:gd name="T49" fmla="*/ 98 h 1121"/>
              <a:gd name="T50" fmla="*/ 213 w 505"/>
              <a:gd name="T51" fmla="*/ 74 h 1121"/>
              <a:gd name="T52" fmla="*/ 234 w 505"/>
              <a:gd name="T53" fmla="*/ 21 h 1121"/>
              <a:gd name="T54" fmla="*/ 277 w 505"/>
              <a:gd name="T55" fmla="*/ 31 h 1121"/>
              <a:gd name="T56" fmla="*/ 312 w 505"/>
              <a:gd name="T57" fmla="*/ 49 h 1121"/>
              <a:gd name="T58" fmla="*/ 337 w 505"/>
              <a:gd name="T59" fmla="*/ 122 h 1121"/>
              <a:gd name="T60" fmla="*/ 335 w 505"/>
              <a:gd name="T61" fmla="*/ 167 h 1121"/>
              <a:gd name="T62" fmla="*/ 300 w 505"/>
              <a:gd name="T63" fmla="*/ 216 h 1121"/>
              <a:gd name="T64" fmla="*/ 293 w 505"/>
              <a:gd name="T65" fmla="*/ 245 h 1121"/>
              <a:gd name="T66" fmla="*/ 309 w 505"/>
              <a:gd name="T67" fmla="*/ 261 h 1121"/>
              <a:gd name="T68" fmla="*/ 346 w 505"/>
              <a:gd name="T69" fmla="*/ 270 h 1121"/>
              <a:gd name="T70" fmla="*/ 371 w 505"/>
              <a:gd name="T71" fmla="*/ 291 h 1121"/>
              <a:gd name="T72" fmla="*/ 398 w 505"/>
              <a:gd name="T73" fmla="*/ 345 h 1121"/>
              <a:gd name="T74" fmla="*/ 430 w 505"/>
              <a:gd name="T75" fmla="*/ 400 h 1121"/>
              <a:gd name="T76" fmla="*/ 464 w 505"/>
              <a:gd name="T77" fmla="*/ 418 h 1121"/>
              <a:gd name="T78" fmla="*/ 505 w 505"/>
              <a:gd name="T79" fmla="*/ 418 h 1121"/>
              <a:gd name="T80" fmla="*/ 476 w 505"/>
              <a:gd name="T81" fmla="*/ 494 h 1121"/>
              <a:gd name="T82" fmla="*/ 427 w 505"/>
              <a:gd name="T83" fmla="*/ 510 h 1121"/>
              <a:gd name="T84" fmla="*/ 383 w 505"/>
              <a:gd name="T85" fmla="*/ 528 h 1121"/>
              <a:gd name="T86" fmla="*/ 360 w 505"/>
              <a:gd name="T87" fmla="*/ 572 h 1121"/>
              <a:gd name="T88" fmla="*/ 370 w 505"/>
              <a:gd name="T89" fmla="*/ 637 h 1121"/>
              <a:gd name="T90" fmla="*/ 402 w 505"/>
              <a:gd name="T91" fmla="*/ 683 h 1121"/>
              <a:gd name="T92" fmla="*/ 430 w 505"/>
              <a:gd name="T93" fmla="*/ 735 h 1121"/>
              <a:gd name="T94" fmla="*/ 428 w 505"/>
              <a:gd name="T95" fmla="*/ 776 h 1121"/>
              <a:gd name="T96" fmla="*/ 419 w 505"/>
              <a:gd name="T97" fmla="*/ 801 h 1121"/>
              <a:gd name="T98" fmla="*/ 435 w 505"/>
              <a:gd name="T99" fmla="*/ 851 h 1121"/>
              <a:gd name="T100" fmla="*/ 483 w 505"/>
              <a:gd name="T101" fmla="*/ 965 h 1121"/>
              <a:gd name="T102" fmla="*/ 458 w 505"/>
              <a:gd name="T103" fmla="*/ 1082 h 11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505" h="1121">
                <a:moveTo>
                  <a:pt x="446" y="1121"/>
                </a:moveTo>
                <a:lnTo>
                  <a:pt x="445" y="1106"/>
                </a:lnTo>
                <a:lnTo>
                  <a:pt x="443" y="1091"/>
                </a:lnTo>
                <a:lnTo>
                  <a:pt x="440" y="1079"/>
                </a:lnTo>
                <a:lnTo>
                  <a:pt x="438" y="1067"/>
                </a:lnTo>
                <a:lnTo>
                  <a:pt x="437" y="1056"/>
                </a:lnTo>
                <a:lnTo>
                  <a:pt x="437" y="1045"/>
                </a:lnTo>
                <a:lnTo>
                  <a:pt x="438" y="1040"/>
                </a:lnTo>
                <a:lnTo>
                  <a:pt x="439" y="1034"/>
                </a:lnTo>
                <a:lnTo>
                  <a:pt x="443" y="1028"/>
                </a:lnTo>
                <a:lnTo>
                  <a:pt x="446" y="1022"/>
                </a:lnTo>
                <a:lnTo>
                  <a:pt x="430" y="1022"/>
                </a:lnTo>
                <a:lnTo>
                  <a:pt x="420" y="1022"/>
                </a:lnTo>
                <a:lnTo>
                  <a:pt x="411" y="1022"/>
                </a:lnTo>
                <a:lnTo>
                  <a:pt x="399" y="1022"/>
                </a:lnTo>
                <a:lnTo>
                  <a:pt x="399" y="1001"/>
                </a:lnTo>
                <a:lnTo>
                  <a:pt x="399" y="988"/>
                </a:lnTo>
                <a:lnTo>
                  <a:pt x="399" y="975"/>
                </a:lnTo>
                <a:lnTo>
                  <a:pt x="399" y="961"/>
                </a:lnTo>
                <a:lnTo>
                  <a:pt x="405" y="957"/>
                </a:lnTo>
                <a:lnTo>
                  <a:pt x="411" y="953"/>
                </a:lnTo>
                <a:lnTo>
                  <a:pt x="414" y="949"/>
                </a:lnTo>
                <a:lnTo>
                  <a:pt x="416" y="946"/>
                </a:lnTo>
                <a:lnTo>
                  <a:pt x="419" y="939"/>
                </a:lnTo>
                <a:lnTo>
                  <a:pt x="419" y="931"/>
                </a:lnTo>
                <a:lnTo>
                  <a:pt x="419" y="922"/>
                </a:lnTo>
                <a:lnTo>
                  <a:pt x="419" y="915"/>
                </a:lnTo>
                <a:lnTo>
                  <a:pt x="419" y="908"/>
                </a:lnTo>
                <a:lnTo>
                  <a:pt x="419" y="899"/>
                </a:lnTo>
                <a:lnTo>
                  <a:pt x="413" y="899"/>
                </a:lnTo>
                <a:lnTo>
                  <a:pt x="409" y="899"/>
                </a:lnTo>
                <a:lnTo>
                  <a:pt x="404" y="898"/>
                </a:lnTo>
                <a:lnTo>
                  <a:pt x="402" y="896"/>
                </a:lnTo>
                <a:lnTo>
                  <a:pt x="400" y="895"/>
                </a:lnTo>
                <a:lnTo>
                  <a:pt x="398" y="893"/>
                </a:lnTo>
                <a:lnTo>
                  <a:pt x="397" y="891"/>
                </a:lnTo>
                <a:lnTo>
                  <a:pt x="395" y="889"/>
                </a:lnTo>
                <a:lnTo>
                  <a:pt x="394" y="879"/>
                </a:lnTo>
                <a:lnTo>
                  <a:pt x="392" y="868"/>
                </a:lnTo>
                <a:lnTo>
                  <a:pt x="382" y="838"/>
                </a:lnTo>
                <a:lnTo>
                  <a:pt x="371" y="811"/>
                </a:lnTo>
                <a:lnTo>
                  <a:pt x="360" y="786"/>
                </a:lnTo>
                <a:lnTo>
                  <a:pt x="348" y="764"/>
                </a:lnTo>
                <a:lnTo>
                  <a:pt x="336" y="741"/>
                </a:lnTo>
                <a:lnTo>
                  <a:pt x="324" y="719"/>
                </a:lnTo>
                <a:lnTo>
                  <a:pt x="312" y="695"/>
                </a:lnTo>
                <a:lnTo>
                  <a:pt x="300" y="672"/>
                </a:lnTo>
                <a:lnTo>
                  <a:pt x="299" y="684"/>
                </a:lnTo>
                <a:lnTo>
                  <a:pt x="298" y="694"/>
                </a:lnTo>
                <a:lnTo>
                  <a:pt x="296" y="703"/>
                </a:lnTo>
                <a:lnTo>
                  <a:pt x="292" y="710"/>
                </a:lnTo>
                <a:lnTo>
                  <a:pt x="291" y="713"/>
                </a:lnTo>
                <a:lnTo>
                  <a:pt x="288" y="715"/>
                </a:lnTo>
                <a:lnTo>
                  <a:pt x="286" y="717"/>
                </a:lnTo>
                <a:lnTo>
                  <a:pt x="282" y="718"/>
                </a:lnTo>
                <a:lnTo>
                  <a:pt x="276" y="720"/>
                </a:lnTo>
                <a:lnTo>
                  <a:pt x="266" y="721"/>
                </a:lnTo>
                <a:lnTo>
                  <a:pt x="246" y="751"/>
                </a:lnTo>
                <a:lnTo>
                  <a:pt x="238" y="748"/>
                </a:lnTo>
                <a:lnTo>
                  <a:pt x="226" y="742"/>
                </a:lnTo>
                <a:lnTo>
                  <a:pt x="214" y="736"/>
                </a:lnTo>
                <a:lnTo>
                  <a:pt x="207" y="733"/>
                </a:lnTo>
                <a:lnTo>
                  <a:pt x="190" y="734"/>
                </a:lnTo>
                <a:lnTo>
                  <a:pt x="176" y="735"/>
                </a:lnTo>
                <a:lnTo>
                  <a:pt x="169" y="736"/>
                </a:lnTo>
                <a:lnTo>
                  <a:pt x="165" y="736"/>
                </a:lnTo>
                <a:lnTo>
                  <a:pt x="162" y="735"/>
                </a:lnTo>
                <a:lnTo>
                  <a:pt x="159" y="733"/>
                </a:lnTo>
                <a:lnTo>
                  <a:pt x="167" y="646"/>
                </a:lnTo>
                <a:lnTo>
                  <a:pt x="133" y="567"/>
                </a:lnTo>
                <a:lnTo>
                  <a:pt x="122" y="551"/>
                </a:lnTo>
                <a:lnTo>
                  <a:pt x="112" y="539"/>
                </a:lnTo>
                <a:lnTo>
                  <a:pt x="107" y="533"/>
                </a:lnTo>
                <a:lnTo>
                  <a:pt x="103" y="527"/>
                </a:lnTo>
                <a:lnTo>
                  <a:pt x="101" y="520"/>
                </a:lnTo>
                <a:lnTo>
                  <a:pt x="100" y="511"/>
                </a:lnTo>
                <a:lnTo>
                  <a:pt x="85" y="508"/>
                </a:lnTo>
                <a:lnTo>
                  <a:pt x="74" y="505"/>
                </a:lnTo>
                <a:lnTo>
                  <a:pt x="62" y="504"/>
                </a:lnTo>
                <a:lnTo>
                  <a:pt x="51" y="502"/>
                </a:lnTo>
                <a:lnTo>
                  <a:pt x="41" y="498"/>
                </a:lnTo>
                <a:lnTo>
                  <a:pt x="32" y="493"/>
                </a:lnTo>
                <a:lnTo>
                  <a:pt x="23" y="487"/>
                </a:lnTo>
                <a:lnTo>
                  <a:pt x="16" y="479"/>
                </a:lnTo>
                <a:lnTo>
                  <a:pt x="8" y="471"/>
                </a:lnTo>
                <a:lnTo>
                  <a:pt x="0" y="462"/>
                </a:lnTo>
                <a:lnTo>
                  <a:pt x="8" y="458"/>
                </a:lnTo>
                <a:lnTo>
                  <a:pt x="13" y="454"/>
                </a:lnTo>
                <a:lnTo>
                  <a:pt x="19" y="450"/>
                </a:lnTo>
                <a:lnTo>
                  <a:pt x="23" y="445"/>
                </a:lnTo>
                <a:lnTo>
                  <a:pt x="31" y="435"/>
                </a:lnTo>
                <a:lnTo>
                  <a:pt x="38" y="422"/>
                </a:lnTo>
                <a:lnTo>
                  <a:pt x="45" y="397"/>
                </a:lnTo>
                <a:lnTo>
                  <a:pt x="54" y="369"/>
                </a:lnTo>
                <a:lnTo>
                  <a:pt x="58" y="361"/>
                </a:lnTo>
                <a:lnTo>
                  <a:pt x="62" y="351"/>
                </a:lnTo>
                <a:lnTo>
                  <a:pt x="64" y="340"/>
                </a:lnTo>
                <a:lnTo>
                  <a:pt x="65" y="328"/>
                </a:lnTo>
                <a:lnTo>
                  <a:pt x="67" y="302"/>
                </a:lnTo>
                <a:lnTo>
                  <a:pt x="67" y="277"/>
                </a:lnTo>
                <a:lnTo>
                  <a:pt x="67" y="274"/>
                </a:lnTo>
                <a:lnTo>
                  <a:pt x="68" y="272"/>
                </a:lnTo>
                <a:lnTo>
                  <a:pt x="70" y="269"/>
                </a:lnTo>
                <a:lnTo>
                  <a:pt x="73" y="268"/>
                </a:lnTo>
                <a:lnTo>
                  <a:pt x="80" y="265"/>
                </a:lnTo>
                <a:lnTo>
                  <a:pt x="88" y="264"/>
                </a:lnTo>
                <a:lnTo>
                  <a:pt x="96" y="263"/>
                </a:lnTo>
                <a:lnTo>
                  <a:pt x="103" y="262"/>
                </a:lnTo>
                <a:lnTo>
                  <a:pt x="110" y="261"/>
                </a:lnTo>
                <a:lnTo>
                  <a:pt x="113" y="258"/>
                </a:lnTo>
                <a:lnTo>
                  <a:pt x="119" y="253"/>
                </a:lnTo>
                <a:lnTo>
                  <a:pt x="124" y="247"/>
                </a:lnTo>
                <a:lnTo>
                  <a:pt x="129" y="239"/>
                </a:lnTo>
                <a:lnTo>
                  <a:pt x="132" y="231"/>
                </a:lnTo>
                <a:lnTo>
                  <a:pt x="134" y="222"/>
                </a:lnTo>
                <a:lnTo>
                  <a:pt x="136" y="213"/>
                </a:lnTo>
                <a:lnTo>
                  <a:pt x="137" y="202"/>
                </a:lnTo>
                <a:lnTo>
                  <a:pt x="140" y="192"/>
                </a:lnTo>
                <a:lnTo>
                  <a:pt x="141" y="152"/>
                </a:lnTo>
                <a:lnTo>
                  <a:pt x="140" y="117"/>
                </a:lnTo>
                <a:lnTo>
                  <a:pt x="141" y="114"/>
                </a:lnTo>
                <a:lnTo>
                  <a:pt x="143" y="110"/>
                </a:lnTo>
                <a:lnTo>
                  <a:pt x="145" y="107"/>
                </a:lnTo>
                <a:lnTo>
                  <a:pt x="150" y="104"/>
                </a:lnTo>
                <a:lnTo>
                  <a:pt x="159" y="98"/>
                </a:lnTo>
                <a:lnTo>
                  <a:pt x="170" y="91"/>
                </a:lnTo>
                <a:lnTo>
                  <a:pt x="193" y="83"/>
                </a:lnTo>
                <a:lnTo>
                  <a:pt x="207" y="80"/>
                </a:lnTo>
                <a:lnTo>
                  <a:pt x="210" y="77"/>
                </a:lnTo>
                <a:lnTo>
                  <a:pt x="213" y="74"/>
                </a:lnTo>
                <a:lnTo>
                  <a:pt x="217" y="70"/>
                </a:lnTo>
                <a:lnTo>
                  <a:pt x="219" y="66"/>
                </a:lnTo>
                <a:lnTo>
                  <a:pt x="224" y="56"/>
                </a:lnTo>
                <a:lnTo>
                  <a:pt x="227" y="45"/>
                </a:lnTo>
                <a:lnTo>
                  <a:pt x="234" y="21"/>
                </a:lnTo>
                <a:lnTo>
                  <a:pt x="240" y="0"/>
                </a:lnTo>
                <a:lnTo>
                  <a:pt x="251" y="7"/>
                </a:lnTo>
                <a:lnTo>
                  <a:pt x="260" y="15"/>
                </a:lnTo>
                <a:lnTo>
                  <a:pt x="269" y="23"/>
                </a:lnTo>
                <a:lnTo>
                  <a:pt x="277" y="31"/>
                </a:lnTo>
                <a:lnTo>
                  <a:pt x="286" y="39"/>
                </a:lnTo>
                <a:lnTo>
                  <a:pt x="294" y="44"/>
                </a:lnTo>
                <a:lnTo>
                  <a:pt x="300" y="47"/>
                </a:lnTo>
                <a:lnTo>
                  <a:pt x="305" y="48"/>
                </a:lnTo>
                <a:lnTo>
                  <a:pt x="312" y="49"/>
                </a:lnTo>
                <a:lnTo>
                  <a:pt x="320" y="49"/>
                </a:lnTo>
                <a:lnTo>
                  <a:pt x="325" y="75"/>
                </a:lnTo>
                <a:lnTo>
                  <a:pt x="332" y="99"/>
                </a:lnTo>
                <a:lnTo>
                  <a:pt x="335" y="110"/>
                </a:lnTo>
                <a:lnTo>
                  <a:pt x="337" y="122"/>
                </a:lnTo>
                <a:lnTo>
                  <a:pt x="338" y="134"/>
                </a:lnTo>
                <a:lnTo>
                  <a:pt x="339" y="147"/>
                </a:lnTo>
                <a:lnTo>
                  <a:pt x="338" y="155"/>
                </a:lnTo>
                <a:lnTo>
                  <a:pt x="337" y="161"/>
                </a:lnTo>
                <a:lnTo>
                  <a:pt x="335" y="167"/>
                </a:lnTo>
                <a:lnTo>
                  <a:pt x="332" y="173"/>
                </a:lnTo>
                <a:lnTo>
                  <a:pt x="324" y="183"/>
                </a:lnTo>
                <a:lnTo>
                  <a:pt x="316" y="194"/>
                </a:lnTo>
                <a:lnTo>
                  <a:pt x="308" y="204"/>
                </a:lnTo>
                <a:lnTo>
                  <a:pt x="300" y="216"/>
                </a:lnTo>
                <a:lnTo>
                  <a:pt x="297" y="221"/>
                </a:lnTo>
                <a:lnTo>
                  <a:pt x="294" y="227"/>
                </a:lnTo>
                <a:lnTo>
                  <a:pt x="293" y="233"/>
                </a:lnTo>
                <a:lnTo>
                  <a:pt x="292" y="240"/>
                </a:lnTo>
                <a:lnTo>
                  <a:pt x="293" y="245"/>
                </a:lnTo>
                <a:lnTo>
                  <a:pt x="294" y="250"/>
                </a:lnTo>
                <a:lnTo>
                  <a:pt x="297" y="253"/>
                </a:lnTo>
                <a:lnTo>
                  <a:pt x="300" y="256"/>
                </a:lnTo>
                <a:lnTo>
                  <a:pt x="304" y="258"/>
                </a:lnTo>
                <a:lnTo>
                  <a:pt x="309" y="261"/>
                </a:lnTo>
                <a:lnTo>
                  <a:pt x="313" y="262"/>
                </a:lnTo>
                <a:lnTo>
                  <a:pt x="319" y="264"/>
                </a:lnTo>
                <a:lnTo>
                  <a:pt x="330" y="266"/>
                </a:lnTo>
                <a:lnTo>
                  <a:pt x="341" y="268"/>
                </a:lnTo>
                <a:lnTo>
                  <a:pt x="346" y="270"/>
                </a:lnTo>
                <a:lnTo>
                  <a:pt x="350" y="272"/>
                </a:lnTo>
                <a:lnTo>
                  <a:pt x="355" y="274"/>
                </a:lnTo>
                <a:lnTo>
                  <a:pt x="359" y="277"/>
                </a:lnTo>
                <a:lnTo>
                  <a:pt x="366" y="284"/>
                </a:lnTo>
                <a:lnTo>
                  <a:pt x="371" y="291"/>
                </a:lnTo>
                <a:lnTo>
                  <a:pt x="375" y="298"/>
                </a:lnTo>
                <a:lnTo>
                  <a:pt x="378" y="304"/>
                </a:lnTo>
                <a:lnTo>
                  <a:pt x="384" y="319"/>
                </a:lnTo>
                <a:lnTo>
                  <a:pt x="392" y="333"/>
                </a:lnTo>
                <a:lnTo>
                  <a:pt x="398" y="345"/>
                </a:lnTo>
                <a:lnTo>
                  <a:pt x="404" y="359"/>
                </a:lnTo>
                <a:lnTo>
                  <a:pt x="411" y="374"/>
                </a:lnTo>
                <a:lnTo>
                  <a:pt x="420" y="387"/>
                </a:lnTo>
                <a:lnTo>
                  <a:pt x="425" y="394"/>
                </a:lnTo>
                <a:lnTo>
                  <a:pt x="430" y="400"/>
                </a:lnTo>
                <a:lnTo>
                  <a:pt x="436" y="405"/>
                </a:lnTo>
                <a:lnTo>
                  <a:pt x="442" y="409"/>
                </a:lnTo>
                <a:lnTo>
                  <a:pt x="448" y="413"/>
                </a:lnTo>
                <a:lnTo>
                  <a:pt x="456" y="416"/>
                </a:lnTo>
                <a:lnTo>
                  <a:pt x="464" y="418"/>
                </a:lnTo>
                <a:lnTo>
                  <a:pt x="472" y="418"/>
                </a:lnTo>
                <a:lnTo>
                  <a:pt x="477" y="418"/>
                </a:lnTo>
                <a:lnTo>
                  <a:pt x="487" y="418"/>
                </a:lnTo>
                <a:lnTo>
                  <a:pt x="498" y="418"/>
                </a:lnTo>
                <a:lnTo>
                  <a:pt x="505" y="418"/>
                </a:lnTo>
                <a:lnTo>
                  <a:pt x="499" y="439"/>
                </a:lnTo>
                <a:lnTo>
                  <a:pt x="489" y="460"/>
                </a:lnTo>
                <a:lnTo>
                  <a:pt x="483" y="470"/>
                </a:lnTo>
                <a:lnTo>
                  <a:pt x="479" y="482"/>
                </a:lnTo>
                <a:lnTo>
                  <a:pt x="476" y="494"/>
                </a:lnTo>
                <a:lnTo>
                  <a:pt x="472" y="505"/>
                </a:lnTo>
                <a:lnTo>
                  <a:pt x="479" y="499"/>
                </a:lnTo>
                <a:lnTo>
                  <a:pt x="458" y="503"/>
                </a:lnTo>
                <a:lnTo>
                  <a:pt x="437" y="507"/>
                </a:lnTo>
                <a:lnTo>
                  <a:pt x="427" y="510"/>
                </a:lnTo>
                <a:lnTo>
                  <a:pt x="417" y="512"/>
                </a:lnTo>
                <a:lnTo>
                  <a:pt x="408" y="515"/>
                </a:lnTo>
                <a:lnTo>
                  <a:pt x="399" y="519"/>
                </a:lnTo>
                <a:lnTo>
                  <a:pt x="391" y="523"/>
                </a:lnTo>
                <a:lnTo>
                  <a:pt x="383" y="528"/>
                </a:lnTo>
                <a:lnTo>
                  <a:pt x="376" y="534"/>
                </a:lnTo>
                <a:lnTo>
                  <a:pt x="370" y="543"/>
                </a:lnTo>
                <a:lnTo>
                  <a:pt x="366" y="551"/>
                </a:lnTo>
                <a:lnTo>
                  <a:pt x="363" y="561"/>
                </a:lnTo>
                <a:lnTo>
                  <a:pt x="360" y="572"/>
                </a:lnTo>
                <a:lnTo>
                  <a:pt x="359" y="585"/>
                </a:lnTo>
                <a:lnTo>
                  <a:pt x="360" y="601"/>
                </a:lnTo>
                <a:lnTo>
                  <a:pt x="363" y="614"/>
                </a:lnTo>
                <a:lnTo>
                  <a:pt x="366" y="626"/>
                </a:lnTo>
                <a:lnTo>
                  <a:pt x="370" y="637"/>
                </a:lnTo>
                <a:lnTo>
                  <a:pt x="376" y="647"/>
                </a:lnTo>
                <a:lnTo>
                  <a:pt x="382" y="657"/>
                </a:lnTo>
                <a:lnTo>
                  <a:pt x="389" y="666"/>
                </a:lnTo>
                <a:lnTo>
                  <a:pt x="395" y="675"/>
                </a:lnTo>
                <a:lnTo>
                  <a:pt x="402" y="683"/>
                </a:lnTo>
                <a:lnTo>
                  <a:pt x="409" y="692"/>
                </a:lnTo>
                <a:lnTo>
                  <a:pt x="415" y="701"/>
                </a:lnTo>
                <a:lnTo>
                  <a:pt x="421" y="712"/>
                </a:lnTo>
                <a:lnTo>
                  <a:pt x="425" y="723"/>
                </a:lnTo>
                <a:lnTo>
                  <a:pt x="430" y="735"/>
                </a:lnTo>
                <a:lnTo>
                  <a:pt x="432" y="748"/>
                </a:lnTo>
                <a:lnTo>
                  <a:pt x="433" y="764"/>
                </a:lnTo>
                <a:lnTo>
                  <a:pt x="432" y="769"/>
                </a:lnTo>
                <a:lnTo>
                  <a:pt x="431" y="773"/>
                </a:lnTo>
                <a:lnTo>
                  <a:pt x="428" y="776"/>
                </a:lnTo>
                <a:lnTo>
                  <a:pt x="425" y="780"/>
                </a:lnTo>
                <a:lnTo>
                  <a:pt x="423" y="784"/>
                </a:lnTo>
                <a:lnTo>
                  <a:pt x="421" y="789"/>
                </a:lnTo>
                <a:lnTo>
                  <a:pt x="420" y="794"/>
                </a:lnTo>
                <a:lnTo>
                  <a:pt x="419" y="801"/>
                </a:lnTo>
                <a:lnTo>
                  <a:pt x="420" y="809"/>
                </a:lnTo>
                <a:lnTo>
                  <a:pt x="421" y="818"/>
                </a:lnTo>
                <a:lnTo>
                  <a:pt x="423" y="826"/>
                </a:lnTo>
                <a:lnTo>
                  <a:pt x="426" y="834"/>
                </a:lnTo>
                <a:lnTo>
                  <a:pt x="435" y="851"/>
                </a:lnTo>
                <a:lnTo>
                  <a:pt x="445" y="868"/>
                </a:lnTo>
                <a:lnTo>
                  <a:pt x="467" y="903"/>
                </a:lnTo>
                <a:lnTo>
                  <a:pt x="486" y="937"/>
                </a:lnTo>
                <a:lnTo>
                  <a:pt x="486" y="951"/>
                </a:lnTo>
                <a:lnTo>
                  <a:pt x="483" y="965"/>
                </a:lnTo>
                <a:lnTo>
                  <a:pt x="482" y="980"/>
                </a:lnTo>
                <a:lnTo>
                  <a:pt x="479" y="997"/>
                </a:lnTo>
                <a:lnTo>
                  <a:pt x="472" y="1027"/>
                </a:lnTo>
                <a:lnTo>
                  <a:pt x="466" y="1057"/>
                </a:lnTo>
                <a:lnTo>
                  <a:pt x="458" y="1082"/>
                </a:lnTo>
                <a:lnTo>
                  <a:pt x="451" y="1103"/>
                </a:lnTo>
                <a:lnTo>
                  <a:pt x="447" y="1116"/>
                </a:lnTo>
                <a:lnTo>
                  <a:pt x="446" y="11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11" name="Freeform 263"/>
          <p:cNvSpPr>
            <a:spLocks/>
          </p:cNvSpPr>
          <p:nvPr>
            <p:custDataLst>
              <p:tags r:id="rId190"/>
            </p:custDataLst>
          </p:nvPr>
        </p:nvSpPr>
        <p:spPr bwMode="auto">
          <a:xfrm>
            <a:off x="5118101" y="3267075"/>
            <a:ext cx="80963" cy="58738"/>
          </a:xfrm>
          <a:custGeom>
            <a:avLst/>
            <a:gdLst>
              <a:gd name="T0" fmla="*/ 180 w 180"/>
              <a:gd name="T1" fmla="*/ 7 h 112"/>
              <a:gd name="T2" fmla="*/ 171 w 180"/>
              <a:gd name="T3" fmla="*/ 24 h 112"/>
              <a:gd name="T4" fmla="*/ 163 w 180"/>
              <a:gd name="T5" fmla="*/ 39 h 112"/>
              <a:gd name="T6" fmla="*/ 152 w 180"/>
              <a:gd name="T7" fmla="*/ 53 h 112"/>
              <a:gd name="T8" fmla="*/ 141 w 180"/>
              <a:gd name="T9" fmla="*/ 66 h 112"/>
              <a:gd name="T10" fmla="*/ 129 w 180"/>
              <a:gd name="T11" fmla="*/ 80 h 112"/>
              <a:gd name="T12" fmla="*/ 115 w 180"/>
              <a:gd name="T13" fmla="*/ 92 h 112"/>
              <a:gd name="T14" fmla="*/ 101 w 180"/>
              <a:gd name="T15" fmla="*/ 102 h 112"/>
              <a:gd name="T16" fmla="*/ 87 w 180"/>
              <a:gd name="T17" fmla="*/ 112 h 112"/>
              <a:gd name="T18" fmla="*/ 82 w 180"/>
              <a:gd name="T19" fmla="*/ 107 h 112"/>
              <a:gd name="T20" fmla="*/ 79 w 180"/>
              <a:gd name="T21" fmla="*/ 101 h 112"/>
              <a:gd name="T22" fmla="*/ 76 w 180"/>
              <a:gd name="T23" fmla="*/ 95 h 112"/>
              <a:gd name="T24" fmla="*/ 74 w 180"/>
              <a:gd name="T25" fmla="*/ 88 h 112"/>
              <a:gd name="T26" fmla="*/ 70 w 180"/>
              <a:gd name="T27" fmla="*/ 81 h 112"/>
              <a:gd name="T28" fmla="*/ 68 w 180"/>
              <a:gd name="T29" fmla="*/ 74 h 112"/>
              <a:gd name="T30" fmla="*/ 65 w 180"/>
              <a:gd name="T31" fmla="*/ 69 h 112"/>
              <a:gd name="T32" fmla="*/ 60 w 180"/>
              <a:gd name="T33" fmla="*/ 63 h 112"/>
              <a:gd name="T34" fmla="*/ 45 w 180"/>
              <a:gd name="T35" fmla="*/ 48 h 112"/>
              <a:gd name="T36" fmla="*/ 36 w 180"/>
              <a:gd name="T37" fmla="*/ 38 h 112"/>
              <a:gd name="T38" fmla="*/ 30 w 180"/>
              <a:gd name="T39" fmla="*/ 33 h 112"/>
              <a:gd name="T40" fmla="*/ 25 w 180"/>
              <a:gd name="T41" fmla="*/ 31 h 112"/>
              <a:gd name="T42" fmla="*/ 18 w 180"/>
              <a:gd name="T43" fmla="*/ 30 h 112"/>
              <a:gd name="T44" fmla="*/ 0 w 180"/>
              <a:gd name="T45" fmla="*/ 26 h 112"/>
              <a:gd name="T46" fmla="*/ 26 w 180"/>
              <a:gd name="T47" fmla="*/ 14 h 112"/>
              <a:gd name="T48" fmla="*/ 41 w 180"/>
              <a:gd name="T49" fmla="*/ 9 h 112"/>
              <a:gd name="T50" fmla="*/ 56 w 180"/>
              <a:gd name="T51" fmla="*/ 5 h 112"/>
              <a:gd name="T52" fmla="*/ 74 w 180"/>
              <a:gd name="T53" fmla="*/ 3 h 112"/>
              <a:gd name="T54" fmla="*/ 93 w 180"/>
              <a:gd name="T55" fmla="*/ 1 h 112"/>
              <a:gd name="T56" fmla="*/ 114 w 180"/>
              <a:gd name="T57" fmla="*/ 0 h 112"/>
              <a:gd name="T58" fmla="*/ 135 w 180"/>
              <a:gd name="T59" fmla="*/ 1 h 112"/>
              <a:gd name="T60" fmla="*/ 157 w 180"/>
              <a:gd name="T61" fmla="*/ 3 h 112"/>
              <a:gd name="T62" fmla="*/ 180 w 180"/>
              <a:gd name="T63" fmla="*/ 7 h 1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80" h="112">
                <a:moveTo>
                  <a:pt x="180" y="7"/>
                </a:moveTo>
                <a:lnTo>
                  <a:pt x="171" y="24"/>
                </a:lnTo>
                <a:lnTo>
                  <a:pt x="163" y="39"/>
                </a:lnTo>
                <a:lnTo>
                  <a:pt x="152" y="53"/>
                </a:lnTo>
                <a:lnTo>
                  <a:pt x="141" y="66"/>
                </a:lnTo>
                <a:lnTo>
                  <a:pt x="129" y="80"/>
                </a:lnTo>
                <a:lnTo>
                  <a:pt x="115" y="92"/>
                </a:lnTo>
                <a:lnTo>
                  <a:pt x="101" y="102"/>
                </a:lnTo>
                <a:lnTo>
                  <a:pt x="87" y="112"/>
                </a:lnTo>
                <a:lnTo>
                  <a:pt x="82" y="107"/>
                </a:lnTo>
                <a:lnTo>
                  <a:pt x="79" y="101"/>
                </a:lnTo>
                <a:lnTo>
                  <a:pt x="76" y="95"/>
                </a:lnTo>
                <a:lnTo>
                  <a:pt x="74" y="88"/>
                </a:lnTo>
                <a:lnTo>
                  <a:pt x="70" y="81"/>
                </a:lnTo>
                <a:lnTo>
                  <a:pt x="68" y="74"/>
                </a:lnTo>
                <a:lnTo>
                  <a:pt x="65" y="69"/>
                </a:lnTo>
                <a:lnTo>
                  <a:pt x="60" y="63"/>
                </a:lnTo>
                <a:lnTo>
                  <a:pt x="45" y="48"/>
                </a:lnTo>
                <a:lnTo>
                  <a:pt x="36" y="38"/>
                </a:lnTo>
                <a:lnTo>
                  <a:pt x="30" y="33"/>
                </a:lnTo>
                <a:lnTo>
                  <a:pt x="25" y="31"/>
                </a:lnTo>
                <a:lnTo>
                  <a:pt x="18" y="30"/>
                </a:lnTo>
                <a:lnTo>
                  <a:pt x="0" y="26"/>
                </a:lnTo>
                <a:lnTo>
                  <a:pt x="26" y="14"/>
                </a:lnTo>
                <a:lnTo>
                  <a:pt x="41" y="9"/>
                </a:lnTo>
                <a:lnTo>
                  <a:pt x="56" y="5"/>
                </a:lnTo>
                <a:lnTo>
                  <a:pt x="74" y="3"/>
                </a:lnTo>
                <a:lnTo>
                  <a:pt x="93" y="1"/>
                </a:lnTo>
                <a:lnTo>
                  <a:pt x="114" y="0"/>
                </a:lnTo>
                <a:lnTo>
                  <a:pt x="135" y="1"/>
                </a:lnTo>
                <a:lnTo>
                  <a:pt x="157" y="3"/>
                </a:lnTo>
                <a:lnTo>
                  <a:pt x="180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12" name="Freeform 264"/>
          <p:cNvSpPr>
            <a:spLocks/>
          </p:cNvSpPr>
          <p:nvPr>
            <p:custDataLst>
              <p:tags r:id="rId191"/>
            </p:custDataLst>
          </p:nvPr>
        </p:nvSpPr>
        <p:spPr bwMode="auto">
          <a:xfrm>
            <a:off x="5202238" y="3349626"/>
            <a:ext cx="74612" cy="100013"/>
          </a:xfrm>
          <a:custGeom>
            <a:avLst/>
            <a:gdLst>
              <a:gd name="T0" fmla="*/ 0 w 173"/>
              <a:gd name="T1" fmla="*/ 68 h 192"/>
              <a:gd name="T2" fmla="*/ 27 w 173"/>
              <a:gd name="T3" fmla="*/ 42 h 192"/>
              <a:gd name="T4" fmla="*/ 51 w 173"/>
              <a:gd name="T5" fmla="*/ 21 h 192"/>
              <a:gd name="T6" fmla="*/ 56 w 173"/>
              <a:gd name="T7" fmla="*/ 16 h 192"/>
              <a:gd name="T8" fmla="*/ 63 w 173"/>
              <a:gd name="T9" fmla="*/ 12 h 192"/>
              <a:gd name="T10" fmla="*/ 70 w 173"/>
              <a:gd name="T11" fmla="*/ 8 h 192"/>
              <a:gd name="T12" fmla="*/ 76 w 173"/>
              <a:gd name="T13" fmla="*/ 6 h 192"/>
              <a:gd name="T14" fmla="*/ 83 w 173"/>
              <a:gd name="T15" fmla="*/ 3 h 192"/>
              <a:gd name="T16" fmla="*/ 90 w 173"/>
              <a:gd name="T17" fmla="*/ 2 h 192"/>
              <a:gd name="T18" fmla="*/ 98 w 173"/>
              <a:gd name="T19" fmla="*/ 1 h 192"/>
              <a:gd name="T20" fmla="*/ 107 w 173"/>
              <a:gd name="T21" fmla="*/ 0 h 192"/>
              <a:gd name="T22" fmla="*/ 116 w 173"/>
              <a:gd name="T23" fmla="*/ 1 h 192"/>
              <a:gd name="T24" fmla="*/ 124 w 173"/>
              <a:gd name="T25" fmla="*/ 2 h 192"/>
              <a:gd name="T26" fmla="*/ 132 w 173"/>
              <a:gd name="T27" fmla="*/ 5 h 192"/>
              <a:gd name="T28" fmla="*/ 139 w 173"/>
              <a:gd name="T29" fmla="*/ 8 h 192"/>
              <a:gd name="T30" fmla="*/ 145 w 173"/>
              <a:gd name="T31" fmla="*/ 13 h 192"/>
              <a:gd name="T32" fmla="*/ 151 w 173"/>
              <a:gd name="T33" fmla="*/ 19 h 192"/>
              <a:gd name="T34" fmla="*/ 155 w 173"/>
              <a:gd name="T35" fmla="*/ 24 h 192"/>
              <a:gd name="T36" fmla="*/ 160 w 173"/>
              <a:gd name="T37" fmla="*/ 30 h 192"/>
              <a:gd name="T38" fmla="*/ 163 w 173"/>
              <a:gd name="T39" fmla="*/ 37 h 192"/>
              <a:gd name="T40" fmla="*/ 166 w 173"/>
              <a:gd name="T41" fmla="*/ 43 h 192"/>
              <a:gd name="T42" fmla="*/ 168 w 173"/>
              <a:gd name="T43" fmla="*/ 50 h 192"/>
              <a:gd name="T44" fmla="*/ 169 w 173"/>
              <a:gd name="T45" fmla="*/ 57 h 192"/>
              <a:gd name="T46" fmla="*/ 172 w 173"/>
              <a:gd name="T47" fmla="*/ 72 h 192"/>
              <a:gd name="T48" fmla="*/ 173 w 173"/>
              <a:gd name="T49" fmla="*/ 87 h 192"/>
              <a:gd name="T50" fmla="*/ 157 w 173"/>
              <a:gd name="T51" fmla="*/ 114 h 192"/>
              <a:gd name="T52" fmla="*/ 146 w 173"/>
              <a:gd name="T53" fmla="*/ 137 h 192"/>
              <a:gd name="T54" fmla="*/ 139 w 173"/>
              <a:gd name="T55" fmla="*/ 148 h 192"/>
              <a:gd name="T56" fmla="*/ 130 w 173"/>
              <a:gd name="T57" fmla="*/ 160 h 192"/>
              <a:gd name="T58" fmla="*/ 117 w 173"/>
              <a:gd name="T59" fmla="*/ 174 h 192"/>
              <a:gd name="T60" fmla="*/ 99 w 173"/>
              <a:gd name="T61" fmla="*/ 192 h 192"/>
              <a:gd name="T62" fmla="*/ 86 w 173"/>
              <a:gd name="T63" fmla="*/ 183 h 192"/>
              <a:gd name="T64" fmla="*/ 74 w 173"/>
              <a:gd name="T65" fmla="*/ 176 h 192"/>
              <a:gd name="T66" fmla="*/ 63 w 173"/>
              <a:gd name="T67" fmla="*/ 169 h 192"/>
              <a:gd name="T68" fmla="*/ 54 w 173"/>
              <a:gd name="T69" fmla="*/ 163 h 192"/>
              <a:gd name="T70" fmla="*/ 46 w 173"/>
              <a:gd name="T71" fmla="*/ 156 h 192"/>
              <a:gd name="T72" fmla="*/ 40 w 173"/>
              <a:gd name="T73" fmla="*/ 150 h 192"/>
              <a:gd name="T74" fmla="*/ 34 w 173"/>
              <a:gd name="T75" fmla="*/ 144 h 192"/>
              <a:gd name="T76" fmla="*/ 30 w 173"/>
              <a:gd name="T77" fmla="*/ 137 h 192"/>
              <a:gd name="T78" fmla="*/ 22 w 173"/>
              <a:gd name="T79" fmla="*/ 123 h 192"/>
              <a:gd name="T80" fmla="*/ 16 w 173"/>
              <a:gd name="T81" fmla="*/ 107 h 192"/>
              <a:gd name="T82" fmla="*/ 9 w 173"/>
              <a:gd name="T83" fmla="*/ 90 h 192"/>
              <a:gd name="T84" fmla="*/ 0 w 173"/>
              <a:gd name="T85" fmla="*/ 68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73" h="192">
                <a:moveTo>
                  <a:pt x="0" y="68"/>
                </a:moveTo>
                <a:lnTo>
                  <a:pt x="27" y="42"/>
                </a:lnTo>
                <a:lnTo>
                  <a:pt x="51" y="21"/>
                </a:lnTo>
                <a:lnTo>
                  <a:pt x="56" y="16"/>
                </a:lnTo>
                <a:lnTo>
                  <a:pt x="63" y="12"/>
                </a:lnTo>
                <a:lnTo>
                  <a:pt x="70" y="8"/>
                </a:lnTo>
                <a:lnTo>
                  <a:pt x="76" y="6"/>
                </a:lnTo>
                <a:lnTo>
                  <a:pt x="83" y="3"/>
                </a:lnTo>
                <a:lnTo>
                  <a:pt x="90" y="2"/>
                </a:lnTo>
                <a:lnTo>
                  <a:pt x="98" y="1"/>
                </a:lnTo>
                <a:lnTo>
                  <a:pt x="107" y="0"/>
                </a:lnTo>
                <a:lnTo>
                  <a:pt x="116" y="1"/>
                </a:lnTo>
                <a:lnTo>
                  <a:pt x="124" y="2"/>
                </a:lnTo>
                <a:lnTo>
                  <a:pt x="132" y="5"/>
                </a:lnTo>
                <a:lnTo>
                  <a:pt x="139" y="8"/>
                </a:lnTo>
                <a:lnTo>
                  <a:pt x="145" y="13"/>
                </a:lnTo>
                <a:lnTo>
                  <a:pt x="151" y="19"/>
                </a:lnTo>
                <a:lnTo>
                  <a:pt x="155" y="24"/>
                </a:lnTo>
                <a:lnTo>
                  <a:pt x="160" y="30"/>
                </a:lnTo>
                <a:lnTo>
                  <a:pt x="163" y="37"/>
                </a:lnTo>
                <a:lnTo>
                  <a:pt x="166" y="43"/>
                </a:lnTo>
                <a:lnTo>
                  <a:pt x="168" y="50"/>
                </a:lnTo>
                <a:lnTo>
                  <a:pt x="169" y="57"/>
                </a:lnTo>
                <a:lnTo>
                  <a:pt x="172" y="72"/>
                </a:lnTo>
                <a:lnTo>
                  <a:pt x="173" y="87"/>
                </a:lnTo>
                <a:lnTo>
                  <a:pt x="157" y="114"/>
                </a:lnTo>
                <a:lnTo>
                  <a:pt x="146" y="137"/>
                </a:lnTo>
                <a:lnTo>
                  <a:pt x="139" y="148"/>
                </a:lnTo>
                <a:lnTo>
                  <a:pt x="130" y="160"/>
                </a:lnTo>
                <a:lnTo>
                  <a:pt x="117" y="174"/>
                </a:lnTo>
                <a:lnTo>
                  <a:pt x="99" y="192"/>
                </a:lnTo>
                <a:lnTo>
                  <a:pt x="86" y="183"/>
                </a:lnTo>
                <a:lnTo>
                  <a:pt x="74" y="176"/>
                </a:lnTo>
                <a:lnTo>
                  <a:pt x="63" y="169"/>
                </a:lnTo>
                <a:lnTo>
                  <a:pt x="54" y="163"/>
                </a:lnTo>
                <a:lnTo>
                  <a:pt x="46" y="156"/>
                </a:lnTo>
                <a:lnTo>
                  <a:pt x="40" y="150"/>
                </a:lnTo>
                <a:lnTo>
                  <a:pt x="34" y="144"/>
                </a:lnTo>
                <a:lnTo>
                  <a:pt x="30" y="137"/>
                </a:lnTo>
                <a:lnTo>
                  <a:pt x="22" y="123"/>
                </a:lnTo>
                <a:lnTo>
                  <a:pt x="16" y="107"/>
                </a:lnTo>
                <a:lnTo>
                  <a:pt x="9" y="90"/>
                </a:lnTo>
                <a:lnTo>
                  <a:pt x="0" y="6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13" name="Freeform 265"/>
          <p:cNvSpPr>
            <a:spLocks/>
          </p:cNvSpPr>
          <p:nvPr>
            <p:custDataLst>
              <p:tags r:id="rId192"/>
            </p:custDataLst>
          </p:nvPr>
        </p:nvSpPr>
        <p:spPr bwMode="auto">
          <a:xfrm>
            <a:off x="5245101" y="3400426"/>
            <a:ext cx="104775" cy="131763"/>
          </a:xfrm>
          <a:custGeom>
            <a:avLst/>
            <a:gdLst>
              <a:gd name="T0" fmla="*/ 74 w 233"/>
              <a:gd name="T1" fmla="*/ 0 h 252"/>
              <a:gd name="T2" fmla="*/ 83 w 233"/>
              <a:gd name="T3" fmla="*/ 2 h 252"/>
              <a:gd name="T4" fmla="*/ 89 w 233"/>
              <a:gd name="T5" fmla="*/ 3 h 252"/>
              <a:gd name="T6" fmla="*/ 95 w 233"/>
              <a:gd name="T7" fmla="*/ 3 h 252"/>
              <a:gd name="T8" fmla="*/ 99 w 233"/>
              <a:gd name="T9" fmla="*/ 2 h 252"/>
              <a:gd name="T10" fmla="*/ 106 w 233"/>
              <a:gd name="T11" fmla="*/ 1 h 252"/>
              <a:gd name="T12" fmla="*/ 113 w 233"/>
              <a:gd name="T13" fmla="*/ 0 h 252"/>
              <a:gd name="T14" fmla="*/ 125 w 233"/>
              <a:gd name="T15" fmla="*/ 17 h 252"/>
              <a:gd name="T16" fmla="*/ 140 w 233"/>
              <a:gd name="T17" fmla="*/ 37 h 252"/>
              <a:gd name="T18" fmla="*/ 144 w 233"/>
              <a:gd name="T19" fmla="*/ 42 h 252"/>
              <a:gd name="T20" fmla="*/ 148 w 233"/>
              <a:gd name="T21" fmla="*/ 46 h 252"/>
              <a:gd name="T22" fmla="*/ 153 w 233"/>
              <a:gd name="T23" fmla="*/ 49 h 252"/>
              <a:gd name="T24" fmla="*/ 157 w 233"/>
              <a:gd name="T25" fmla="*/ 52 h 252"/>
              <a:gd name="T26" fmla="*/ 163 w 233"/>
              <a:gd name="T27" fmla="*/ 54 h 252"/>
              <a:gd name="T28" fmla="*/ 168 w 233"/>
              <a:gd name="T29" fmla="*/ 56 h 252"/>
              <a:gd name="T30" fmla="*/ 174 w 233"/>
              <a:gd name="T31" fmla="*/ 56 h 252"/>
              <a:gd name="T32" fmla="*/ 180 w 233"/>
              <a:gd name="T33" fmla="*/ 56 h 252"/>
              <a:gd name="T34" fmla="*/ 180 w 233"/>
              <a:gd name="T35" fmla="*/ 80 h 252"/>
              <a:gd name="T36" fmla="*/ 193 w 233"/>
              <a:gd name="T37" fmla="*/ 103 h 252"/>
              <a:gd name="T38" fmla="*/ 212 w 233"/>
              <a:gd name="T39" fmla="*/ 128 h 252"/>
              <a:gd name="T40" fmla="*/ 215 w 233"/>
              <a:gd name="T41" fmla="*/ 135 h 252"/>
              <a:gd name="T42" fmla="*/ 220 w 233"/>
              <a:gd name="T43" fmla="*/ 142 h 252"/>
              <a:gd name="T44" fmla="*/ 223 w 233"/>
              <a:gd name="T45" fmla="*/ 151 h 252"/>
              <a:gd name="T46" fmla="*/ 226 w 233"/>
              <a:gd name="T47" fmla="*/ 160 h 252"/>
              <a:gd name="T48" fmla="*/ 230 w 233"/>
              <a:gd name="T49" fmla="*/ 170 h 252"/>
              <a:gd name="T50" fmla="*/ 232 w 233"/>
              <a:gd name="T51" fmla="*/ 180 h 252"/>
              <a:gd name="T52" fmla="*/ 233 w 233"/>
              <a:gd name="T53" fmla="*/ 191 h 252"/>
              <a:gd name="T54" fmla="*/ 233 w 233"/>
              <a:gd name="T55" fmla="*/ 204 h 252"/>
              <a:gd name="T56" fmla="*/ 232 w 233"/>
              <a:gd name="T57" fmla="*/ 216 h 252"/>
              <a:gd name="T58" fmla="*/ 230 w 233"/>
              <a:gd name="T59" fmla="*/ 228 h 252"/>
              <a:gd name="T60" fmla="*/ 227 w 233"/>
              <a:gd name="T61" fmla="*/ 240 h 252"/>
              <a:gd name="T62" fmla="*/ 226 w 233"/>
              <a:gd name="T63" fmla="*/ 252 h 252"/>
              <a:gd name="T64" fmla="*/ 222 w 233"/>
              <a:gd name="T65" fmla="*/ 252 h 252"/>
              <a:gd name="T66" fmla="*/ 215 w 233"/>
              <a:gd name="T67" fmla="*/ 250 h 252"/>
              <a:gd name="T68" fmla="*/ 208 w 233"/>
              <a:gd name="T69" fmla="*/ 246 h 252"/>
              <a:gd name="T70" fmla="*/ 198 w 233"/>
              <a:gd name="T71" fmla="*/ 241 h 252"/>
              <a:gd name="T72" fmla="*/ 176 w 233"/>
              <a:gd name="T73" fmla="*/ 226 h 252"/>
              <a:gd name="T74" fmla="*/ 151 w 233"/>
              <a:gd name="T75" fmla="*/ 208 h 252"/>
              <a:gd name="T76" fmla="*/ 125 w 233"/>
              <a:gd name="T77" fmla="*/ 186 h 252"/>
              <a:gd name="T78" fmla="*/ 100 w 233"/>
              <a:gd name="T79" fmla="*/ 165 h 252"/>
              <a:gd name="T80" fmla="*/ 78 w 233"/>
              <a:gd name="T81" fmla="*/ 145 h 252"/>
              <a:gd name="T82" fmla="*/ 61 w 233"/>
              <a:gd name="T83" fmla="*/ 129 h 252"/>
              <a:gd name="T84" fmla="*/ 55 w 233"/>
              <a:gd name="T85" fmla="*/ 125 h 252"/>
              <a:gd name="T86" fmla="*/ 48 w 233"/>
              <a:gd name="T87" fmla="*/ 120 h 252"/>
              <a:gd name="T88" fmla="*/ 41 w 233"/>
              <a:gd name="T89" fmla="*/ 116 h 252"/>
              <a:gd name="T90" fmla="*/ 33 w 233"/>
              <a:gd name="T91" fmla="*/ 112 h 252"/>
              <a:gd name="T92" fmla="*/ 17 w 233"/>
              <a:gd name="T93" fmla="*/ 104 h 252"/>
              <a:gd name="T94" fmla="*/ 0 w 233"/>
              <a:gd name="T95" fmla="*/ 99 h 252"/>
              <a:gd name="T96" fmla="*/ 40 w 233"/>
              <a:gd name="T97" fmla="*/ 63 h 252"/>
              <a:gd name="T98" fmla="*/ 59 w 233"/>
              <a:gd name="T99" fmla="*/ 43 h 252"/>
              <a:gd name="T100" fmla="*/ 65 w 233"/>
              <a:gd name="T101" fmla="*/ 33 h 252"/>
              <a:gd name="T102" fmla="*/ 69 w 233"/>
              <a:gd name="T103" fmla="*/ 25 h 252"/>
              <a:gd name="T104" fmla="*/ 72 w 233"/>
              <a:gd name="T105" fmla="*/ 14 h 252"/>
              <a:gd name="T106" fmla="*/ 74 w 233"/>
              <a:gd name="T107" fmla="*/ 0 h 2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33" h="252">
                <a:moveTo>
                  <a:pt x="74" y="0"/>
                </a:moveTo>
                <a:lnTo>
                  <a:pt x="83" y="2"/>
                </a:lnTo>
                <a:lnTo>
                  <a:pt x="89" y="3"/>
                </a:lnTo>
                <a:lnTo>
                  <a:pt x="95" y="3"/>
                </a:lnTo>
                <a:lnTo>
                  <a:pt x="99" y="2"/>
                </a:lnTo>
                <a:lnTo>
                  <a:pt x="106" y="1"/>
                </a:lnTo>
                <a:lnTo>
                  <a:pt x="113" y="0"/>
                </a:lnTo>
                <a:lnTo>
                  <a:pt x="125" y="17"/>
                </a:lnTo>
                <a:lnTo>
                  <a:pt x="140" y="37"/>
                </a:lnTo>
                <a:lnTo>
                  <a:pt x="144" y="42"/>
                </a:lnTo>
                <a:lnTo>
                  <a:pt x="148" y="46"/>
                </a:lnTo>
                <a:lnTo>
                  <a:pt x="153" y="49"/>
                </a:lnTo>
                <a:lnTo>
                  <a:pt x="157" y="52"/>
                </a:lnTo>
                <a:lnTo>
                  <a:pt x="163" y="54"/>
                </a:lnTo>
                <a:lnTo>
                  <a:pt x="168" y="56"/>
                </a:lnTo>
                <a:lnTo>
                  <a:pt x="174" y="56"/>
                </a:lnTo>
                <a:lnTo>
                  <a:pt x="180" y="56"/>
                </a:lnTo>
                <a:lnTo>
                  <a:pt x="180" y="80"/>
                </a:lnTo>
                <a:lnTo>
                  <a:pt x="193" y="103"/>
                </a:lnTo>
                <a:lnTo>
                  <a:pt x="212" y="128"/>
                </a:lnTo>
                <a:lnTo>
                  <a:pt x="215" y="135"/>
                </a:lnTo>
                <a:lnTo>
                  <a:pt x="220" y="142"/>
                </a:lnTo>
                <a:lnTo>
                  <a:pt x="223" y="151"/>
                </a:lnTo>
                <a:lnTo>
                  <a:pt x="226" y="160"/>
                </a:lnTo>
                <a:lnTo>
                  <a:pt x="230" y="170"/>
                </a:lnTo>
                <a:lnTo>
                  <a:pt x="232" y="180"/>
                </a:lnTo>
                <a:lnTo>
                  <a:pt x="233" y="191"/>
                </a:lnTo>
                <a:lnTo>
                  <a:pt x="233" y="204"/>
                </a:lnTo>
                <a:lnTo>
                  <a:pt x="232" y="216"/>
                </a:lnTo>
                <a:lnTo>
                  <a:pt x="230" y="228"/>
                </a:lnTo>
                <a:lnTo>
                  <a:pt x="227" y="240"/>
                </a:lnTo>
                <a:lnTo>
                  <a:pt x="226" y="252"/>
                </a:lnTo>
                <a:lnTo>
                  <a:pt x="222" y="252"/>
                </a:lnTo>
                <a:lnTo>
                  <a:pt x="215" y="250"/>
                </a:lnTo>
                <a:lnTo>
                  <a:pt x="208" y="246"/>
                </a:lnTo>
                <a:lnTo>
                  <a:pt x="198" y="241"/>
                </a:lnTo>
                <a:lnTo>
                  <a:pt x="176" y="226"/>
                </a:lnTo>
                <a:lnTo>
                  <a:pt x="151" y="208"/>
                </a:lnTo>
                <a:lnTo>
                  <a:pt x="125" y="186"/>
                </a:lnTo>
                <a:lnTo>
                  <a:pt x="100" y="165"/>
                </a:lnTo>
                <a:lnTo>
                  <a:pt x="78" y="145"/>
                </a:lnTo>
                <a:lnTo>
                  <a:pt x="61" y="129"/>
                </a:lnTo>
                <a:lnTo>
                  <a:pt x="55" y="125"/>
                </a:lnTo>
                <a:lnTo>
                  <a:pt x="48" y="120"/>
                </a:lnTo>
                <a:lnTo>
                  <a:pt x="41" y="116"/>
                </a:lnTo>
                <a:lnTo>
                  <a:pt x="33" y="112"/>
                </a:lnTo>
                <a:lnTo>
                  <a:pt x="17" y="104"/>
                </a:lnTo>
                <a:lnTo>
                  <a:pt x="0" y="99"/>
                </a:lnTo>
                <a:lnTo>
                  <a:pt x="40" y="63"/>
                </a:lnTo>
                <a:lnTo>
                  <a:pt x="59" y="43"/>
                </a:lnTo>
                <a:lnTo>
                  <a:pt x="65" y="33"/>
                </a:lnTo>
                <a:lnTo>
                  <a:pt x="69" y="25"/>
                </a:lnTo>
                <a:lnTo>
                  <a:pt x="72" y="14"/>
                </a:lnTo>
                <a:lnTo>
                  <a:pt x="7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14" name="Freeform 266"/>
          <p:cNvSpPr>
            <a:spLocks/>
          </p:cNvSpPr>
          <p:nvPr>
            <p:custDataLst>
              <p:tags r:id="rId193"/>
            </p:custDataLst>
          </p:nvPr>
        </p:nvSpPr>
        <p:spPr bwMode="auto">
          <a:xfrm>
            <a:off x="5459414" y="3319463"/>
            <a:ext cx="104775" cy="201612"/>
          </a:xfrm>
          <a:custGeom>
            <a:avLst/>
            <a:gdLst>
              <a:gd name="T0" fmla="*/ 13 w 246"/>
              <a:gd name="T1" fmla="*/ 376 h 380"/>
              <a:gd name="T2" fmla="*/ 14 w 246"/>
              <a:gd name="T3" fmla="*/ 367 h 380"/>
              <a:gd name="T4" fmla="*/ 15 w 246"/>
              <a:gd name="T5" fmla="*/ 359 h 380"/>
              <a:gd name="T6" fmla="*/ 18 w 246"/>
              <a:gd name="T7" fmla="*/ 351 h 380"/>
              <a:gd name="T8" fmla="*/ 20 w 246"/>
              <a:gd name="T9" fmla="*/ 344 h 380"/>
              <a:gd name="T10" fmla="*/ 25 w 246"/>
              <a:gd name="T11" fmla="*/ 333 h 380"/>
              <a:gd name="T12" fmla="*/ 26 w 246"/>
              <a:gd name="T13" fmla="*/ 327 h 380"/>
              <a:gd name="T14" fmla="*/ 25 w 246"/>
              <a:gd name="T15" fmla="*/ 321 h 380"/>
              <a:gd name="T16" fmla="*/ 23 w 246"/>
              <a:gd name="T17" fmla="*/ 314 h 380"/>
              <a:gd name="T18" fmla="*/ 19 w 246"/>
              <a:gd name="T19" fmla="*/ 305 h 380"/>
              <a:gd name="T20" fmla="*/ 13 w 246"/>
              <a:gd name="T21" fmla="*/ 295 h 380"/>
              <a:gd name="T22" fmla="*/ 9 w 246"/>
              <a:gd name="T23" fmla="*/ 285 h 380"/>
              <a:gd name="T24" fmla="*/ 4 w 246"/>
              <a:gd name="T25" fmla="*/ 275 h 380"/>
              <a:gd name="T26" fmla="*/ 1 w 246"/>
              <a:gd name="T27" fmla="*/ 267 h 380"/>
              <a:gd name="T28" fmla="*/ 0 w 246"/>
              <a:gd name="T29" fmla="*/ 259 h 380"/>
              <a:gd name="T30" fmla="*/ 1 w 246"/>
              <a:gd name="T31" fmla="*/ 251 h 380"/>
              <a:gd name="T32" fmla="*/ 2 w 246"/>
              <a:gd name="T33" fmla="*/ 243 h 380"/>
              <a:gd name="T34" fmla="*/ 3 w 246"/>
              <a:gd name="T35" fmla="*/ 236 h 380"/>
              <a:gd name="T36" fmla="*/ 6 w 246"/>
              <a:gd name="T37" fmla="*/ 230 h 380"/>
              <a:gd name="T38" fmla="*/ 11 w 246"/>
              <a:gd name="T39" fmla="*/ 218 h 380"/>
              <a:gd name="T40" fmla="*/ 19 w 246"/>
              <a:gd name="T41" fmla="*/ 207 h 380"/>
              <a:gd name="T42" fmla="*/ 26 w 246"/>
              <a:gd name="T43" fmla="*/ 197 h 380"/>
              <a:gd name="T44" fmla="*/ 34 w 246"/>
              <a:gd name="T45" fmla="*/ 185 h 380"/>
              <a:gd name="T46" fmla="*/ 41 w 246"/>
              <a:gd name="T47" fmla="*/ 173 h 380"/>
              <a:gd name="T48" fmla="*/ 47 w 246"/>
              <a:gd name="T49" fmla="*/ 160 h 380"/>
              <a:gd name="T50" fmla="*/ 26 w 246"/>
              <a:gd name="T51" fmla="*/ 73 h 380"/>
              <a:gd name="T52" fmla="*/ 26 w 246"/>
              <a:gd name="T53" fmla="*/ 50 h 380"/>
              <a:gd name="T54" fmla="*/ 24 w 246"/>
              <a:gd name="T55" fmla="*/ 33 h 380"/>
              <a:gd name="T56" fmla="*/ 24 w 246"/>
              <a:gd name="T57" fmla="*/ 25 h 380"/>
              <a:gd name="T58" fmla="*/ 24 w 246"/>
              <a:gd name="T59" fmla="*/ 16 h 380"/>
              <a:gd name="T60" fmla="*/ 25 w 246"/>
              <a:gd name="T61" fmla="*/ 8 h 380"/>
              <a:gd name="T62" fmla="*/ 26 w 246"/>
              <a:gd name="T63" fmla="*/ 0 h 380"/>
              <a:gd name="T64" fmla="*/ 180 w 246"/>
              <a:gd name="T65" fmla="*/ 0 h 380"/>
              <a:gd name="T66" fmla="*/ 220 w 246"/>
              <a:gd name="T67" fmla="*/ 129 h 380"/>
              <a:gd name="T68" fmla="*/ 220 w 246"/>
              <a:gd name="T69" fmla="*/ 210 h 380"/>
              <a:gd name="T70" fmla="*/ 220 w 246"/>
              <a:gd name="T71" fmla="*/ 220 h 380"/>
              <a:gd name="T72" fmla="*/ 221 w 246"/>
              <a:gd name="T73" fmla="*/ 230 h 380"/>
              <a:gd name="T74" fmla="*/ 223 w 246"/>
              <a:gd name="T75" fmla="*/ 240 h 380"/>
              <a:gd name="T76" fmla="*/ 225 w 246"/>
              <a:gd name="T77" fmla="*/ 250 h 380"/>
              <a:gd name="T78" fmla="*/ 228 w 246"/>
              <a:gd name="T79" fmla="*/ 259 h 380"/>
              <a:gd name="T80" fmla="*/ 234 w 246"/>
              <a:gd name="T81" fmla="*/ 268 h 380"/>
              <a:gd name="T82" fmla="*/ 239 w 246"/>
              <a:gd name="T83" fmla="*/ 278 h 380"/>
              <a:gd name="T84" fmla="*/ 246 w 246"/>
              <a:gd name="T85" fmla="*/ 289 h 380"/>
              <a:gd name="T86" fmla="*/ 224 w 246"/>
              <a:gd name="T87" fmla="*/ 295 h 380"/>
              <a:gd name="T88" fmla="*/ 202 w 246"/>
              <a:gd name="T89" fmla="*/ 302 h 380"/>
              <a:gd name="T90" fmla="*/ 181 w 246"/>
              <a:gd name="T91" fmla="*/ 310 h 380"/>
              <a:gd name="T92" fmla="*/ 160 w 246"/>
              <a:gd name="T93" fmla="*/ 319 h 380"/>
              <a:gd name="T94" fmla="*/ 141 w 246"/>
              <a:gd name="T95" fmla="*/ 328 h 380"/>
              <a:gd name="T96" fmla="*/ 120 w 246"/>
              <a:gd name="T97" fmla="*/ 338 h 380"/>
              <a:gd name="T98" fmla="*/ 100 w 246"/>
              <a:gd name="T99" fmla="*/ 347 h 380"/>
              <a:gd name="T100" fmla="*/ 80 w 246"/>
              <a:gd name="T101" fmla="*/ 358 h 380"/>
              <a:gd name="T102" fmla="*/ 75 w 246"/>
              <a:gd name="T103" fmla="*/ 363 h 380"/>
              <a:gd name="T104" fmla="*/ 69 w 246"/>
              <a:gd name="T105" fmla="*/ 367 h 380"/>
              <a:gd name="T106" fmla="*/ 62 w 246"/>
              <a:gd name="T107" fmla="*/ 372 h 380"/>
              <a:gd name="T108" fmla="*/ 54 w 246"/>
              <a:gd name="T109" fmla="*/ 376 h 380"/>
              <a:gd name="T110" fmla="*/ 46 w 246"/>
              <a:gd name="T111" fmla="*/ 379 h 380"/>
              <a:gd name="T112" fmla="*/ 36 w 246"/>
              <a:gd name="T113" fmla="*/ 380 h 380"/>
              <a:gd name="T114" fmla="*/ 31 w 246"/>
              <a:gd name="T115" fmla="*/ 380 h 380"/>
              <a:gd name="T116" fmla="*/ 25 w 246"/>
              <a:gd name="T117" fmla="*/ 379 h 380"/>
              <a:gd name="T118" fmla="*/ 20 w 246"/>
              <a:gd name="T119" fmla="*/ 378 h 380"/>
              <a:gd name="T120" fmla="*/ 13 w 246"/>
              <a:gd name="T121" fmla="*/ 376 h 3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46" h="380">
                <a:moveTo>
                  <a:pt x="13" y="376"/>
                </a:moveTo>
                <a:lnTo>
                  <a:pt x="14" y="367"/>
                </a:lnTo>
                <a:lnTo>
                  <a:pt x="15" y="359"/>
                </a:lnTo>
                <a:lnTo>
                  <a:pt x="18" y="351"/>
                </a:lnTo>
                <a:lnTo>
                  <a:pt x="20" y="344"/>
                </a:lnTo>
                <a:lnTo>
                  <a:pt x="25" y="333"/>
                </a:lnTo>
                <a:lnTo>
                  <a:pt x="26" y="327"/>
                </a:lnTo>
                <a:lnTo>
                  <a:pt x="25" y="321"/>
                </a:lnTo>
                <a:lnTo>
                  <a:pt x="23" y="314"/>
                </a:lnTo>
                <a:lnTo>
                  <a:pt x="19" y="305"/>
                </a:lnTo>
                <a:lnTo>
                  <a:pt x="13" y="295"/>
                </a:lnTo>
                <a:lnTo>
                  <a:pt x="9" y="285"/>
                </a:lnTo>
                <a:lnTo>
                  <a:pt x="4" y="275"/>
                </a:lnTo>
                <a:lnTo>
                  <a:pt x="1" y="267"/>
                </a:lnTo>
                <a:lnTo>
                  <a:pt x="0" y="259"/>
                </a:lnTo>
                <a:lnTo>
                  <a:pt x="1" y="251"/>
                </a:lnTo>
                <a:lnTo>
                  <a:pt x="2" y="243"/>
                </a:lnTo>
                <a:lnTo>
                  <a:pt x="3" y="236"/>
                </a:lnTo>
                <a:lnTo>
                  <a:pt x="6" y="230"/>
                </a:lnTo>
                <a:lnTo>
                  <a:pt x="11" y="218"/>
                </a:lnTo>
                <a:lnTo>
                  <a:pt x="19" y="207"/>
                </a:lnTo>
                <a:lnTo>
                  <a:pt x="26" y="197"/>
                </a:lnTo>
                <a:lnTo>
                  <a:pt x="34" y="185"/>
                </a:lnTo>
                <a:lnTo>
                  <a:pt x="41" y="173"/>
                </a:lnTo>
                <a:lnTo>
                  <a:pt x="47" y="160"/>
                </a:lnTo>
                <a:lnTo>
                  <a:pt x="26" y="73"/>
                </a:lnTo>
                <a:lnTo>
                  <a:pt x="26" y="50"/>
                </a:lnTo>
                <a:lnTo>
                  <a:pt x="24" y="33"/>
                </a:lnTo>
                <a:lnTo>
                  <a:pt x="24" y="25"/>
                </a:lnTo>
                <a:lnTo>
                  <a:pt x="24" y="16"/>
                </a:lnTo>
                <a:lnTo>
                  <a:pt x="25" y="8"/>
                </a:lnTo>
                <a:lnTo>
                  <a:pt x="26" y="0"/>
                </a:lnTo>
                <a:lnTo>
                  <a:pt x="180" y="0"/>
                </a:lnTo>
                <a:lnTo>
                  <a:pt x="220" y="129"/>
                </a:lnTo>
                <a:lnTo>
                  <a:pt x="220" y="210"/>
                </a:lnTo>
                <a:lnTo>
                  <a:pt x="220" y="220"/>
                </a:lnTo>
                <a:lnTo>
                  <a:pt x="221" y="230"/>
                </a:lnTo>
                <a:lnTo>
                  <a:pt x="223" y="240"/>
                </a:lnTo>
                <a:lnTo>
                  <a:pt x="225" y="250"/>
                </a:lnTo>
                <a:lnTo>
                  <a:pt x="228" y="259"/>
                </a:lnTo>
                <a:lnTo>
                  <a:pt x="234" y="268"/>
                </a:lnTo>
                <a:lnTo>
                  <a:pt x="239" y="278"/>
                </a:lnTo>
                <a:lnTo>
                  <a:pt x="246" y="289"/>
                </a:lnTo>
                <a:lnTo>
                  <a:pt x="224" y="295"/>
                </a:lnTo>
                <a:lnTo>
                  <a:pt x="202" y="302"/>
                </a:lnTo>
                <a:lnTo>
                  <a:pt x="181" y="310"/>
                </a:lnTo>
                <a:lnTo>
                  <a:pt x="160" y="319"/>
                </a:lnTo>
                <a:lnTo>
                  <a:pt x="141" y="328"/>
                </a:lnTo>
                <a:lnTo>
                  <a:pt x="120" y="338"/>
                </a:lnTo>
                <a:lnTo>
                  <a:pt x="100" y="347"/>
                </a:lnTo>
                <a:lnTo>
                  <a:pt x="80" y="358"/>
                </a:lnTo>
                <a:lnTo>
                  <a:pt x="75" y="363"/>
                </a:lnTo>
                <a:lnTo>
                  <a:pt x="69" y="367"/>
                </a:lnTo>
                <a:lnTo>
                  <a:pt x="62" y="372"/>
                </a:lnTo>
                <a:lnTo>
                  <a:pt x="54" y="376"/>
                </a:lnTo>
                <a:lnTo>
                  <a:pt x="46" y="379"/>
                </a:lnTo>
                <a:lnTo>
                  <a:pt x="36" y="380"/>
                </a:lnTo>
                <a:lnTo>
                  <a:pt x="31" y="380"/>
                </a:lnTo>
                <a:lnTo>
                  <a:pt x="25" y="379"/>
                </a:lnTo>
                <a:lnTo>
                  <a:pt x="20" y="378"/>
                </a:lnTo>
                <a:lnTo>
                  <a:pt x="13" y="37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15" name="Freeform 267"/>
          <p:cNvSpPr>
            <a:spLocks/>
          </p:cNvSpPr>
          <p:nvPr>
            <p:custDataLst>
              <p:tags r:id="rId194"/>
            </p:custDataLst>
          </p:nvPr>
        </p:nvSpPr>
        <p:spPr bwMode="auto">
          <a:xfrm>
            <a:off x="5111751" y="3235325"/>
            <a:ext cx="87313" cy="58738"/>
          </a:xfrm>
          <a:custGeom>
            <a:avLst/>
            <a:gdLst>
              <a:gd name="T0" fmla="*/ 7 w 193"/>
              <a:gd name="T1" fmla="*/ 20 h 38"/>
              <a:gd name="T2" fmla="*/ 38 w 193"/>
              <a:gd name="T3" fmla="*/ 11 h 38"/>
              <a:gd name="T4" fmla="*/ 67 w 193"/>
              <a:gd name="T5" fmla="*/ 5 h 38"/>
              <a:gd name="T6" fmla="*/ 80 w 193"/>
              <a:gd name="T7" fmla="*/ 3 h 38"/>
              <a:gd name="T8" fmla="*/ 94 w 193"/>
              <a:gd name="T9" fmla="*/ 2 h 38"/>
              <a:gd name="T10" fmla="*/ 110 w 193"/>
              <a:gd name="T11" fmla="*/ 1 h 38"/>
              <a:gd name="T12" fmla="*/ 126 w 193"/>
              <a:gd name="T13" fmla="*/ 0 h 38"/>
              <a:gd name="T14" fmla="*/ 138 w 193"/>
              <a:gd name="T15" fmla="*/ 1 h 38"/>
              <a:gd name="T16" fmla="*/ 149 w 193"/>
              <a:gd name="T17" fmla="*/ 1 h 38"/>
              <a:gd name="T18" fmla="*/ 160 w 193"/>
              <a:gd name="T19" fmla="*/ 2 h 38"/>
              <a:gd name="T20" fmla="*/ 169 w 193"/>
              <a:gd name="T21" fmla="*/ 4 h 38"/>
              <a:gd name="T22" fmla="*/ 178 w 193"/>
              <a:gd name="T23" fmla="*/ 6 h 38"/>
              <a:gd name="T24" fmla="*/ 184 w 193"/>
              <a:gd name="T25" fmla="*/ 11 h 38"/>
              <a:gd name="T26" fmla="*/ 187 w 193"/>
              <a:gd name="T27" fmla="*/ 13 h 38"/>
              <a:gd name="T28" fmla="*/ 189 w 193"/>
              <a:gd name="T29" fmla="*/ 18 h 38"/>
              <a:gd name="T30" fmla="*/ 191 w 193"/>
              <a:gd name="T31" fmla="*/ 21 h 38"/>
              <a:gd name="T32" fmla="*/ 193 w 193"/>
              <a:gd name="T33" fmla="*/ 26 h 38"/>
              <a:gd name="T34" fmla="*/ 183 w 193"/>
              <a:gd name="T35" fmla="*/ 27 h 38"/>
              <a:gd name="T36" fmla="*/ 173 w 193"/>
              <a:gd name="T37" fmla="*/ 28 h 38"/>
              <a:gd name="T38" fmla="*/ 165 w 193"/>
              <a:gd name="T39" fmla="*/ 28 h 38"/>
              <a:gd name="T40" fmla="*/ 156 w 193"/>
              <a:gd name="T41" fmla="*/ 28 h 38"/>
              <a:gd name="T42" fmla="*/ 138 w 193"/>
              <a:gd name="T43" fmla="*/ 27 h 38"/>
              <a:gd name="T44" fmla="*/ 120 w 193"/>
              <a:gd name="T45" fmla="*/ 26 h 38"/>
              <a:gd name="T46" fmla="*/ 103 w 193"/>
              <a:gd name="T47" fmla="*/ 26 h 38"/>
              <a:gd name="T48" fmla="*/ 89 w 193"/>
              <a:gd name="T49" fmla="*/ 28 h 38"/>
              <a:gd name="T50" fmla="*/ 76 w 193"/>
              <a:gd name="T51" fmla="*/ 30 h 38"/>
              <a:gd name="T52" fmla="*/ 63 w 193"/>
              <a:gd name="T53" fmla="*/ 32 h 38"/>
              <a:gd name="T54" fmla="*/ 49 w 193"/>
              <a:gd name="T55" fmla="*/ 34 h 38"/>
              <a:gd name="T56" fmla="*/ 35 w 193"/>
              <a:gd name="T57" fmla="*/ 36 h 38"/>
              <a:gd name="T58" fmla="*/ 19 w 193"/>
              <a:gd name="T59" fmla="*/ 37 h 38"/>
              <a:gd name="T60" fmla="*/ 0 w 193"/>
              <a:gd name="T61" fmla="*/ 38 h 38"/>
              <a:gd name="T62" fmla="*/ 0 w 193"/>
              <a:gd name="T63" fmla="*/ 33 h 38"/>
              <a:gd name="T64" fmla="*/ 1 w 193"/>
              <a:gd name="T65" fmla="*/ 29 h 38"/>
              <a:gd name="T66" fmla="*/ 3 w 193"/>
              <a:gd name="T67" fmla="*/ 24 h 38"/>
              <a:gd name="T68" fmla="*/ 7 w 193"/>
              <a:gd name="T69" fmla="*/ 20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93" h="38">
                <a:moveTo>
                  <a:pt x="7" y="20"/>
                </a:moveTo>
                <a:lnTo>
                  <a:pt x="38" y="11"/>
                </a:lnTo>
                <a:lnTo>
                  <a:pt x="67" y="5"/>
                </a:lnTo>
                <a:lnTo>
                  <a:pt x="80" y="3"/>
                </a:lnTo>
                <a:lnTo>
                  <a:pt x="94" y="2"/>
                </a:lnTo>
                <a:lnTo>
                  <a:pt x="110" y="1"/>
                </a:lnTo>
                <a:lnTo>
                  <a:pt x="126" y="0"/>
                </a:lnTo>
                <a:lnTo>
                  <a:pt x="138" y="1"/>
                </a:lnTo>
                <a:lnTo>
                  <a:pt x="149" y="1"/>
                </a:lnTo>
                <a:lnTo>
                  <a:pt x="160" y="2"/>
                </a:lnTo>
                <a:lnTo>
                  <a:pt x="169" y="4"/>
                </a:lnTo>
                <a:lnTo>
                  <a:pt x="178" y="6"/>
                </a:lnTo>
                <a:lnTo>
                  <a:pt x="184" y="11"/>
                </a:lnTo>
                <a:lnTo>
                  <a:pt x="187" y="13"/>
                </a:lnTo>
                <a:lnTo>
                  <a:pt x="189" y="18"/>
                </a:lnTo>
                <a:lnTo>
                  <a:pt x="191" y="21"/>
                </a:lnTo>
                <a:lnTo>
                  <a:pt x="193" y="26"/>
                </a:lnTo>
                <a:lnTo>
                  <a:pt x="183" y="27"/>
                </a:lnTo>
                <a:lnTo>
                  <a:pt x="173" y="28"/>
                </a:lnTo>
                <a:lnTo>
                  <a:pt x="165" y="28"/>
                </a:lnTo>
                <a:lnTo>
                  <a:pt x="156" y="28"/>
                </a:lnTo>
                <a:lnTo>
                  <a:pt x="138" y="27"/>
                </a:lnTo>
                <a:lnTo>
                  <a:pt x="120" y="26"/>
                </a:lnTo>
                <a:lnTo>
                  <a:pt x="103" y="26"/>
                </a:lnTo>
                <a:lnTo>
                  <a:pt x="89" y="28"/>
                </a:lnTo>
                <a:lnTo>
                  <a:pt x="76" y="30"/>
                </a:lnTo>
                <a:lnTo>
                  <a:pt x="63" y="32"/>
                </a:lnTo>
                <a:lnTo>
                  <a:pt x="49" y="34"/>
                </a:lnTo>
                <a:lnTo>
                  <a:pt x="35" y="36"/>
                </a:lnTo>
                <a:lnTo>
                  <a:pt x="19" y="37"/>
                </a:lnTo>
                <a:lnTo>
                  <a:pt x="0" y="38"/>
                </a:lnTo>
                <a:lnTo>
                  <a:pt x="0" y="33"/>
                </a:lnTo>
                <a:lnTo>
                  <a:pt x="1" y="29"/>
                </a:lnTo>
                <a:lnTo>
                  <a:pt x="3" y="24"/>
                </a:lnTo>
                <a:lnTo>
                  <a:pt x="7" y="2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16" name="Freeform 268"/>
          <p:cNvSpPr>
            <a:spLocks/>
          </p:cNvSpPr>
          <p:nvPr>
            <p:custDataLst>
              <p:tags r:id="rId195"/>
            </p:custDataLst>
          </p:nvPr>
        </p:nvSpPr>
        <p:spPr bwMode="auto">
          <a:xfrm>
            <a:off x="5537201" y="3313114"/>
            <a:ext cx="42863" cy="155575"/>
          </a:xfrm>
          <a:custGeom>
            <a:avLst/>
            <a:gdLst>
              <a:gd name="T0" fmla="*/ 53 w 99"/>
              <a:gd name="T1" fmla="*/ 12 h 301"/>
              <a:gd name="T2" fmla="*/ 59 w 99"/>
              <a:gd name="T3" fmla="*/ 12 h 301"/>
              <a:gd name="T4" fmla="*/ 59 w 99"/>
              <a:gd name="T5" fmla="*/ 19 h 301"/>
              <a:gd name="T6" fmla="*/ 62 w 99"/>
              <a:gd name="T7" fmla="*/ 26 h 301"/>
              <a:gd name="T8" fmla="*/ 63 w 99"/>
              <a:gd name="T9" fmla="*/ 33 h 301"/>
              <a:gd name="T10" fmla="*/ 66 w 99"/>
              <a:gd name="T11" fmla="*/ 42 h 301"/>
              <a:gd name="T12" fmla="*/ 72 w 99"/>
              <a:gd name="T13" fmla="*/ 58 h 301"/>
              <a:gd name="T14" fmla="*/ 79 w 99"/>
              <a:gd name="T15" fmla="*/ 75 h 301"/>
              <a:gd name="T16" fmla="*/ 87 w 99"/>
              <a:gd name="T17" fmla="*/ 93 h 301"/>
              <a:gd name="T18" fmla="*/ 93 w 99"/>
              <a:gd name="T19" fmla="*/ 111 h 301"/>
              <a:gd name="T20" fmla="*/ 96 w 99"/>
              <a:gd name="T21" fmla="*/ 120 h 301"/>
              <a:gd name="T22" fmla="*/ 98 w 99"/>
              <a:gd name="T23" fmla="*/ 129 h 301"/>
              <a:gd name="T24" fmla="*/ 99 w 99"/>
              <a:gd name="T25" fmla="*/ 138 h 301"/>
              <a:gd name="T26" fmla="*/ 99 w 99"/>
              <a:gd name="T27" fmla="*/ 148 h 301"/>
              <a:gd name="T28" fmla="*/ 99 w 99"/>
              <a:gd name="T29" fmla="*/ 289 h 301"/>
              <a:gd name="T30" fmla="*/ 89 w 99"/>
              <a:gd name="T31" fmla="*/ 290 h 301"/>
              <a:gd name="T32" fmla="*/ 80 w 99"/>
              <a:gd name="T33" fmla="*/ 293 h 301"/>
              <a:gd name="T34" fmla="*/ 73 w 99"/>
              <a:gd name="T35" fmla="*/ 297 h 301"/>
              <a:gd name="T36" fmla="*/ 66 w 99"/>
              <a:gd name="T37" fmla="*/ 301 h 301"/>
              <a:gd name="T38" fmla="*/ 59 w 99"/>
              <a:gd name="T39" fmla="*/ 290 h 301"/>
              <a:gd name="T40" fmla="*/ 54 w 99"/>
              <a:gd name="T41" fmla="*/ 280 h 301"/>
              <a:gd name="T42" fmla="*/ 48 w 99"/>
              <a:gd name="T43" fmla="*/ 271 h 301"/>
              <a:gd name="T44" fmla="*/ 45 w 99"/>
              <a:gd name="T45" fmla="*/ 262 h 301"/>
              <a:gd name="T46" fmla="*/ 43 w 99"/>
              <a:gd name="T47" fmla="*/ 252 h 301"/>
              <a:gd name="T48" fmla="*/ 41 w 99"/>
              <a:gd name="T49" fmla="*/ 242 h 301"/>
              <a:gd name="T50" fmla="*/ 40 w 99"/>
              <a:gd name="T51" fmla="*/ 232 h 301"/>
              <a:gd name="T52" fmla="*/ 40 w 99"/>
              <a:gd name="T53" fmla="*/ 222 h 301"/>
              <a:gd name="T54" fmla="*/ 40 w 99"/>
              <a:gd name="T55" fmla="*/ 141 h 301"/>
              <a:gd name="T56" fmla="*/ 0 w 99"/>
              <a:gd name="T57" fmla="*/ 6 h 301"/>
              <a:gd name="T58" fmla="*/ 5 w 99"/>
              <a:gd name="T59" fmla="*/ 2 h 301"/>
              <a:gd name="T60" fmla="*/ 10 w 99"/>
              <a:gd name="T61" fmla="*/ 0 h 301"/>
              <a:gd name="T62" fmla="*/ 14 w 99"/>
              <a:gd name="T63" fmla="*/ 0 h 301"/>
              <a:gd name="T64" fmla="*/ 20 w 99"/>
              <a:gd name="T65" fmla="*/ 0 h 301"/>
              <a:gd name="T66" fmla="*/ 26 w 99"/>
              <a:gd name="T67" fmla="*/ 0 h 301"/>
              <a:gd name="T68" fmla="*/ 32 w 99"/>
              <a:gd name="T69" fmla="*/ 2 h 301"/>
              <a:gd name="T70" fmla="*/ 37 w 99"/>
              <a:gd name="T71" fmla="*/ 4 h 301"/>
              <a:gd name="T72" fmla="*/ 41 w 99"/>
              <a:gd name="T73" fmla="*/ 6 h 301"/>
              <a:gd name="T74" fmla="*/ 47 w 99"/>
              <a:gd name="T75" fmla="*/ 10 h 301"/>
              <a:gd name="T76" fmla="*/ 53 w 99"/>
              <a:gd name="T77" fmla="*/ 12 h 3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99" h="301">
                <a:moveTo>
                  <a:pt x="53" y="12"/>
                </a:moveTo>
                <a:lnTo>
                  <a:pt x="59" y="12"/>
                </a:lnTo>
                <a:lnTo>
                  <a:pt x="59" y="19"/>
                </a:lnTo>
                <a:lnTo>
                  <a:pt x="62" y="26"/>
                </a:lnTo>
                <a:lnTo>
                  <a:pt x="63" y="33"/>
                </a:lnTo>
                <a:lnTo>
                  <a:pt x="66" y="42"/>
                </a:lnTo>
                <a:lnTo>
                  <a:pt x="72" y="58"/>
                </a:lnTo>
                <a:lnTo>
                  <a:pt x="79" y="75"/>
                </a:lnTo>
                <a:lnTo>
                  <a:pt x="87" y="93"/>
                </a:lnTo>
                <a:lnTo>
                  <a:pt x="93" y="111"/>
                </a:lnTo>
                <a:lnTo>
                  <a:pt x="96" y="120"/>
                </a:lnTo>
                <a:lnTo>
                  <a:pt x="98" y="129"/>
                </a:lnTo>
                <a:lnTo>
                  <a:pt x="99" y="138"/>
                </a:lnTo>
                <a:lnTo>
                  <a:pt x="99" y="148"/>
                </a:lnTo>
                <a:lnTo>
                  <a:pt x="99" y="289"/>
                </a:lnTo>
                <a:lnTo>
                  <a:pt x="89" y="290"/>
                </a:lnTo>
                <a:lnTo>
                  <a:pt x="80" y="293"/>
                </a:lnTo>
                <a:lnTo>
                  <a:pt x="73" y="297"/>
                </a:lnTo>
                <a:lnTo>
                  <a:pt x="66" y="301"/>
                </a:lnTo>
                <a:lnTo>
                  <a:pt x="59" y="290"/>
                </a:lnTo>
                <a:lnTo>
                  <a:pt x="54" y="280"/>
                </a:lnTo>
                <a:lnTo>
                  <a:pt x="48" y="271"/>
                </a:lnTo>
                <a:lnTo>
                  <a:pt x="45" y="262"/>
                </a:lnTo>
                <a:lnTo>
                  <a:pt x="43" y="252"/>
                </a:lnTo>
                <a:lnTo>
                  <a:pt x="41" y="242"/>
                </a:lnTo>
                <a:lnTo>
                  <a:pt x="40" y="232"/>
                </a:lnTo>
                <a:lnTo>
                  <a:pt x="40" y="222"/>
                </a:lnTo>
                <a:lnTo>
                  <a:pt x="40" y="141"/>
                </a:lnTo>
                <a:lnTo>
                  <a:pt x="0" y="6"/>
                </a:lnTo>
                <a:lnTo>
                  <a:pt x="5" y="2"/>
                </a:lnTo>
                <a:lnTo>
                  <a:pt x="10" y="0"/>
                </a:lnTo>
                <a:lnTo>
                  <a:pt x="14" y="0"/>
                </a:lnTo>
                <a:lnTo>
                  <a:pt x="20" y="0"/>
                </a:lnTo>
                <a:lnTo>
                  <a:pt x="26" y="0"/>
                </a:lnTo>
                <a:lnTo>
                  <a:pt x="32" y="2"/>
                </a:lnTo>
                <a:lnTo>
                  <a:pt x="37" y="4"/>
                </a:lnTo>
                <a:lnTo>
                  <a:pt x="41" y="6"/>
                </a:lnTo>
                <a:lnTo>
                  <a:pt x="47" y="10"/>
                </a:lnTo>
                <a:lnTo>
                  <a:pt x="53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17" name="Freeform 269"/>
          <p:cNvSpPr>
            <a:spLocks/>
          </p:cNvSpPr>
          <p:nvPr>
            <p:custDataLst>
              <p:tags r:id="rId196"/>
            </p:custDataLst>
          </p:nvPr>
        </p:nvSpPr>
        <p:spPr bwMode="auto">
          <a:xfrm>
            <a:off x="5562600" y="3275013"/>
            <a:ext cx="76200" cy="188912"/>
          </a:xfrm>
          <a:custGeom>
            <a:avLst/>
            <a:gdLst>
              <a:gd name="T0" fmla="*/ 0 w 173"/>
              <a:gd name="T1" fmla="*/ 80 h 357"/>
              <a:gd name="T2" fmla="*/ 9 w 173"/>
              <a:gd name="T3" fmla="*/ 72 h 357"/>
              <a:gd name="T4" fmla="*/ 17 w 173"/>
              <a:gd name="T5" fmla="*/ 65 h 357"/>
              <a:gd name="T6" fmla="*/ 25 w 173"/>
              <a:gd name="T7" fmla="*/ 60 h 357"/>
              <a:gd name="T8" fmla="*/ 33 w 173"/>
              <a:gd name="T9" fmla="*/ 56 h 357"/>
              <a:gd name="T10" fmla="*/ 40 w 173"/>
              <a:gd name="T11" fmla="*/ 50 h 357"/>
              <a:gd name="T12" fmla="*/ 67 w 173"/>
              <a:gd name="T13" fmla="*/ 50 h 357"/>
              <a:gd name="T14" fmla="*/ 94 w 173"/>
              <a:gd name="T15" fmla="*/ 0 h 357"/>
              <a:gd name="T16" fmla="*/ 101 w 173"/>
              <a:gd name="T17" fmla="*/ 3 h 357"/>
              <a:gd name="T18" fmla="*/ 108 w 173"/>
              <a:gd name="T19" fmla="*/ 7 h 357"/>
              <a:gd name="T20" fmla="*/ 116 w 173"/>
              <a:gd name="T21" fmla="*/ 12 h 357"/>
              <a:gd name="T22" fmla="*/ 123 w 173"/>
              <a:gd name="T23" fmla="*/ 18 h 357"/>
              <a:gd name="T24" fmla="*/ 131 w 173"/>
              <a:gd name="T25" fmla="*/ 22 h 357"/>
              <a:gd name="T26" fmla="*/ 139 w 173"/>
              <a:gd name="T27" fmla="*/ 27 h 357"/>
              <a:gd name="T28" fmla="*/ 145 w 173"/>
              <a:gd name="T29" fmla="*/ 29 h 357"/>
              <a:gd name="T30" fmla="*/ 153 w 173"/>
              <a:gd name="T31" fmla="*/ 30 h 357"/>
              <a:gd name="T32" fmla="*/ 163 w 173"/>
              <a:gd name="T33" fmla="*/ 39 h 357"/>
              <a:gd name="T34" fmla="*/ 173 w 173"/>
              <a:gd name="T35" fmla="*/ 50 h 357"/>
              <a:gd name="T36" fmla="*/ 173 w 173"/>
              <a:gd name="T37" fmla="*/ 61 h 357"/>
              <a:gd name="T38" fmla="*/ 173 w 173"/>
              <a:gd name="T39" fmla="*/ 69 h 357"/>
              <a:gd name="T40" fmla="*/ 173 w 173"/>
              <a:gd name="T41" fmla="*/ 80 h 357"/>
              <a:gd name="T42" fmla="*/ 173 w 173"/>
              <a:gd name="T43" fmla="*/ 98 h 357"/>
              <a:gd name="T44" fmla="*/ 173 w 173"/>
              <a:gd name="T45" fmla="*/ 109 h 357"/>
              <a:gd name="T46" fmla="*/ 171 w 173"/>
              <a:gd name="T47" fmla="*/ 118 h 357"/>
              <a:gd name="T48" fmla="*/ 167 w 173"/>
              <a:gd name="T49" fmla="*/ 127 h 357"/>
              <a:gd name="T50" fmla="*/ 163 w 173"/>
              <a:gd name="T51" fmla="*/ 135 h 357"/>
              <a:gd name="T52" fmla="*/ 152 w 173"/>
              <a:gd name="T53" fmla="*/ 151 h 357"/>
              <a:gd name="T54" fmla="*/ 140 w 173"/>
              <a:gd name="T55" fmla="*/ 167 h 357"/>
              <a:gd name="T56" fmla="*/ 128 w 173"/>
              <a:gd name="T57" fmla="*/ 183 h 357"/>
              <a:gd name="T58" fmla="*/ 117 w 173"/>
              <a:gd name="T59" fmla="*/ 200 h 357"/>
              <a:gd name="T60" fmla="*/ 112 w 173"/>
              <a:gd name="T61" fmla="*/ 209 h 357"/>
              <a:gd name="T62" fmla="*/ 109 w 173"/>
              <a:gd name="T63" fmla="*/ 219 h 357"/>
              <a:gd name="T64" fmla="*/ 108 w 173"/>
              <a:gd name="T65" fmla="*/ 229 h 357"/>
              <a:gd name="T66" fmla="*/ 107 w 173"/>
              <a:gd name="T67" fmla="*/ 240 h 357"/>
              <a:gd name="T68" fmla="*/ 108 w 173"/>
              <a:gd name="T69" fmla="*/ 273 h 357"/>
              <a:gd name="T70" fmla="*/ 109 w 173"/>
              <a:gd name="T71" fmla="*/ 293 h 357"/>
              <a:gd name="T72" fmla="*/ 110 w 173"/>
              <a:gd name="T73" fmla="*/ 302 h 357"/>
              <a:gd name="T74" fmla="*/ 109 w 173"/>
              <a:gd name="T75" fmla="*/ 313 h 357"/>
              <a:gd name="T76" fmla="*/ 109 w 173"/>
              <a:gd name="T77" fmla="*/ 327 h 357"/>
              <a:gd name="T78" fmla="*/ 107 w 173"/>
              <a:gd name="T79" fmla="*/ 345 h 357"/>
              <a:gd name="T80" fmla="*/ 97 w 173"/>
              <a:gd name="T81" fmla="*/ 346 h 357"/>
              <a:gd name="T82" fmla="*/ 88 w 173"/>
              <a:gd name="T83" fmla="*/ 347 h 357"/>
              <a:gd name="T84" fmla="*/ 79 w 173"/>
              <a:gd name="T85" fmla="*/ 349 h 357"/>
              <a:gd name="T86" fmla="*/ 71 w 173"/>
              <a:gd name="T87" fmla="*/ 351 h 357"/>
              <a:gd name="T88" fmla="*/ 63 w 173"/>
              <a:gd name="T89" fmla="*/ 353 h 357"/>
              <a:gd name="T90" fmla="*/ 55 w 173"/>
              <a:gd name="T91" fmla="*/ 355 h 357"/>
              <a:gd name="T92" fmla="*/ 48 w 173"/>
              <a:gd name="T93" fmla="*/ 357 h 357"/>
              <a:gd name="T94" fmla="*/ 40 w 173"/>
              <a:gd name="T95" fmla="*/ 357 h 357"/>
              <a:gd name="T96" fmla="*/ 40 w 173"/>
              <a:gd name="T97" fmla="*/ 216 h 357"/>
              <a:gd name="T98" fmla="*/ 40 w 173"/>
              <a:gd name="T99" fmla="*/ 206 h 357"/>
              <a:gd name="T100" fmla="*/ 39 w 173"/>
              <a:gd name="T101" fmla="*/ 197 h 357"/>
              <a:gd name="T102" fmla="*/ 37 w 173"/>
              <a:gd name="T103" fmla="*/ 188 h 357"/>
              <a:gd name="T104" fmla="*/ 34 w 173"/>
              <a:gd name="T105" fmla="*/ 179 h 357"/>
              <a:gd name="T106" fmla="*/ 28 w 173"/>
              <a:gd name="T107" fmla="*/ 161 h 357"/>
              <a:gd name="T108" fmla="*/ 20 w 173"/>
              <a:gd name="T109" fmla="*/ 143 h 357"/>
              <a:gd name="T110" fmla="*/ 13 w 173"/>
              <a:gd name="T111" fmla="*/ 126 h 357"/>
              <a:gd name="T112" fmla="*/ 7 w 173"/>
              <a:gd name="T113" fmla="*/ 110 h 357"/>
              <a:gd name="T114" fmla="*/ 4 w 173"/>
              <a:gd name="T115" fmla="*/ 101 h 357"/>
              <a:gd name="T116" fmla="*/ 3 w 173"/>
              <a:gd name="T117" fmla="*/ 94 h 357"/>
              <a:gd name="T118" fmla="*/ 0 w 173"/>
              <a:gd name="T119" fmla="*/ 87 h 357"/>
              <a:gd name="T120" fmla="*/ 0 w 173"/>
              <a:gd name="T121" fmla="*/ 80 h 3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73" h="357">
                <a:moveTo>
                  <a:pt x="0" y="80"/>
                </a:moveTo>
                <a:lnTo>
                  <a:pt x="9" y="72"/>
                </a:lnTo>
                <a:lnTo>
                  <a:pt x="17" y="65"/>
                </a:lnTo>
                <a:lnTo>
                  <a:pt x="25" y="60"/>
                </a:lnTo>
                <a:lnTo>
                  <a:pt x="33" y="56"/>
                </a:lnTo>
                <a:lnTo>
                  <a:pt x="40" y="50"/>
                </a:lnTo>
                <a:lnTo>
                  <a:pt x="67" y="50"/>
                </a:lnTo>
                <a:lnTo>
                  <a:pt x="94" y="0"/>
                </a:lnTo>
                <a:lnTo>
                  <a:pt x="101" y="3"/>
                </a:lnTo>
                <a:lnTo>
                  <a:pt x="108" y="7"/>
                </a:lnTo>
                <a:lnTo>
                  <a:pt x="116" y="12"/>
                </a:lnTo>
                <a:lnTo>
                  <a:pt x="123" y="18"/>
                </a:lnTo>
                <a:lnTo>
                  <a:pt x="131" y="22"/>
                </a:lnTo>
                <a:lnTo>
                  <a:pt x="139" y="27"/>
                </a:lnTo>
                <a:lnTo>
                  <a:pt x="145" y="29"/>
                </a:lnTo>
                <a:lnTo>
                  <a:pt x="153" y="30"/>
                </a:lnTo>
                <a:lnTo>
                  <a:pt x="163" y="39"/>
                </a:lnTo>
                <a:lnTo>
                  <a:pt x="173" y="50"/>
                </a:lnTo>
                <a:lnTo>
                  <a:pt x="173" y="61"/>
                </a:lnTo>
                <a:lnTo>
                  <a:pt x="173" y="69"/>
                </a:lnTo>
                <a:lnTo>
                  <a:pt x="173" y="80"/>
                </a:lnTo>
                <a:lnTo>
                  <a:pt x="173" y="98"/>
                </a:lnTo>
                <a:lnTo>
                  <a:pt x="173" y="109"/>
                </a:lnTo>
                <a:lnTo>
                  <a:pt x="171" y="118"/>
                </a:lnTo>
                <a:lnTo>
                  <a:pt x="167" y="127"/>
                </a:lnTo>
                <a:lnTo>
                  <a:pt x="163" y="135"/>
                </a:lnTo>
                <a:lnTo>
                  <a:pt x="152" y="151"/>
                </a:lnTo>
                <a:lnTo>
                  <a:pt x="140" y="167"/>
                </a:lnTo>
                <a:lnTo>
                  <a:pt x="128" y="183"/>
                </a:lnTo>
                <a:lnTo>
                  <a:pt x="117" y="200"/>
                </a:lnTo>
                <a:lnTo>
                  <a:pt x="112" y="209"/>
                </a:lnTo>
                <a:lnTo>
                  <a:pt x="109" y="219"/>
                </a:lnTo>
                <a:lnTo>
                  <a:pt x="108" y="229"/>
                </a:lnTo>
                <a:lnTo>
                  <a:pt x="107" y="240"/>
                </a:lnTo>
                <a:lnTo>
                  <a:pt x="108" y="273"/>
                </a:lnTo>
                <a:lnTo>
                  <a:pt x="109" y="293"/>
                </a:lnTo>
                <a:lnTo>
                  <a:pt x="110" y="302"/>
                </a:lnTo>
                <a:lnTo>
                  <a:pt x="109" y="313"/>
                </a:lnTo>
                <a:lnTo>
                  <a:pt x="109" y="327"/>
                </a:lnTo>
                <a:lnTo>
                  <a:pt x="107" y="345"/>
                </a:lnTo>
                <a:lnTo>
                  <a:pt x="97" y="346"/>
                </a:lnTo>
                <a:lnTo>
                  <a:pt x="88" y="347"/>
                </a:lnTo>
                <a:lnTo>
                  <a:pt x="79" y="349"/>
                </a:lnTo>
                <a:lnTo>
                  <a:pt x="71" y="351"/>
                </a:lnTo>
                <a:lnTo>
                  <a:pt x="63" y="353"/>
                </a:lnTo>
                <a:lnTo>
                  <a:pt x="55" y="355"/>
                </a:lnTo>
                <a:lnTo>
                  <a:pt x="48" y="357"/>
                </a:lnTo>
                <a:lnTo>
                  <a:pt x="40" y="357"/>
                </a:lnTo>
                <a:lnTo>
                  <a:pt x="40" y="216"/>
                </a:lnTo>
                <a:lnTo>
                  <a:pt x="40" y="206"/>
                </a:lnTo>
                <a:lnTo>
                  <a:pt x="39" y="197"/>
                </a:lnTo>
                <a:lnTo>
                  <a:pt x="37" y="188"/>
                </a:lnTo>
                <a:lnTo>
                  <a:pt x="34" y="179"/>
                </a:lnTo>
                <a:lnTo>
                  <a:pt x="28" y="161"/>
                </a:lnTo>
                <a:lnTo>
                  <a:pt x="20" y="143"/>
                </a:lnTo>
                <a:lnTo>
                  <a:pt x="13" y="126"/>
                </a:lnTo>
                <a:lnTo>
                  <a:pt x="7" y="110"/>
                </a:lnTo>
                <a:lnTo>
                  <a:pt x="4" y="101"/>
                </a:lnTo>
                <a:lnTo>
                  <a:pt x="3" y="94"/>
                </a:lnTo>
                <a:lnTo>
                  <a:pt x="0" y="87"/>
                </a:lnTo>
                <a:lnTo>
                  <a:pt x="0" y="8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18" name="Freeform 270"/>
          <p:cNvSpPr>
            <a:spLocks/>
          </p:cNvSpPr>
          <p:nvPr>
            <p:custDataLst>
              <p:tags r:id="rId197"/>
            </p:custDataLst>
          </p:nvPr>
        </p:nvSpPr>
        <p:spPr bwMode="auto">
          <a:xfrm>
            <a:off x="6291263" y="4479926"/>
            <a:ext cx="25400" cy="60325"/>
          </a:xfrm>
          <a:custGeom>
            <a:avLst/>
            <a:gdLst>
              <a:gd name="T0" fmla="*/ 10 w 50"/>
              <a:gd name="T1" fmla="*/ 0 h 74"/>
              <a:gd name="T2" fmla="*/ 6 w 50"/>
              <a:gd name="T3" fmla="*/ 14 h 74"/>
              <a:gd name="T4" fmla="*/ 2 w 50"/>
              <a:gd name="T5" fmla="*/ 26 h 74"/>
              <a:gd name="T6" fmla="*/ 0 w 50"/>
              <a:gd name="T7" fmla="*/ 36 h 74"/>
              <a:gd name="T8" fmla="*/ 0 w 50"/>
              <a:gd name="T9" fmla="*/ 43 h 74"/>
              <a:gd name="T10" fmla="*/ 0 w 50"/>
              <a:gd name="T11" fmla="*/ 50 h 74"/>
              <a:gd name="T12" fmla="*/ 2 w 50"/>
              <a:gd name="T13" fmla="*/ 56 h 74"/>
              <a:gd name="T14" fmla="*/ 6 w 50"/>
              <a:gd name="T15" fmla="*/ 61 h 74"/>
              <a:gd name="T16" fmla="*/ 10 w 50"/>
              <a:gd name="T17" fmla="*/ 68 h 74"/>
              <a:gd name="T18" fmla="*/ 50 w 50"/>
              <a:gd name="T19" fmla="*/ 74 h 74"/>
              <a:gd name="T20" fmla="*/ 50 w 50"/>
              <a:gd name="T21" fmla="*/ 51 h 74"/>
              <a:gd name="T22" fmla="*/ 50 w 50"/>
              <a:gd name="T23" fmla="*/ 34 h 74"/>
              <a:gd name="T24" fmla="*/ 50 w 50"/>
              <a:gd name="T25" fmla="*/ 19 h 74"/>
              <a:gd name="T26" fmla="*/ 50 w 50"/>
              <a:gd name="T27" fmla="*/ 0 h 74"/>
              <a:gd name="T28" fmla="*/ 38 w 50"/>
              <a:gd name="T29" fmla="*/ 0 h 74"/>
              <a:gd name="T30" fmla="*/ 25 w 50"/>
              <a:gd name="T31" fmla="*/ 0 h 74"/>
              <a:gd name="T32" fmla="*/ 14 w 50"/>
              <a:gd name="T33" fmla="*/ 0 h 74"/>
              <a:gd name="T34" fmla="*/ 10 w 50"/>
              <a:gd name="T35" fmla="*/ 0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50" h="74">
                <a:moveTo>
                  <a:pt x="10" y="0"/>
                </a:moveTo>
                <a:lnTo>
                  <a:pt x="6" y="14"/>
                </a:lnTo>
                <a:lnTo>
                  <a:pt x="2" y="26"/>
                </a:lnTo>
                <a:lnTo>
                  <a:pt x="0" y="36"/>
                </a:lnTo>
                <a:lnTo>
                  <a:pt x="0" y="43"/>
                </a:lnTo>
                <a:lnTo>
                  <a:pt x="0" y="50"/>
                </a:lnTo>
                <a:lnTo>
                  <a:pt x="2" y="56"/>
                </a:lnTo>
                <a:lnTo>
                  <a:pt x="6" y="61"/>
                </a:lnTo>
                <a:lnTo>
                  <a:pt x="10" y="68"/>
                </a:lnTo>
                <a:lnTo>
                  <a:pt x="50" y="74"/>
                </a:lnTo>
                <a:lnTo>
                  <a:pt x="50" y="51"/>
                </a:lnTo>
                <a:lnTo>
                  <a:pt x="50" y="34"/>
                </a:lnTo>
                <a:lnTo>
                  <a:pt x="50" y="19"/>
                </a:lnTo>
                <a:lnTo>
                  <a:pt x="50" y="0"/>
                </a:lnTo>
                <a:lnTo>
                  <a:pt x="38" y="0"/>
                </a:lnTo>
                <a:lnTo>
                  <a:pt x="25" y="0"/>
                </a:lnTo>
                <a:lnTo>
                  <a:pt x="14" y="0"/>
                </a:lnTo>
                <a:lnTo>
                  <a:pt x="1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19" name="Freeform 271"/>
          <p:cNvSpPr>
            <a:spLocks/>
          </p:cNvSpPr>
          <p:nvPr>
            <p:custDataLst>
              <p:tags r:id="rId198"/>
            </p:custDataLst>
          </p:nvPr>
        </p:nvSpPr>
        <p:spPr bwMode="auto">
          <a:xfrm>
            <a:off x="6186488" y="4576763"/>
            <a:ext cx="61912" cy="57150"/>
          </a:xfrm>
          <a:custGeom>
            <a:avLst/>
            <a:gdLst>
              <a:gd name="T0" fmla="*/ 3 w 135"/>
              <a:gd name="T1" fmla="*/ 55 h 98"/>
              <a:gd name="T2" fmla="*/ 11 w 135"/>
              <a:gd name="T3" fmla="*/ 54 h 98"/>
              <a:gd name="T4" fmla="*/ 18 w 135"/>
              <a:gd name="T5" fmla="*/ 53 h 98"/>
              <a:gd name="T6" fmla="*/ 24 w 135"/>
              <a:gd name="T7" fmla="*/ 50 h 98"/>
              <a:gd name="T8" fmla="*/ 31 w 135"/>
              <a:gd name="T9" fmla="*/ 47 h 98"/>
              <a:gd name="T10" fmla="*/ 42 w 135"/>
              <a:gd name="T11" fmla="*/ 38 h 98"/>
              <a:gd name="T12" fmla="*/ 52 w 135"/>
              <a:gd name="T13" fmla="*/ 28 h 98"/>
              <a:gd name="T14" fmla="*/ 61 w 135"/>
              <a:gd name="T15" fmla="*/ 18 h 98"/>
              <a:gd name="T16" fmla="*/ 71 w 135"/>
              <a:gd name="T17" fmla="*/ 8 h 98"/>
              <a:gd name="T18" fmla="*/ 76 w 135"/>
              <a:gd name="T19" fmla="*/ 5 h 98"/>
              <a:gd name="T20" fmla="*/ 82 w 135"/>
              <a:gd name="T21" fmla="*/ 2 h 98"/>
              <a:gd name="T22" fmla="*/ 88 w 135"/>
              <a:gd name="T23" fmla="*/ 0 h 98"/>
              <a:gd name="T24" fmla="*/ 96 w 135"/>
              <a:gd name="T25" fmla="*/ 0 h 98"/>
              <a:gd name="T26" fmla="*/ 102 w 135"/>
              <a:gd name="T27" fmla="*/ 0 h 98"/>
              <a:gd name="T28" fmla="*/ 110 w 135"/>
              <a:gd name="T29" fmla="*/ 3 h 98"/>
              <a:gd name="T30" fmla="*/ 117 w 135"/>
              <a:gd name="T31" fmla="*/ 6 h 98"/>
              <a:gd name="T32" fmla="*/ 123 w 135"/>
              <a:gd name="T33" fmla="*/ 11 h 98"/>
              <a:gd name="T34" fmla="*/ 128 w 135"/>
              <a:gd name="T35" fmla="*/ 16 h 98"/>
              <a:gd name="T36" fmla="*/ 132 w 135"/>
              <a:gd name="T37" fmla="*/ 24 h 98"/>
              <a:gd name="T38" fmla="*/ 134 w 135"/>
              <a:gd name="T39" fmla="*/ 30 h 98"/>
              <a:gd name="T40" fmla="*/ 135 w 135"/>
              <a:gd name="T41" fmla="*/ 37 h 98"/>
              <a:gd name="T42" fmla="*/ 134 w 135"/>
              <a:gd name="T43" fmla="*/ 40 h 98"/>
              <a:gd name="T44" fmla="*/ 132 w 135"/>
              <a:gd name="T45" fmla="*/ 43 h 98"/>
              <a:gd name="T46" fmla="*/ 129 w 135"/>
              <a:gd name="T47" fmla="*/ 47 h 98"/>
              <a:gd name="T48" fmla="*/ 124 w 135"/>
              <a:gd name="T49" fmla="*/ 51 h 98"/>
              <a:gd name="T50" fmla="*/ 113 w 135"/>
              <a:gd name="T51" fmla="*/ 61 h 98"/>
              <a:gd name="T52" fmla="*/ 100 w 135"/>
              <a:gd name="T53" fmla="*/ 72 h 98"/>
              <a:gd name="T54" fmla="*/ 87 w 135"/>
              <a:gd name="T55" fmla="*/ 82 h 98"/>
              <a:gd name="T56" fmla="*/ 74 w 135"/>
              <a:gd name="T57" fmla="*/ 91 h 98"/>
              <a:gd name="T58" fmla="*/ 63 w 135"/>
              <a:gd name="T59" fmla="*/ 96 h 98"/>
              <a:gd name="T60" fmla="*/ 55 w 135"/>
              <a:gd name="T61" fmla="*/ 98 h 98"/>
              <a:gd name="T62" fmla="*/ 51 w 135"/>
              <a:gd name="T63" fmla="*/ 97 h 98"/>
              <a:gd name="T64" fmla="*/ 43 w 135"/>
              <a:gd name="T65" fmla="*/ 92 h 98"/>
              <a:gd name="T66" fmla="*/ 32 w 135"/>
              <a:gd name="T67" fmla="*/ 85 h 98"/>
              <a:gd name="T68" fmla="*/ 21 w 135"/>
              <a:gd name="T69" fmla="*/ 77 h 98"/>
              <a:gd name="T70" fmla="*/ 11 w 135"/>
              <a:gd name="T71" fmla="*/ 68 h 98"/>
              <a:gd name="T72" fmla="*/ 5 w 135"/>
              <a:gd name="T73" fmla="*/ 62 h 98"/>
              <a:gd name="T74" fmla="*/ 1 w 135"/>
              <a:gd name="T75" fmla="*/ 59 h 98"/>
              <a:gd name="T76" fmla="*/ 0 w 135"/>
              <a:gd name="T77" fmla="*/ 57 h 98"/>
              <a:gd name="T78" fmla="*/ 0 w 135"/>
              <a:gd name="T79" fmla="*/ 56 h 98"/>
              <a:gd name="T80" fmla="*/ 3 w 135"/>
              <a:gd name="T81" fmla="*/ 55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20" name="Freeform 272"/>
          <p:cNvSpPr>
            <a:spLocks/>
          </p:cNvSpPr>
          <p:nvPr>
            <p:custDataLst>
              <p:tags r:id="rId199"/>
            </p:custDataLst>
          </p:nvPr>
        </p:nvSpPr>
        <p:spPr bwMode="auto">
          <a:xfrm>
            <a:off x="8404225" y="2290763"/>
            <a:ext cx="120650" cy="171450"/>
          </a:xfrm>
          <a:custGeom>
            <a:avLst/>
            <a:gdLst>
              <a:gd name="T0" fmla="*/ 240 w 266"/>
              <a:gd name="T1" fmla="*/ 9 h 326"/>
              <a:gd name="T2" fmla="*/ 240 w 266"/>
              <a:gd name="T3" fmla="*/ 28 h 326"/>
              <a:gd name="T4" fmla="*/ 249 w 266"/>
              <a:gd name="T5" fmla="*/ 42 h 326"/>
              <a:gd name="T6" fmla="*/ 245 w 266"/>
              <a:gd name="T7" fmla="*/ 55 h 326"/>
              <a:gd name="T8" fmla="*/ 225 w 266"/>
              <a:gd name="T9" fmla="*/ 50 h 326"/>
              <a:gd name="T10" fmla="*/ 210 w 266"/>
              <a:gd name="T11" fmla="*/ 51 h 326"/>
              <a:gd name="T12" fmla="*/ 195 w 266"/>
              <a:gd name="T13" fmla="*/ 65 h 326"/>
              <a:gd name="T14" fmla="*/ 193 w 266"/>
              <a:gd name="T15" fmla="*/ 78 h 326"/>
              <a:gd name="T16" fmla="*/ 198 w 266"/>
              <a:gd name="T17" fmla="*/ 89 h 326"/>
              <a:gd name="T18" fmla="*/ 215 w 266"/>
              <a:gd name="T19" fmla="*/ 110 h 326"/>
              <a:gd name="T20" fmla="*/ 224 w 266"/>
              <a:gd name="T21" fmla="*/ 122 h 326"/>
              <a:gd name="T22" fmla="*/ 225 w 266"/>
              <a:gd name="T23" fmla="*/ 133 h 326"/>
              <a:gd name="T24" fmla="*/ 222 w 266"/>
              <a:gd name="T25" fmla="*/ 143 h 326"/>
              <a:gd name="T26" fmla="*/ 207 w 266"/>
              <a:gd name="T27" fmla="*/ 154 h 326"/>
              <a:gd name="T28" fmla="*/ 200 w 266"/>
              <a:gd name="T29" fmla="*/ 160 h 326"/>
              <a:gd name="T30" fmla="*/ 181 w 266"/>
              <a:gd name="T31" fmla="*/ 166 h 326"/>
              <a:gd name="T32" fmla="*/ 164 w 266"/>
              <a:gd name="T33" fmla="*/ 178 h 326"/>
              <a:gd name="T34" fmla="*/ 160 w 266"/>
              <a:gd name="T35" fmla="*/ 191 h 326"/>
              <a:gd name="T36" fmla="*/ 173 w 266"/>
              <a:gd name="T37" fmla="*/ 207 h 326"/>
              <a:gd name="T38" fmla="*/ 189 w 266"/>
              <a:gd name="T39" fmla="*/ 215 h 326"/>
              <a:gd name="T40" fmla="*/ 214 w 266"/>
              <a:gd name="T41" fmla="*/ 227 h 326"/>
              <a:gd name="T42" fmla="*/ 245 w 266"/>
              <a:gd name="T43" fmla="*/ 259 h 326"/>
              <a:gd name="T44" fmla="*/ 251 w 266"/>
              <a:gd name="T45" fmla="*/ 285 h 326"/>
              <a:gd name="T46" fmla="*/ 220 w 266"/>
              <a:gd name="T47" fmla="*/ 291 h 326"/>
              <a:gd name="T48" fmla="*/ 207 w 266"/>
              <a:gd name="T49" fmla="*/ 298 h 326"/>
              <a:gd name="T50" fmla="*/ 198 w 266"/>
              <a:gd name="T51" fmla="*/ 312 h 326"/>
              <a:gd name="T52" fmla="*/ 189 w 266"/>
              <a:gd name="T53" fmla="*/ 326 h 326"/>
              <a:gd name="T54" fmla="*/ 170 w 266"/>
              <a:gd name="T55" fmla="*/ 321 h 326"/>
              <a:gd name="T56" fmla="*/ 167 w 266"/>
              <a:gd name="T57" fmla="*/ 316 h 326"/>
              <a:gd name="T58" fmla="*/ 154 w 266"/>
              <a:gd name="T59" fmla="*/ 310 h 326"/>
              <a:gd name="T60" fmla="*/ 139 w 266"/>
              <a:gd name="T61" fmla="*/ 301 h 326"/>
              <a:gd name="T62" fmla="*/ 126 w 266"/>
              <a:gd name="T63" fmla="*/ 295 h 326"/>
              <a:gd name="T64" fmla="*/ 98 w 266"/>
              <a:gd name="T65" fmla="*/ 290 h 326"/>
              <a:gd name="T66" fmla="*/ 63 w 266"/>
              <a:gd name="T67" fmla="*/ 277 h 326"/>
              <a:gd name="T68" fmla="*/ 54 w 266"/>
              <a:gd name="T69" fmla="*/ 268 h 326"/>
              <a:gd name="T70" fmla="*/ 55 w 266"/>
              <a:gd name="T71" fmla="*/ 256 h 326"/>
              <a:gd name="T72" fmla="*/ 70 w 266"/>
              <a:gd name="T73" fmla="*/ 244 h 326"/>
              <a:gd name="T74" fmla="*/ 59 w 266"/>
              <a:gd name="T75" fmla="*/ 221 h 326"/>
              <a:gd name="T76" fmla="*/ 34 w 266"/>
              <a:gd name="T77" fmla="*/ 194 h 326"/>
              <a:gd name="T78" fmla="*/ 13 w 266"/>
              <a:gd name="T79" fmla="*/ 182 h 326"/>
              <a:gd name="T80" fmla="*/ 4 w 266"/>
              <a:gd name="T81" fmla="*/ 171 h 326"/>
              <a:gd name="T82" fmla="*/ 19 w 266"/>
              <a:gd name="T83" fmla="*/ 152 h 326"/>
              <a:gd name="T84" fmla="*/ 54 w 266"/>
              <a:gd name="T85" fmla="*/ 124 h 326"/>
              <a:gd name="T86" fmla="*/ 73 w 266"/>
              <a:gd name="T87" fmla="*/ 105 h 326"/>
              <a:gd name="T88" fmla="*/ 88 w 266"/>
              <a:gd name="T89" fmla="*/ 92 h 326"/>
              <a:gd name="T90" fmla="*/ 110 w 266"/>
              <a:gd name="T91" fmla="*/ 88 h 326"/>
              <a:gd name="T92" fmla="*/ 144 w 266"/>
              <a:gd name="T93" fmla="*/ 70 h 326"/>
              <a:gd name="T94" fmla="*/ 168 w 266"/>
              <a:gd name="T95" fmla="*/ 46 h 326"/>
              <a:gd name="T96" fmla="*/ 191 w 266"/>
              <a:gd name="T97" fmla="*/ 21 h 326"/>
              <a:gd name="T98" fmla="*/ 220 w 266"/>
              <a:gd name="T99" fmla="*/ 4 h 326"/>
              <a:gd name="T100" fmla="*/ 238 w 266"/>
              <a:gd name="T101" fmla="*/ 0 h 3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66" h="326">
                <a:moveTo>
                  <a:pt x="246" y="0"/>
                </a:moveTo>
                <a:lnTo>
                  <a:pt x="241" y="4"/>
                </a:lnTo>
                <a:lnTo>
                  <a:pt x="240" y="9"/>
                </a:lnTo>
                <a:lnTo>
                  <a:pt x="239" y="16"/>
                </a:lnTo>
                <a:lnTo>
                  <a:pt x="239" y="24"/>
                </a:lnTo>
                <a:lnTo>
                  <a:pt x="240" y="28"/>
                </a:lnTo>
                <a:lnTo>
                  <a:pt x="243" y="33"/>
                </a:lnTo>
                <a:lnTo>
                  <a:pt x="246" y="38"/>
                </a:lnTo>
                <a:lnTo>
                  <a:pt x="249" y="42"/>
                </a:lnTo>
                <a:lnTo>
                  <a:pt x="256" y="50"/>
                </a:lnTo>
                <a:lnTo>
                  <a:pt x="259" y="55"/>
                </a:lnTo>
                <a:lnTo>
                  <a:pt x="245" y="55"/>
                </a:lnTo>
                <a:lnTo>
                  <a:pt x="234" y="54"/>
                </a:lnTo>
                <a:lnTo>
                  <a:pt x="229" y="52"/>
                </a:lnTo>
                <a:lnTo>
                  <a:pt x="225" y="50"/>
                </a:lnTo>
                <a:lnTo>
                  <a:pt x="222" y="47"/>
                </a:lnTo>
                <a:lnTo>
                  <a:pt x="220" y="43"/>
                </a:lnTo>
                <a:lnTo>
                  <a:pt x="210" y="51"/>
                </a:lnTo>
                <a:lnTo>
                  <a:pt x="201" y="58"/>
                </a:lnTo>
                <a:lnTo>
                  <a:pt x="198" y="62"/>
                </a:lnTo>
                <a:lnTo>
                  <a:pt x="195" y="65"/>
                </a:lnTo>
                <a:lnTo>
                  <a:pt x="193" y="69"/>
                </a:lnTo>
                <a:lnTo>
                  <a:pt x="192" y="73"/>
                </a:lnTo>
                <a:lnTo>
                  <a:pt x="193" y="78"/>
                </a:lnTo>
                <a:lnTo>
                  <a:pt x="194" y="82"/>
                </a:lnTo>
                <a:lnTo>
                  <a:pt x="195" y="86"/>
                </a:lnTo>
                <a:lnTo>
                  <a:pt x="198" y="89"/>
                </a:lnTo>
                <a:lnTo>
                  <a:pt x="203" y="97"/>
                </a:lnTo>
                <a:lnTo>
                  <a:pt x="210" y="104"/>
                </a:lnTo>
                <a:lnTo>
                  <a:pt x="215" y="110"/>
                </a:lnTo>
                <a:lnTo>
                  <a:pt x="221" y="116"/>
                </a:lnTo>
                <a:lnTo>
                  <a:pt x="223" y="119"/>
                </a:lnTo>
                <a:lnTo>
                  <a:pt x="224" y="122"/>
                </a:lnTo>
                <a:lnTo>
                  <a:pt x="225" y="125"/>
                </a:lnTo>
                <a:lnTo>
                  <a:pt x="226" y="129"/>
                </a:lnTo>
                <a:lnTo>
                  <a:pt x="225" y="133"/>
                </a:lnTo>
                <a:lnTo>
                  <a:pt x="225" y="137"/>
                </a:lnTo>
                <a:lnTo>
                  <a:pt x="223" y="140"/>
                </a:lnTo>
                <a:lnTo>
                  <a:pt x="222" y="143"/>
                </a:lnTo>
                <a:lnTo>
                  <a:pt x="217" y="148"/>
                </a:lnTo>
                <a:lnTo>
                  <a:pt x="213" y="152"/>
                </a:lnTo>
                <a:lnTo>
                  <a:pt x="207" y="154"/>
                </a:lnTo>
                <a:lnTo>
                  <a:pt x="203" y="156"/>
                </a:lnTo>
                <a:lnTo>
                  <a:pt x="201" y="158"/>
                </a:lnTo>
                <a:lnTo>
                  <a:pt x="200" y="160"/>
                </a:lnTo>
                <a:lnTo>
                  <a:pt x="193" y="161"/>
                </a:lnTo>
                <a:lnTo>
                  <a:pt x="188" y="163"/>
                </a:lnTo>
                <a:lnTo>
                  <a:pt x="181" y="166"/>
                </a:lnTo>
                <a:lnTo>
                  <a:pt x="175" y="170"/>
                </a:lnTo>
                <a:lnTo>
                  <a:pt x="168" y="174"/>
                </a:lnTo>
                <a:lnTo>
                  <a:pt x="164" y="178"/>
                </a:lnTo>
                <a:lnTo>
                  <a:pt x="160" y="181"/>
                </a:lnTo>
                <a:lnTo>
                  <a:pt x="159" y="184"/>
                </a:lnTo>
                <a:lnTo>
                  <a:pt x="160" y="191"/>
                </a:lnTo>
                <a:lnTo>
                  <a:pt x="164" y="197"/>
                </a:lnTo>
                <a:lnTo>
                  <a:pt x="168" y="203"/>
                </a:lnTo>
                <a:lnTo>
                  <a:pt x="173" y="207"/>
                </a:lnTo>
                <a:lnTo>
                  <a:pt x="179" y="211"/>
                </a:lnTo>
                <a:lnTo>
                  <a:pt x="184" y="213"/>
                </a:lnTo>
                <a:lnTo>
                  <a:pt x="189" y="215"/>
                </a:lnTo>
                <a:lnTo>
                  <a:pt x="192" y="215"/>
                </a:lnTo>
                <a:lnTo>
                  <a:pt x="204" y="221"/>
                </a:lnTo>
                <a:lnTo>
                  <a:pt x="214" y="227"/>
                </a:lnTo>
                <a:lnTo>
                  <a:pt x="223" y="234"/>
                </a:lnTo>
                <a:lnTo>
                  <a:pt x="231" y="241"/>
                </a:lnTo>
                <a:lnTo>
                  <a:pt x="245" y="259"/>
                </a:lnTo>
                <a:lnTo>
                  <a:pt x="259" y="277"/>
                </a:lnTo>
                <a:lnTo>
                  <a:pt x="266" y="283"/>
                </a:lnTo>
                <a:lnTo>
                  <a:pt x="251" y="285"/>
                </a:lnTo>
                <a:lnTo>
                  <a:pt x="239" y="286"/>
                </a:lnTo>
                <a:lnTo>
                  <a:pt x="228" y="288"/>
                </a:lnTo>
                <a:lnTo>
                  <a:pt x="220" y="291"/>
                </a:lnTo>
                <a:lnTo>
                  <a:pt x="215" y="293"/>
                </a:lnTo>
                <a:lnTo>
                  <a:pt x="211" y="295"/>
                </a:lnTo>
                <a:lnTo>
                  <a:pt x="207" y="298"/>
                </a:lnTo>
                <a:lnTo>
                  <a:pt x="204" y="302"/>
                </a:lnTo>
                <a:lnTo>
                  <a:pt x="201" y="306"/>
                </a:lnTo>
                <a:lnTo>
                  <a:pt x="198" y="312"/>
                </a:lnTo>
                <a:lnTo>
                  <a:pt x="195" y="319"/>
                </a:lnTo>
                <a:lnTo>
                  <a:pt x="192" y="326"/>
                </a:lnTo>
                <a:lnTo>
                  <a:pt x="189" y="326"/>
                </a:lnTo>
                <a:lnTo>
                  <a:pt x="179" y="325"/>
                </a:lnTo>
                <a:lnTo>
                  <a:pt x="175" y="323"/>
                </a:lnTo>
                <a:lnTo>
                  <a:pt x="170" y="321"/>
                </a:lnTo>
                <a:lnTo>
                  <a:pt x="168" y="320"/>
                </a:lnTo>
                <a:lnTo>
                  <a:pt x="167" y="318"/>
                </a:lnTo>
                <a:lnTo>
                  <a:pt x="167" y="316"/>
                </a:lnTo>
                <a:lnTo>
                  <a:pt x="166" y="314"/>
                </a:lnTo>
                <a:lnTo>
                  <a:pt x="159" y="314"/>
                </a:lnTo>
                <a:lnTo>
                  <a:pt x="154" y="310"/>
                </a:lnTo>
                <a:lnTo>
                  <a:pt x="148" y="308"/>
                </a:lnTo>
                <a:lnTo>
                  <a:pt x="144" y="304"/>
                </a:lnTo>
                <a:lnTo>
                  <a:pt x="139" y="301"/>
                </a:lnTo>
                <a:lnTo>
                  <a:pt x="135" y="298"/>
                </a:lnTo>
                <a:lnTo>
                  <a:pt x="131" y="296"/>
                </a:lnTo>
                <a:lnTo>
                  <a:pt x="126" y="295"/>
                </a:lnTo>
                <a:lnTo>
                  <a:pt x="120" y="295"/>
                </a:lnTo>
                <a:lnTo>
                  <a:pt x="109" y="293"/>
                </a:lnTo>
                <a:lnTo>
                  <a:pt x="98" y="290"/>
                </a:lnTo>
                <a:lnTo>
                  <a:pt x="84" y="287"/>
                </a:lnTo>
                <a:lnTo>
                  <a:pt x="72" y="282"/>
                </a:lnTo>
                <a:lnTo>
                  <a:pt x="63" y="277"/>
                </a:lnTo>
                <a:lnTo>
                  <a:pt x="58" y="274"/>
                </a:lnTo>
                <a:lnTo>
                  <a:pt x="56" y="271"/>
                </a:lnTo>
                <a:lnTo>
                  <a:pt x="54" y="268"/>
                </a:lnTo>
                <a:lnTo>
                  <a:pt x="53" y="265"/>
                </a:lnTo>
                <a:lnTo>
                  <a:pt x="54" y="261"/>
                </a:lnTo>
                <a:lnTo>
                  <a:pt x="55" y="256"/>
                </a:lnTo>
                <a:lnTo>
                  <a:pt x="58" y="252"/>
                </a:lnTo>
                <a:lnTo>
                  <a:pt x="61" y="249"/>
                </a:lnTo>
                <a:lnTo>
                  <a:pt x="70" y="244"/>
                </a:lnTo>
                <a:lnTo>
                  <a:pt x="80" y="240"/>
                </a:lnTo>
                <a:lnTo>
                  <a:pt x="68" y="230"/>
                </a:lnTo>
                <a:lnTo>
                  <a:pt x="59" y="221"/>
                </a:lnTo>
                <a:lnTo>
                  <a:pt x="50" y="211"/>
                </a:lnTo>
                <a:lnTo>
                  <a:pt x="43" y="203"/>
                </a:lnTo>
                <a:lnTo>
                  <a:pt x="34" y="194"/>
                </a:lnTo>
                <a:lnTo>
                  <a:pt x="24" y="187"/>
                </a:lnTo>
                <a:lnTo>
                  <a:pt x="20" y="184"/>
                </a:lnTo>
                <a:lnTo>
                  <a:pt x="13" y="182"/>
                </a:lnTo>
                <a:lnTo>
                  <a:pt x="7" y="180"/>
                </a:lnTo>
                <a:lnTo>
                  <a:pt x="0" y="178"/>
                </a:lnTo>
                <a:lnTo>
                  <a:pt x="4" y="171"/>
                </a:lnTo>
                <a:lnTo>
                  <a:pt x="9" y="164"/>
                </a:lnTo>
                <a:lnTo>
                  <a:pt x="13" y="158"/>
                </a:lnTo>
                <a:lnTo>
                  <a:pt x="19" y="152"/>
                </a:lnTo>
                <a:lnTo>
                  <a:pt x="31" y="141"/>
                </a:lnTo>
                <a:lnTo>
                  <a:pt x="43" y="133"/>
                </a:lnTo>
                <a:lnTo>
                  <a:pt x="54" y="124"/>
                </a:lnTo>
                <a:lnTo>
                  <a:pt x="65" y="115"/>
                </a:lnTo>
                <a:lnTo>
                  <a:pt x="69" y="110"/>
                </a:lnTo>
                <a:lnTo>
                  <a:pt x="73" y="105"/>
                </a:lnTo>
                <a:lnTo>
                  <a:pt x="77" y="99"/>
                </a:lnTo>
                <a:lnTo>
                  <a:pt x="80" y="92"/>
                </a:lnTo>
                <a:lnTo>
                  <a:pt x="88" y="92"/>
                </a:lnTo>
                <a:lnTo>
                  <a:pt x="95" y="90"/>
                </a:lnTo>
                <a:lnTo>
                  <a:pt x="103" y="89"/>
                </a:lnTo>
                <a:lnTo>
                  <a:pt x="110" y="88"/>
                </a:lnTo>
                <a:lnTo>
                  <a:pt x="123" y="83"/>
                </a:lnTo>
                <a:lnTo>
                  <a:pt x="134" y="77"/>
                </a:lnTo>
                <a:lnTo>
                  <a:pt x="144" y="70"/>
                </a:lnTo>
                <a:lnTo>
                  <a:pt x="153" y="63"/>
                </a:lnTo>
                <a:lnTo>
                  <a:pt x="160" y="55"/>
                </a:lnTo>
                <a:lnTo>
                  <a:pt x="168" y="46"/>
                </a:lnTo>
                <a:lnTo>
                  <a:pt x="176" y="38"/>
                </a:lnTo>
                <a:lnTo>
                  <a:pt x="182" y="28"/>
                </a:lnTo>
                <a:lnTo>
                  <a:pt x="191" y="21"/>
                </a:lnTo>
                <a:lnTo>
                  <a:pt x="199" y="14"/>
                </a:lnTo>
                <a:lnTo>
                  <a:pt x="209" y="8"/>
                </a:lnTo>
                <a:lnTo>
                  <a:pt x="220" y="4"/>
                </a:lnTo>
                <a:lnTo>
                  <a:pt x="225" y="2"/>
                </a:lnTo>
                <a:lnTo>
                  <a:pt x="232" y="1"/>
                </a:lnTo>
                <a:lnTo>
                  <a:pt x="238" y="0"/>
                </a:lnTo>
                <a:lnTo>
                  <a:pt x="24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21" name="Freeform 273"/>
          <p:cNvSpPr>
            <a:spLocks/>
          </p:cNvSpPr>
          <p:nvPr>
            <p:custDataLst>
              <p:tags r:id="rId200"/>
            </p:custDataLst>
          </p:nvPr>
        </p:nvSpPr>
        <p:spPr bwMode="auto">
          <a:xfrm>
            <a:off x="7475539" y="2705101"/>
            <a:ext cx="206375" cy="123825"/>
          </a:xfrm>
          <a:custGeom>
            <a:avLst/>
            <a:gdLst>
              <a:gd name="T0" fmla="*/ 86 w 471"/>
              <a:gd name="T1" fmla="*/ 0 h 237"/>
              <a:gd name="T2" fmla="*/ 92 w 471"/>
              <a:gd name="T3" fmla="*/ 7 h 237"/>
              <a:gd name="T4" fmla="*/ 102 w 471"/>
              <a:gd name="T5" fmla="*/ 13 h 237"/>
              <a:gd name="T6" fmla="*/ 125 w 471"/>
              <a:gd name="T7" fmla="*/ 23 h 237"/>
              <a:gd name="T8" fmla="*/ 159 w 471"/>
              <a:gd name="T9" fmla="*/ 37 h 237"/>
              <a:gd name="T10" fmla="*/ 223 w 471"/>
              <a:gd name="T11" fmla="*/ 77 h 237"/>
              <a:gd name="T12" fmla="*/ 253 w 471"/>
              <a:gd name="T13" fmla="*/ 97 h 237"/>
              <a:gd name="T14" fmla="*/ 283 w 471"/>
              <a:gd name="T15" fmla="*/ 113 h 237"/>
              <a:gd name="T16" fmla="*/ 316 w 471"/>
              <a:gd name="T17" fmla="*/ 127 h 237"/>
              <a:gd name="T18" fmla="*/ 355 w 471"/>
              <a:gd name="T19" fmla="*/ 139 h 237"/>
              <a:gd name="T20" fmla="*/ 399 w 471"/>
              <a:gd name="T21" fmla="*/ 146 h 237"/>
              <a:gd name="T22" fmla="*/ 451 w 471"/>
              <a:gd name="T23" fmla="*/ 148 h 237"/>
              <a:gd name="T24" fmla="*/ 452 w 471"/>
              <a:gd name="T25" fmla="*/ 187 h 237"/>
              <a:gd name="T26" fmla="*/ 459 w 471"/>
              <a:gd name="T27" fmla="*/ 211 h 237"/>
              <a:gd name="T28" fmla="*/ 467 w 471"/>
              <a:gd name="T29" fmla="*/ 227 h 237"/>
              <a:gd name="T30" fmla="*/ 467 w 471"/>
              <a:gd name="T31" fmla="*/ 236 h 237"/>
              <a:gd name="T32" fmla="*/ 451 w 471"/>
              <a:gd name="T33" fmla="*/ 236 h 237"/>
              <a:gd name="T34" fmla="*/ 416 w 471"/>
              <a:gd name="T35" fmla="*/ 231 h 237"/>
              <a:gd name="T36" fmla="*/ 362 w 471"/>
              <a:gd name="T37" fmla="*/ 219 h 237"/>
              <a:gd name="T38" fmla="*/ 315 w 471"/>
              <a:gd name="T39" fmla="*/ 207 h 237"/>
              <a:gd name="T40" fmla="*/ 294 w 471"/>
              <a:gd name="T41" fmla="*/ 203 h 237"/>
              <a:gd name="T42" fmla="*/ 287 w 471"/>
              <a:gd name="T43" fmla="*/ 199 h 237"/>
              <a:gd name="T44" fmla="*/ 277 w 471"/>
              <a:gd name="T45" fmla="*/ 190 h 237"/>
              <a:gd name="T46" fmla="*/ 267 w 471"/>
              <a:gd name="T47" fmla="*/ 178 h 237"/>
              <a:gd name="T48" fmla="*/ 255 w 471"/>
              <a:gd name="T49" fmla="*/ 166 h 237"/>
              <a:gd name="T50" fmla="*/ 240 w 471"/>
              <a:gd name="T51" fmla="*/ 159 h 237"/>
              <a:gd name="T52" fmla="*/ 227 w 471"/>
              <a:gd name="T53" fmla="*/ 159 h 237"/>
              <a:gd name="T54" fmla="*/ 205 w 471"/>
              <a:gd name="T55" fmla="*/ 163 h 237"/>
              <a:gd name="T56" fmla="*/ 183 w 471"/>
              <a:gd name="T57" fmla="*/ 167 h 237"/>
              <a:gd name="T58" fmla="*/ 169 w 471"/>
              <a:gd name="T59" fmla="*/ 168 h 237"/>
              <a:gd name="T60" fmla="*/ 158 w 471"/>
              <a:gd name="T61" fmla="*/ 164 h 237"/>
              <a:gd name="T62" fmla="*/ 148 w 471"/>
              <a:gd name="T63" fmla="*/ 155 h 237"/>
              <a:gd name="T64" fmla="*/ 139 w 471"/>
              <a:gd name="T65" fmla="*/ 148 h 237"/>
              <a:gd name="T66" fmla="*/ 122 w 471"/>
              <a:gd name="T67" fmla="*/ 145 h 237"/>
              <a:gd name="T68" fmla="*/ 92 w 471"/>
              <a:gd name="T69" fmla="*/ 135 h 237"/>
              <a:gd name="T70" fmla="*/ 48 w 471"/>
              <a:gd name="T71" fmla="*/ 117 h 237"/>
              <a:gd name="T72" fmla="*/ 12 w 471"/>
              <a:gd name="T73" fmla="*/ 96 h 237"/>
              <a:gd name="T74" fmla="*/ 7 w 471"/>
              <a:gd name="T75" fmla="*/ 0 h 2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471" h="237">
                <a:moveTo>
                  <a:pt x="7" y="0"/>
                </a:moveTo>
                <a:lnTo>
                  <a:pt x="86" y="0"/>
                </a:lnTo>
                <a:lnTo>
                  <a:pt x="89" y="4"/>
                </a:lnTo>
                <a:lnTo>
                  <a:pt x="92" y="7"/>
                </a:lnTo>
                <a:lnTo>
                  <a:pt x="97" y="10"/>
                </a:lnTo>
                <a:lnTo>
                  <a:pt x="102" y="13"/>
                </a:lnTo>
                <a:lnTo>
                  <a:pt x="113" y="18"/>
                </a:lnTo>
                <a:lnTo>
                  <a:pt x="125" y="23"/>
                </a:lnTo>
                <a:lnTo>
                  <a:pt x="147" y="32"/>
                </a:lnTo>
                <a:lnTo>
                  <a:pt x="159" y="37"/>
                </a:lnTo>
                <a:lnTo>
                  <a:pt x="192" y="58"/>
                </a:lnTo>
                <a:lnTo>
                  <a:pt x="223" y="77"/>
                </a:lnTo>
                <a:lnTo>
                  <a:pt x="237" y="88"/>
                </a:lnTo>
                <a:lnTo>
                  <a:pt x="253" y="97"/>
                </a:lnTo>
                <a:lnTo>
                  <a:pt x="267" y="105"/>
                </a:lnTo>
                <a:lnTo>
                  <a:pt x="283" y="113"/>
                </a:lnTo>
                <a:lnTo>
                  <a:pt x="299" y="121"/>
                </a:lnTo>
                <a:lnTo>
                  <a:pt x="316" y="127"/>
                </a:lnTo>
                <a:lnTo>
                  <a:pt x="335" y="133"/>
                </a:lnTo>
                <a:lnTo>
                  <a:pt x="355" y="139"/>
                </a:lnTo>
                <a:lnTo>
                  <a:pt x="376" y="143"/>
                </a:lnTo>
                <a:lnTo>
                  <a:pt x="399" y="146"/>
                </a:lnTo>
                <a:lnTo>
                  <a:pt x="424" y="148"/>
                </a:lnTo>
                <a:lnTo>
                  <a:pt x="451" y="148"/>
                </a:lnTo>
                <a:lnTo>
                  <a:pt x="451" y="179"/>
                </a:lnTo>
                <a:lnTo>
                  <a:pt x="452" y="187"/>
                </a:lnTo>
                <a:lnTo>
                  <a:pt x="457" y="202"/>
                </a:lnTo>
                <a:lnTo>
                  <a:pt x="459" y="211"/>
                </a:lnTo>
                <a:lnTo>
                  <a:pt x="462" y="219"/>
                </a:lnTo>
                <a:lnTo>
                  <a:pt x="467" y="227"/>
                </a:lnTo>
                <a:lnTo>
                  <a:pt x="471" y="234"/>
                </a:lnTo>
                <a:lnTo>
                  <a:pt x="467" y="236"/>
                </a:lnTo>
                <a:lnTo>
                  <a:pt x="459" y="237"/>
                </a:lnTo>
                <a:lnTo>
                  <a:pt x="451" y="236"/>
                </a:lnTo>
                <a:lnTo>
                  <a:pt x="440" y="235"/>
                </a:lnTo>
                <a:lnTo>
                  <a:pt x="416" y="231"/>
                </a:lnTo>
                <a:lnTo>
                  <a:pt x="390" y="226"/>
                </a:lnTo>
                <a:lnTo>
                  <a:pt x="362" y="219"/>
                </a:lnTo>
                <a:lnTo>
                  <a:pt x="337" y="213"/>
                </a:lnTo>
                <a:lnTo>
                  <a:pt x="315" y="207"/>
                </a:lnTo>
                <a:lnTo>
                  <a:pt x="299" y="204"/>
                </a:lnTo>
                <a:lnTo>
                  <a:pt x="294" y="203"/>
                </a:lnTo>
                <a:lnTo>
                  <a:pt x="290" y="201"/>
                </a:lnTo>
                <a:lnTo>
                  <a:pt x="287" y="199"/>
                </a:lnTo>
                <a:lnTo>
                  <a:pt x="283" y="196"/>
                </a:lnTo>
                <a:lnTo>
                  <a:pt x="277" y="190"/>
                </a:lnTo>
                <a:lnTo>
                  <a:pt x="272" y="184"/>
                </a:lnTo>
                <a:lnTo>
                  <a:pt x="267" y="178"/>
                </a:lnTo>
                <a:lnTo>
                  <a:pt x="261" y="171"/>
                </a:lnTo>
                <a:lnTo>
                  <a:pt x="255" y="166"/>
                </a:lnTo>
                <a:lnTo>
                  <a:pt x="246" y="160"/>
                </a:lnTo>
                <a:lnTo>
                  <a:pt x="240" y="159"/>
                </a:lnTo>
                <a:lnTo>
                  <a:pt x="234" y="158"/>
                </a:lnTo>
                <a:lnTo>
                  <a:pt x="227" y="159"/>
                </a:lnTo>
                <a:lnTo>
                  <a:pt x="221" y="159"/>
                </a:lnTo>
                <a:lnTo>
                  <a:pt x="205" y="163"/>
                </a:lnTo>
                <a:lnTo>
                  <a:pt x="191" y="166"/>
                </a:lnTo>
                <a:lnTo>
                  <a:pt x="183" y="167"/>
                </a:lnTo>
                <a:lnTo>
                  <a:pt x="176" y="168"/>
                </a:lnTo>
                <a:lnTo>
                  <a:pt x="169" y="168"/>
                </a:lnTo>
                <a:lnTo>
                  <a:pt x="164" y="166"/>
                </a:lnTo>
                <a:lnTo>
                  <a:pt x="158" y="164"/>
                </a:lnTo>
                <a:lnTo>
                  <a:pt x="153" y="161"/>
                </a:lnTo>
                <a:lnTo>
                  <a:pt x="148" y="155"/>
                </a:lnTo>
                <a:lnTo>
                  <a:pt x="146" y="148"/>
                </a:lnTo>
                <a:lnTo>
                  <a:pt x="139" y="148"/>
                </a:lnTo>
                <a:lnTo>
                  <a:pt x="131" y="147"/>
                </a:lnTo>
                <a:lnTo>
                  <a:pt x="122" y="145"/>
                </a:lnTo>
                <a:lnTo>
                  <a:pt x="113" y="142"/>
                </a:lnTo>
                <a:lnTo>
                  <a:pt x="92" y="135"/>
                </a:lnTo>
                <a:lnTo>
                  <a:pt x="70" y="126"/>
                </a:lnTo>
                <a:lnTo>
                  <a:pt x="48" y="117"/>
                </a:lnTo>
                <a:lnTo>
                  <a:pt x="29" y="107"/>
                </a:lnTo>
                <a:lnTo>
                  <a:pt x="12" y="96"/>
                </a:lnTo>
                <a:lnTo>
                  <a:pt x="0" y="87"/>
                </a:lnTo>
                <a:lnTo>
                  <a:pt x="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22" name="Freeform 274"/>
          <p:cNvSpPr>
            <a:spLocks/>
          </p:cNvSpPr>
          <p:nvPr>
            <p:custDataLst>
              <p:tags r:id="rId201"/>
            </p:custDataLst>
          </p:nvPr>
        </p:nvSpPr>
        <p:spPr bwMode="auto">
          <a:xfrm>
            <a:off x="7691439" y="2760664"/>
            <a:ext cx="73025" cy="65087"/>
          </a:xfrm>
          <a:custGeom>
            <a:avLst/>
            <a:gdLst>
              <a:gd name="T0" fmla="*/ 167 w 167"/>
              <a:gd name="T1" fmla="*/ 43 h 123"/>
              <a:gd name="T2" fmla="*/ 164 w 167"/>
              <a:gd name="T3" fmla="*/ 54 h 123"/>
              <a:gd name="T4" fmla="*/ 161 w 167"/>
              <a:gd name="T5" fmla="*/ 66 h 123"/>
              <a:gd name="T6" fmla="*/ 155 w 167"/>
              <a:gd name="T7" fmla="*/ 79 h 123"/>
              <a:gd name="T8" fmla="*/ 150 w 167"/>
              <a:gd name="T9" fmla="*/ 93 h 123"/>
              <a:gd name="T10" fmla="*/ 146 w 167"/>
              <a:gd name="T11" fmla="*/ 99 h 123"/>
              <a:gd name="T12" fmla="*/ 142 w 167"/>
              <a:gd name="T13" fmla="*/ 105 h 123"/>
              <a:gd name="T14" fmla="*/ 138 w 167"/>
              <a:gd name="T15" fmla="*/ 110 h 123"/>
              <a:gd name="T16" fmla="*/ 132 w 167"/>
              <a:gd name="T17" fmla="*/ 114 h 123"/>
              <a:gd name="T18" fmla="*/ 127 w 167"/>
              <a:gd name="T19" fmla="*/ 118 h 123"/>
              <a:gd name="T20" fmla="*/ 121 w 167"/>
              <a:gd name="T21" fmla="*/ 121 h 123"/>
              <a:gd name="T22" fmla="*/ 115 w 167"/>
              <a:gd name="T23" fmla="*/ 122 h 123"/>
              <a:gd name="T24" fmla="*/ 107 w 167"/>
              <a:gd name="T25" fmla="*/ 123 h 123"/>
              <a:gd name="T26" fmla="*/ 100 w 167"/>
              <a:gd name="T27" fmla="*/ 122 h 123"/>
              <a:gd name="T28" fmla="*/ 92 w 167"/>
              <a:gd name="T29" fmla="*/ 119 h 123"/>
              <a:gd name="T30" fmla="*/ 87 w 167"/>
              <a:gd name="T31" fmla="*/ 116 h 123"/>
              <a:gd name="T32" fmla="*/ 84 w 167"/>
              <a:gd name="T33" fmla="*/ 113 h 123"/>
              <a:gd name="T34" fmla="*/ 82 w 167"/>
              <a:gd name="T35" fmla="*/ 109 h 123"/>
              <a:gd name="T36" fmla="*/ 81 w 167"/>
              <a:gd name="T37" fmla="*/ 105 h 123"/>
              <a:gd name="T38" fmla="*/ 71 w 167"/>
              <a:gd name="T39" fmla="*/ 104 h 123"/>
              <a:gd name="T40" fmla="*/ 61 w 167"/>
              <a:gd name="T41" fmla="*/ 103 h 123"/>
              <a:gd name="T42" fmla="*/ 51 w 167"/>
              <a:gd name="T43" fmla="*/ 101 h 123"/>
              <a:gd name="T44" fmla="*/ 41 w 167"/>
              <a:gd name="T45" fmla="*/ 98 h 123"/>
              <a:gd name="T46" fmla="*/ 21 w 167"/>
              <a:gd name="T47" fmla="*/ 92 h 123"/>
              <a:gd name="T48" fmla="*/ 0 w 167"/>
              <a:gd name="T49" fmla="*/ 86 h 123"/>
              <a:gd name="T50" fmla="*/ 2 w 167"/>
              <a:gd name="T51" fmla="*/ 77 h 123"/>
              <a:gd name="T52" fmla="*/ 5 w 167"/>
              <a:gd name="T53" fmla="*/ 67 h 123"/>
              <a:gd name="T54" fmla="*/ 9 w 167"/>
              <a:gd name="T55" fmla="*/ 56 h 123"/>
              <a:gd name="T56" fmla="*/ 15 w 167"/>
              <a:gd name="T57" fmla="*/ 43 h 123"/>
              <a:gd name="T58" fmla="*/ 20 w 167"/>
              <a:gd name="T59" fmla="*/ 43 h 123"/>
              <a:gd name="T60" fmla="*/ 26 w 167"/>
              <a:gd name="T61" fmla="*/ 42 h 123"/>
              <a:gd name="T62" fmla="*/ 30 w 167"/>
              <a:gd name="T63" fmla="*/ 41 h 123"/>
              <a:gd name="T64" fmla="*/ 33 w 167"/>
              <a:gd name="T65" fmla="*/ 38 h 123"/>
              <a:gd name="T66" fmla="*/ 40 w 167"/>
              <a:gd name="T67" fmla="*/ 33 h 123"/>
              <a:gd name="T68" fmla="*/ 45 w 167"/>
              <a:gd name="T69" fmla="*/ 26 h 123"/>
              <a:gd name="T70" fmla="*/ 52 w 167"/>
              <a:gd name="T71" fmla="*/ 12 h 123"/>
              <a:gd name="T72" fmla="*/ 61 w 167"/>
              <a:gd name="T73" fmla="*/ 0 h 123"/>
              <a:gd name="T74" fmla="*/ 64 w 167"/>
              <a:gd name="T75" fmla="*/ 4 h 123"/>
              <a:gd name="T76" fmla="*/ 67 w 167"/>
              <a:gd name="T77" fmla="*/ 7 h 123"/>
              <a:gd name="T78" fmla="*/ 73 w 167"/>
              <a:gd name="T79" fmla="*/ 11 h 123"/>
              <a:gd name="T80" fmla="*/ 78 w 167"/>
              <a:gd name="T81" fmla="*/ 14 h 123"/>
              <a:gd name="T82" fmla="*/ 92 w 167"/>
              <a:gd name="T83" fmla="*/ 21 h 123"/>
              <a:gd name="T84" fmla="*/ 107 w 167"/>
              <a:gd name="T85" fmla="*/ 28 h 123"/>
              <a:gd name="T86" fmla="*/ 122 w 167"/>
              <a:gd name="T87" fmla="*/ 35 h 123"/>
              <a:gd name="T88" fmla="*/ 139 w 167"/>
              <a:gd name="T89" fmla="*/ 39 h 123"/>
              <a:gd name="T90" fmla="*/ 153 w 167"/>
              <a:gd name="T91" fmla="*/ 42 h 123"/>
              <a:gd name="T92" fmla="*/ 167 w 167"/>
              <a:gd name="T93" fmla="*/ 43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67" h="123">
                <a:moveTo>
                  <a:pt x="167" y="43"/>
                </a:moveTo>
                <a:lnTo>
                  <a:pt x="164" y="54"/>
                </a:lnTo>
                <a:lnTo>
                  <a:pt x="161" y="66"/>
                </a:lnTo>
                <a:lnTo>
                  <a:pt x="155" y="79"/>
                </a:lnTo>
                <a:lnTo>
                  <a:pt x="150" y="93"/>
                </a:lnTo>
                <a:lnTo>
                  <a:pt x="146" y="99"/>
                </a:lnTo>
                <a:lnTo>
                  <a:pt x="142" y="105"/>
                </a:lnTo>
                <a:lnTo>
                  <a:pt x="138" y="110"/>
                </a:lnTo>
                <a:lnTo>
                  <a:pt x="132" y="114"/>
                </a:lnTo>
                <a:lnTo>
                  <a:pt x="127" y="118"/>
                </a:lnTo>
                <a:lnTo>
                  <a:pt x="121" y="121"/>
                </a:lnTo>
                <a:lnTo>
                  <a:pt x="115" y="122"/>
                </a:lnTo>
                <a:lnTo>
                  <a:pt x="107" y="123"/>
                </a:lnTo>
                <a:lnTo>
                  <a:pt x="100" y="122"/>
                </a:lnTo>
                <a:lnTo>
                  <a:pt x="92" y="119"/>
                </a:lnTo>
                <a:lnTo>
                  <a:pt x="87" y="116"/>
                </a:lnTo>
                <a:lnTo>
                  <a:pt x="84" y="113"/>
                </a:lnTo>
                <a:lnTo>
                  <a:pt x="82" y="109"/>
                </a:lnTo>
                <a:lnTo>
                  <a:pt x="81" y="105"/>
                </a:lnTo>
                <a:lnTo>
                  <a:pt x="71" y="104"/>
                </a:lnTo>
                <a:lnTo>
                  <a:pt x="61" y="103"/>
                </a:lnTo>
                <a:lnTo>
                  <a:pt x="51" y="101"/>
                </a:lnTo>
                <a:lnTo>
                  <a:pt x="41" y="98"/>
                </a:lnTo>
                <a:lnTo>
                  <a:pt x="21" y="92"/>
                </a:lnTo>
                <a:lnTo>
                  <a:pt x="0" y="86"/>
                </a:lnTo>
                <a:lnTo>
                  <a:pt x="2" y="77"/>
                </a:lnTo>
                <a:lnTo>
                  <a:pt x="5" y="67"/>
                </a:lnTo>
                <a:lnTo>
                  <a:pt x="9" y="56"/>
                </a:lnTo>
                <a:lnTo>
                  <a:pt x="15" y="43"/>
                </a:lnTo>
                <a:lnTo>
                  <a:pt x="20" y="43"/>
                </a:lnTo>
                <a:lnTo>
                  <a:pt x="26" y="42"/>
                </a:lnTo>
                <a:lnTo>
                  <a:pt x="30" y="41"/>
                </a:lnTo>
                <a:lnTo>
                  <a:pt x="33" y="38"/>
                </a:lnTo>
                <a:lnTo>
                  <a:pt x="40" y="33"/>
                </a:lnTo>
                <a:lnTo>
                  <a:pt x="45" y="26"/>
                </a:lnTo>
                <a:lnTo>
                  <a:pt x="52" y="12"/>
                </a:lnTo>
                <a:lnTo>
                  <a:pt x="61" y="0"/>
                </a:lnTo>
                <a:lnTo>
                  <a:pt x="64" y="4"/>
                </a:lnTo>
                <a:lnTo>
                  <a:pt x="67" y="7"/>
                </a:lnTo>
                <a:lnTo>
                  <a:pt x="73" y="11"/>
                </a:lnTo>
                <a:lnTo>
                  <a:pt x="78" y="14"/>
                </a:lnTo>
                <a:lnTo>
                  <a:pt x="92" y="21"/>
                </a:lnTo>
                <a:lnTo>
                  <a:pt x="107" y="28"/>
                </a:lnTo>
                <a:lnTo>
                  <a:pt x="122" y="35"/>
                </a:lnTo>
                <a:lnTo>
                  <a:pt x="139" y="39"/>
                </a:lnTo>
                <a:lnTo>
                  <a:pt x="153" y="42"/>
                </a:lnTo>
                <a:lnTo>
                  <a:pt x="167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23" name="Freeform 275"/>
          <p:cNvSpPr>
            <a:spLocks/>
          </p:cNvSpPr>
          <p:nvPr>
            <p:custDataLst>
              <p:tags r:id="rId202"/>
            </p:custDataLst>
          </p:nvPr>
        </p:nvSpPr>
        <p:spPr bwMode="auto">
          <a:xfrm>
            <a:off x="7681913" y="2832100"/>
            <a:ext cx="133350" cy="166688"/>
          </a:xfrm>
          <a:custGeom>
            <a:avLst/>
            <a:gdLst>
              <a:gd name="T0" fmla="*/ 259 w 306"/>
              <a:gd name="T1" fmla="*/ 160 h 321"/>
              <a:gd name="T2" fmla="*/ 252 w 306"/>
              <a:gd name="T3" fmla="*/ 173 h 321"/>
              <a:gd name="T4" fmla="*/ 243 w 306"/>
              <a:gd name="T5" fmla="*/ 182 h 321"/>
              <a:gd name="T6" fmla="*/ 233 w 306"/>
              <a:gd name="T7" fmla="*/ 186 h 321"/>
              <a:gd name="T8" fmla="*/ 223 w 306"/>
              <a:gd name="T9" fmla="*/ 184 h 321"/>
              <a:gd name="T10" fmla="*/ 214 w 306"/>
              <a:gd name="T11" fmla="*/ 178 h 321"/>
              <a:gd name="T12" fmla="*/ 209 w 306"/>
              <a:gd name="T13" fmla="*/ 169 h 321"/>
              <a:gd name="T14" fmla="*/ 206 w 306"/>
              <a:gd name="T15" fmla="*/ 160 h 321"/>
              <a:gd name="T16" fmla="*/ 209 w 306"/>
              <a:gd name="T17" fmla="*/ 148 h 321"/>
              <a:gd name="T18" fmla="*/ 213 w 306"/>
              <a:gd name="T19" fmla="*/ 136 h 321"/>
              <a:gd name="T20" fmla="*/ 230 w 306"/>
              <a:gd name="T21" fmla="*/ 114 h 321"/>
              <a:gd name="T22" fmla="*/ 246 w 306"/>
              <a:gd name="T23" fmla="*/ 93 h 321"/>
              <a:gd name="T24" fmla="*/ 250 w 306"/>
              <a:gd name="T25" fmla="*/ 82 h 321"/>
              <a:gd name="T26" fmla="*/ 253 w 306"/>
              <a:gd name="T27" fmla="*/ 69 h 321"/>
              <a:gd name="T28" fmla="*/ 129 w 306"/>
              <a:gd name="T29" fmla="*/ 68 h 321"/>
              <a:gd name="T30" fmla="*/ 119 w 306"/>
              <a:gd name="T31" fmla="*/ 59 h 321"/>
              <a:gd name="T32" fmla="*/ 112 w 306"/>
              <a:gd name="T33" fmla="*/ 45 h 321"/>
              <a:gd name="T34" fmla="*/ 108 w 306"/>
              <a:gd name="T35" fmla="*/ 28 h 321"/>
              <a:gd name="T36" fmla="*/ 101 w 306"/>
              <a:gd name="T37" fmla="*/ 19 h 321"/>
              <a:gd name="T38" fmla="*/ 90 w 306"/>
              <a:gd name="T39" fmla="*/ 17 h 321"/>
              <a:gd name="T40" fmla="*/ 80 w 306"/>
              <a:gd name="T41" fmla="*/ 12 h 321"/>
              <a:gd name="T42" fmla="*/ 75 w 306"/>
              <a:gd name="T43" fmla="*/ 4 h 321"/>
              <a:gd name="T44" fmla="*/ 65 w 306"/>
              <a:gd name="T45" fmla="*/ 0 h 321"/>
              <a:gd name="T46" fmla="*/ 49 w 306"/>
              <a:gd name="T47" fmla="*/ 0 h 321"/>
              <a:gd name="T48" fmla="*/ 34 w 306"/>
              <a:gd name="T49" fmla="*/ 1 h 321"/>
              <a:gd name="T50" fmla="*/ 22 w 306"/>
              <a:gd name="T51" fmla="*/ 5 h 321"/>
              <a:gd name="T52" fmla="*/ 10 w 306"/>
              <a:gd name="T53" fmla="*/ 14 h 321"/>
              <a:gd name="T54" fmla="*/ 1 w 306"/>
              <a:gd name="T55" fmla="*/ 25 h 321"/>
              <a:gd name="T56" fmla="*/ 2 w 306"/>
              <a:gd name="T57" fmla="*/ 35 h 321"/>
              <a:gd name="T58" fmla="*/ 15 w 306"/>
              <a:gd name="T59" fmla="*/ 46 h 321"/>
              <a:gd name="T60" fmla="*/ 35 w 306"/>
              <a:gd name="T61" fmla="*/ 58 h 321"/>
              <a:gd name="T62" fmla="*/ 54 w 306"/>
              <a:gd name="T63" fmla="*/ 67 h 321"/>
              <a:gd name="T64" fmla="*/ 47 w 306"/>
              <a:gd name="T65" fmla="*/ 79 h 321"/>
              <a:gd name="T66" fmla="*/ 25 w 306"/>
              <a:gd name="T67" fmla="*/ 97 h 321"/>
              <a:gd name="T68" fmla="*/ 17 w 306"/>
              <a:gd name="T69" fmla="*/ 107 h 321"/>
              <a:gd name="T70" fmla="*/ 14 w 306"/>
              <a:gd name="T71" fmla="*/ 114 h 321"/>
              <a:gd name="T72" fmla="*/ 14 w 306"/>
              <a:gd name="T73" fmla="*/ 122 h 321"/>
              <a:gd name="T74" fmla="*/ 18 w 306"/>
              <a:gd name="T75" fmla="*/ 129 h 321"/>
              <a:gd name="T76" fmla="*/ 28 w 306"/>
              <a:gd name="T77" fmla="*/ 141 h 321"/>
              <a:gd name="T78" fmla="*/ 47 w 306"/>
              <a:gd name="T79" fmla="*/ 156 h 321"/>
              <a:gd name="T80" fmla="*/ 64 w 306"/>
              <a:gd name="T81" fmla="*/ 164 h 321"/>
              <a:gd name="T82" fmla="*/ 75 w 306"/>
              <a:gd name="T83" fmla="*/ 166 h 321"/>
              <a:gd name="T84" fmla="*/ 107 w 306"/>
              <a:gd name="T85" fmla="*/ 271 h 321"/>
              <a:gd name="T86" fmla="*/ 108 w 306"/>
              <a:gd name="T87" fmla="*/ 263 h 321"/>
              <a:gd name="T88" fmla="*/ 112 w 306"/>
              <a:gd name="T89" fmla="*/ 256 h 321"/>
              <a:gd name="T90" fmla="*/ 127 w 306"/>
              <a:gd name="T91" fmla="*/ 246 h 321"/>
              <a:gd name="T92" fmla="*/ 148 w 306"/>
              <a:gd name="T93" fmla="*/ 240 h 321"/>
              <a:gd name="T94" fmla="*/ 174 w 306"/>
              <a:gd name="T95" fmla="*/ 235 h 321"/>
              <a:gd name="T96" fmla="*/ 174 w 306"/>
              <a:gd name="T97" fmla="*/ 210 h 321"/>
              <a:gd name="T98" fmla="*/ 183 w 306"/>
              <a:gd name="T99" fmla="*/ 212 h 321"/>
              <a:gd name="T100" fmla="*/ 193 w 306"/>
              <a:gd name="T101" fmla="*/ 212 h 321"/>
              <a:gd name="T102" fmla="*/ 213 w 306"/>
              <a:gd name="T103" fmla="*/ 210 h 321"/>
              <a:gd name="T104" fmla="*/ 232 w 306"/>
              <a:gd name="T105" fmla="*/ 261 h 321"/>
              <a:gd name="T106" fmla="*/ 259 w 306"/>
              <a:gd name="T107" fmla="*/ 321 h 321"/>
              <a:gd name="T108" fmla="*/ 272 w 306"/>
              <a:gd name="T109" fmla="*/ 311 h 321"/>
              <a:gd name="T110" fmla="*/ 282 w 306"/>
              <a:gd name="T111" fmla="*/ 302 h 321"/>
              <a:gd name="T112" fmla="*/ 295 w 306"/>
              <a:gd name="T113" fmla="*/ 280 h 321"/>
              <a:gd name="T114" fmla="*/ 306 w 306"/>
              <a:gd name="T115" fmla="*/ 235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06" h="321">
                <a:moveTo>
                  <a:pt x="306" y="235"/>
                </a:moveTo>
                <a:lnTo>
                  <a:pt x="259" y="160"/>
                </a:lnTo>
                <a:lnTo>
                  <a:pt x="257" y="164"/>
                </a:lnTo>
                <a:lnTo>
                  <a:pt x="252" y="173"/>
                </a:lnTo>
                <a:lnTo>
                  <a:pt x="247" y="178"/>
                </a:lnTo>
                <a:lnTo>
                  <a:pt x="243" y="182"/>
                </a:lnTo>
                <a:lnTo>
                  <a:pt x="238" y="185"/>
                </a:lnTo>
                <a:lnTo>
                  <a:pt x="233" y="186"/>
                </a:lnTo>
                <a:lnTo>
                  <a:pt x="227" y="185"/>
                </a:lnTo>
                <a:lnTo>
                  <a:pt x="223" y="184"/>
                </a:lnTo>
                <a:lnTo>
                  <a:pt x="219" y="181"/>
                </a:lnTo>
                <a:lnTo>
                  <a:pt x="214" y="178"/>
                </a:lnTo>
                <a:lnTo>
                  <a:pt x="211" y="173"/>
                </a:lnTo>
                <a:lnTo>
                  <a:pt x="209" y="169"/>
                </a:lnTo>
                <a:lnTo>
                  <a:pt x="206" y="165"/>
                </a:lnTo>
                <a:lnTo>
                  <a:pt x="206" y="160"/>
                </a:lnTo>
                <a:lnTo>
                  <a:pt x="206" y="154"/>
                </a:lnTo>
                <a:lnTo>
                  <a:pt x="209" y="148"/>
                </a:lnTo>
                <a:lnTo>
                  <a:pt x="211" y="142"/>
                </a:lnTo>
                <a:lnTo>
                  <a:pt x="213" y="136"/>
                </a:lnTo>
                <a:lnTo>
                  <a:pt x="221" y="125"/>
                </a:lnTo>
                <a:lnTo>
                  <a:pt x="230" y="114"/>
                </a:lnTo>
                <a:lnTo>
                  <a:pt x="238" y="104"/>
                </a:lnTo>
                <a:lnTo>
                  <a:pt x="246" y="93"/>
                </a:lnTo>
                <a:lnTo>
                  <a:pt x="248" y="87"/>
                </a:lnTo>
                <a:lnTo>
                  <a:pt x="250" y="82"/>
                </a:lnTo>
                <a:lnTo>
                  <a:pt x="253" y="75"/>
                </a:lnTo>
                <a:lnTo>
                  <a:pt x="253" y="69"/>
                </a:lnTo>
                <a:lnTo>
                  <a:pt x="133" y="69"/>
                </a:lnTo>
                <a:lnTo>
                  <a:pt x="129" y="68"/>
                </a:lnTo>
                <a:lnTo>
                  <a:pt x="123" y="65"/>
                </a:lnTo>
                <a:lnTo>
                  <a:pt x="119" y="59"/>
                </a:lnTo>
                <a:lnTo>
                  <a:pt x="115" y="53"/>
                </a:lnTo>
                <a:lnTo>
                  <a:pt x="112" y="45"/>
                </a:lnTo>
                <a:lnTo>
                  <a:pt x="109" y="37"/>
                </a:lnTo>
                <a:lnTo>
                  <a:pt x="108" y="28"/>
                </a:lnTo>
                <a:lnTo>
                  <a:pt x="107" y="19"/>
                </a:lnTo>
                <a:lnTo>
                  <a:pt x="101" y="19"/>
                </a:lnTo>
                <a:lnTo>
                  <a:pt x="96" y="18"/>
                </a:lnTo>
                <a:lnTo>
                  <a:pt x="90" y="17"/>
                </a:lnTo>
                <a:lnTo>
                  <a:pt x="85" y="15"/>
                </a:lnTo>
                <a:lnTo>
                  <a:pt x="80" y="12"/>
                </a:lnTo>
                <a:lnTo>
                  <a:pt x="77" y="9"/>
                </a:lnTo>
                <a:lnTo>
                  <a:pt x="75" y="4"/>
                </a:lnTo>
                <a:lnTo>
                  <a:pt x="74" y="0"/>
                </a:lnTo>
                <a:lnTo>
                  <a:pt x="65" y="0"/>
                </a:lnTo>
                <a:lnTo>
                  <a:pt x="57" y="0"/>
                </a:lnTo>
                <a:lnTo>
                  <a:pt x="49" y="0"/>
                </a:lnTo>
                <a:lnTo>
                  <a:pt x="41" y="0"/>
                </a:lnTo>
                <a:lnTo>
                  <a:pt x="34" y="1"/>
                </a:lnTo>
                <a:lnTo>
                  <a:pt x="29" y="2"/>
                </a:lnTo>
                <a:lnTo>
                  <a:pt x="22" y="5"/>
                </a:lnTo>
                <a:lnTo>
                  <a:pt x="15" y="9"/>
                </a:lnTo>
                <a:lnTo>
                  <a:pt x="10" y="14"/>
                </a:lnTo>
                <a:lnTo>
                  <a:pt x="4" y="19"/>
                </a:lnTo>
                <a:lnTo>
                  <a:pt x="1" y="25"/>
                </a:lnTo>
                <a:lnTo>
                  <a:pt x="0" y="31"/>
                </a:lnTo>
                <a:lnTo>
                  <a:pt x="2" y="35"/>
                </a:lnTo>
                <a:lnTo>
                  <a:pt x="8" y="40"/>
                </a:lnTo>
                <a:lnTo>
                  <a:pt x="15" y="46"/>
                </a:lnTo>
                <a:lnTo>
                  <a:pt x="25" y="52"/>
                </a:lnTo>
                <a:lnTo>
                  <a:pt x="35" y="58"/>
                </a:lnTo>
                <a:lnTo>
                  <a:pt x="45" y="63"/>
                </a:lnTo>
                <a:lnTo>
                  <a:pt x="54" y="67"/>
                </a:lnTo>
                <a:lnTo>
                  <a:pt x="60" y="69"/>
                </a:lnTo>
                <a:lnTo>
                  <a:pt x="47" y="79"/>
                </a:lnTo>
                <a:lnTo>
                  <a:pt x="32" y="91"/>
                </a:lnTo>
                <a:lnTo>
                  <a:pt x="25" y="97"/>
                </a:lnTo>
                <a:lnTo>
                  <a:pt x="19" y="104"/>
                </a:lnTo>
                <a:lnTo>
                  <a:pt x="17" y="107"/>
                </a:lnTo>
                <a:lnTo>
                  <a:pt x="15" y="110"/>
                </a:lnTo>
                <a:lnTo>
                  <a:pt x="14" y="114"/>
                </a:lnTo>
                <a:lnTo>
                  <a:pt x="13" y="117"/>
                </a:lnTo>
                <a:lnTo>
                  <a:pt x="14" y="122"/>
                </a:lnTo>
                <a:lnTo>
                  <a:pt x="15" y="125"/>
                </a:lnTo>
                <a:lnTo>
                  <a:pt x="18" y="129"/>
                </a:lnTo>
                <a:lnTo>
                  <a:pt x="20" y="133"/>
                </a:lnTo>
                <a:lnTo>
                  <a:pt x="28" y="141"/>
                </a:lnTo>
                <a:lnTo>
                  <a:pt x="37" y="149"/>
                </a:lnTo>
                <a:lnTo>
                  <a:pt x="47" y="156"/>
                </a:lnTo>
                <a:lnTo>
                  <a:pt x="58" y="162"/>
                </a:lnTo>
                <a:lnTo>
                  <a:pt x="64" y="164"/>
                </a:lnTo>
                <a:lnTo>
                  <a:pt x="69" y="165"/>
                </a:lnTo>
                <a:lnTo>
                  <a:pt x="75" y="166"/>
                </a:lnTo>
                <a:lnTo>
                  <a:pt x="80" y="167"/>
                </a:lnTo>
                <a:lnTo>
                  <a:pt x="107" y="271"/>
                </a:lnTo>
                <a:lnTo>
                  <a:pt x="107" y="267"/>
                </a:lnTo>
                <a:lnTo>
                  <a:pt x="108" y="263"/>
                </a:lnTo>
                <a:lnTo>
                  <a:pt x="110" y="260"/>
                </a:lnTo>
                <a:lnTo>
                  <a:pt x="112" y="256"/>
                </a:lnTo>
                <a:lnTo>
                  <a:pt x="119" y="251"/>
                </a:lnTo>
                <a:lnTo>
                  <a:pt x="127" y="246"/>
                </a:lnTo>
                <a:lnTo>
                  <a:pt x="137" y="243"/>
                </a:lnTo>
                <a:lnTo>
                  <a:pt x="148" y="240"/>
                </a:lnTo>
                <a:lnTo>
                  <a:pt x="160" y="237"/>
                </a:lnTo>
                <a:lnTo>
                  <a:pt x="174" y="235"/>
                </a:lnTo>
                <a:lnTo>
                  <a:pt x="174" y="222"/>
                </a:lnTo>
                <a:lnTo>
                  <a:pt x="174" y="210"/>
                </a:lnTo>
                <a:lnTo>
                  <a:pt x="178" y="212"/>
                </a:lnTo>
                <a:lnTo>
                  <a:pt x="183" y="212"/>
                </a:lnTo>
                <a:lnTo>
                  <a:pt x="188" y="213"/>
                </a:lnTo>
                <a:lnTo>
                  <a:pt x="193" y="212"/>
                </a:lnTo>
                <a:lnTo>
                  <a:pt x="203" y="211"/>
                </a:lnTo>
                <a:lnTo>
                  <a:pt x="213" y="210"/>
                </a:lnTo>
                <a:lnTo>
                  <a:pt x="220" y="233"/>
                </a:lnTo>
                <a:lnTo>
                  <a:pt x="232" y="261"/>
                </a:lnTo>
                <a:lnTo>
                  <a:pt x="245" y="292"/>
                </a:lnTo>
                <a:lnTo>
                  <a:pt x="259" y="321"/>
                </a:lnTo>
                <a:lnTo>
                  <a:pt x="267" y="316"/>
                </a:lnTo>
                <a:lnTo>
                  <a:pt x="272" y="311"/>
                </a:lnTo>
                <a:lnTo>
                  <a:pt x="278" y="307"/>
                </a:lnTo>
                <a:lnTo>
                  <a:pt x="282" y="302"/>
                </a:lnTo>
                <a:lnTo>
                  <a:pt x="290" y="291"/>
                </a:lnTo>
                <a:lnTo>
                  <a:pt x="295" y="280"/>
                </a:lnTo>
                <a:lnTo>
                  <a:pt x="301" y="258"/>
                </a:lnTo>
                <a:lnTo>
                  <a:pt x="306" y="23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24" name="Freeform 276"/>
          <p:cNvSpPr>
            <a:spLocks/>
          </p:cNvSpPr>
          <p:nvPr>
            <p:custDataLst>
              <p:tags r:id="rId203"/>
            </p:custDataLst>
          </p:nvPr>
        </p:nvSpPr>
        <p:spPr bwMode="auto">
          <a:xfrm>
            <a:off x="7999413" y="2947989"/>
            <a:ext cx="201612" cy="269875"/>
          </a:xfrm>
          <a:custGeom>
            <a:avLst/>
            <a:gdLst>
              <a:gd name="T0" fmla="*/ 94 w 471"/>
              <a:gd name="T1" fmla="*/ 12 h 518"/>
              <a:gd name="T2" fmla="*/ 67 w 471"/>
              <a:gd name="T3" fmla="*/ 32 h 518"/>
              <a:gd name="T4" fmla="*/ 40 w 471"/>
              <a:gd name="T5" fmla="*/ 49 h 518"/>
              <a:gd name="T6" fmla="*/ 27 w 471"/>
              <a:gd name="T7" fmla="*/ 82 h 518"/>
              <a:gd name="T8" fmla="*/ 8 w 471"/>
              <a:gd name="T9" fmla="*/ 118 h 518"/>
              <a:gd name="T10" fmla="*/ 7 w 471"/>
              <a:gd name="T11" fmla="*/ 136 h 518"/>
              <a:gd name="T12" fmla="*/ 30 w 471"/>
              <a:gd name="T13" fmla="*/ 153 h 518"/>
              <a:gd name="T14" fmla="*/ 50 w 471"/>
              <a:gd name="T15" fmla="*/ 168 h 518"/>
              <a:gd name="T16" fmla="*/ 62 w 471"/>
              <a:gd name="T17" fmla="*/ 172 h 518"/>
              <a:gd name="T18" fmla="*/ 75 w 471"/>
              <a:gd name="T19" fmla="*/ 211 h 518"/>
              <a:gd name="T20" fmla="*/ 84 w 471"/>
              <a:gd name="T21" fmla="*/ 272 h 518"/>
              <a:gd name="T22" fmla="*/ 94 w 471"/>
              <a:gd name="T23" fmla="*/ 299 h 518"/>
              <a:gd name="T24" fmla="*/ 104 w 471"/>
              <a:gd name="T25" fmla="*/ 302 h 518"/>
              <a:gd name="T26" fmla="*/ 112 w 471"/>
              <a:gd name="T27" fmla="*/ 297 h 518"/>
              <a:gd name="T28" fmla="*/ 128 w 471"/>
              <a:gd name="T29" fmla="*/ 268 h 518"/>
              <a:gd name="T30" fmla="*/ 145 w 471"/>
              <a:gd name="T31" fmla="*/ 262 h 518"/>
              <a:gd name="T32" fmla="*/ 160 w 471"/>
              <a:gd name="T33" fmla="*/ 272 h 518"/>
              <a:gd name="T34" fmla="*/ 173 w 471"/>
              <a:gd name="T35" fmla="*/ 277 h 518"/>
              <a:gd name="T36" fmla="*/ 183 w 471"/>
              <a:gd name="T37" fmla="*/ 274 h 518"/>
              <a:gd name="T38" fmla="*/ 192 w 471"/>
              <a:gd name="T39" fmla="*/ 259 h 518"/>
              <a:gd name="T40" fmla="*/ 203 w 471"/>
              <a:gd name="T41" fmla="*/ 244 h 518"/>
              <a:gd name="T42" fmla="*/ 212 w 471"/>
              <a:gd name="T43" fmla="*/ 241 h 518"/>
              <a:gd name="T44" fmla="*/ 241 w 471"/>
              <a:gd name="T45" fmla="*/ 247 h 518"/>
              <a:gd name="T46" fmla="*/ 259 w 471"/>
              <a:gd name="T47" fmla="*/ 271 h 518"/>
              <a:gd name="T48" fmla="*/ 308 w 471"/>
              <a:gd name="T49" fmla="*/ 336 h 518"/>
              <a:gd name="T50" fmla="*/ 341 w 471"/>
              <a:gd name="T51" fmla="*/ 382 h 518"/>
              <a:gd name="T52" fmla="*/ 358 w 471"/>
              <a:gd name="T53" fmla="*/ 419 h 518"/>
              <a:gd name="T54" fmla="*/ 366 w 471"/>
              <a:gd name="T55" fmla="*/ 457 h 518"/>
              <a:gd name="T56" fmla="*/ 359 w 471"/>
              <a:gd name="T57" fmla="*/ 470 h 518"/>
              <a:gd name="T58" fmla="*/ 339 w 471"/>
              <a:gd name="T59" fmla="*/ 487 h 518"/>
              <a:gd name="T60" fmla="*/ 363 w 471"/>
              <a:gd name="T61" fmla="*/ 496 h 518"/>
              <a:gd name="T62" fmla="*/ 392 w 471"/>
              <a:gd name="T63" fmla="*/ 518 h 518"/>
              <a:gd name="T64" fmla="*/ 401 w 471"/>
              <a:gd name="T65" fmla="*/ 499 h 518"/>
              <a:gd name="T66" fmla="*/ 413 w 471"/>
              <a:gd name="T67" fmla="*/ 489 h 518"/>
              <a:gd name="T68" fmla="*/ 444 w 471"/>
              <a:gd name="T69" fmla="*/ 483 h 518"/>
              <a:gd name="T70" fmla="*/ 468 w 471"/>
              <a:gd name="T71" fmla="*/ 438 h 518"/>
              <a:gd name="T72" fmla="*/ 449 w 471"/>
              <a:gd name="T73" fmla="*/ 387 h 518"/>
              <a:gd name="T74" fmla="*/ 421 w 471"/>
              <a:gd name="T75" fmla="*/ 347 h 518"/>
              <a:gd name="T76" fmla="*/ 345 w 471"/>
              <a:gd name="T77" fmla="*/ 277 h 518"/>
              <a:gd name="T78" fmla="*/ 279 w 471"/>
              <a:gd name="T79" fmla="*/ 218 h 518"/>
              <a:gd name="T80" fmla="*/ 224 w 471"/>
              <a:gd name="T81" fmla="*/ 162 h 518"/>
              <a:gd name="T82" fmla="*/ 179 w 471"/>
              <a:gd name="T83" fmla="*/ 105 h 518"/>
              <a:gd name="T84" fmla="*/ 127 w 471"/>
              <a:gd name="T85" fmla="*/ 40 h 518"/>
              <a:gd name="T86" fmla="*/ 115 w 471"/>
              <a:gd name="T87" fmla="*/ 14 h 5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471" h="518">
                <a:moveTo>
                  <a:pt x="113" y="0"/>
                </a:moveTo>
                <a:lnTo>
                  <a:pt x="104" y="5"/>
                </a:lnTo>
                <a:lnTo>
                  <a:pt x="94" y="12"/>
                </a:lnTo>
                <a:lnTo>
                  <a:pt x="85" y="18"/>
                </a:lnTo>
                <a:lnTo>
                  <a:pt x="76" y="25"/>
                </a:lnTo>
                <a:lnTo>
                  <a:pt x="67" y="32"/>
                </a:lnTo>
                <a:lnTo>
                  <a:pt x="59" y="38"/>
                </a:lnTo>
                <a:lnTo>
                  <a:pt x="50" y="44"/>
                </a:lnTo>
                <a:lnTo>
                  <a:pt x="40" y="49"/>
                </a:lnTo>
                <a:lnTo>
                  <a:pt x="37" y="59"/>
                </a:lnTo>
                <a:lnTo>
                  <a:pt x="32" y="71"/>
                </a:lnTo>
                <a:lnTo>
                  <a:pt x="27" y="82"/>
                </a:lnTo>
                <a:lnTo>
                  <a:pt x="20" y="93"/>
                </a:lnTo>
                <a:lnTo>
                  <a:pt x="14" y="106"/>
                </a:lnTo>
                <a:lnTo>
                  <a:pt x="8" y="118"/>
                </a:lnTo>
                <a:lnTo>
                  <a:pt x="4" y="131"/>
                </a:lnTo>
                <a:lnTo>
                  <a:pt x="0" y="142"/>
                </a:lnTo>
                <a:lnTo>
                  <a:pt x="7" y="136"/>
                </a:lnTo>
                <a:lnTo>
                  <a:pt x="16" y="141"/>
                </a:lnTo>
                <a:lnTo>
                  <a:pt x="23" y="147"/>
                </a:lnTo>
                <a:lnTo>
                  <a:pt x="30" y="153"/>
                </a:lnTo>
                <a:lnTo>
                  <a:pt x="37" y="159"/>
                </a:lnTo>
                <a:lnTo>
                  <a:pt x="43" y="164"/>
                </a:lnTo>
                <a:lnTo>
                  <a:pt x="50" y="168"/>
                </a:lnTo>
                <a:lnTo>
                  <a:pt x="53" y="170"/>
                </a:lnTo>
                <a:lnTo>
                  <a:pt x="57" y="171"/>
                </a:lnTo>
                <a:lnTo>
                  <a:pt x="62" y="172"/>
                </a:lnTo>
                <a:lnTo>
                  <a:pt x="66" y="172"/>
                </a:lnTo>
                <a:lnTo>
                  <a:pt x="71" y="191"/>
                </a:lnTo>
                <a:lnTo>
                  <a:pt x="75" y="211"/>
                </a:lnTo>
                <a:lnTo>
                  <a:pt x="77" y="233"/>
                </a:lnTo>
                <a:lnTo>
                  <a:pt x="80" y="254"/>
                </a:lnTo>
                <a:lnTo>
                  <a:pt x="84" y="272"/>
                </a:lnTo>
                <a:lnTo>
                  <a:pt x="88" y="289"/>
                </a:lnTo>
                <a:lnTo>
                  <a:pt x="90" y="294"/>
                </a:lnTo>
                <a:lnTo>
                  <a:pt x="94" y="299"/>
                </a:lnTo>
                <a:lnTo>
                  <a:pt x="96" y="302"/>
                </a:lnTo>
                <a:lnTo>
                  <a:pt x="100" y="302"/>
                </a:lnTo>
                <a:lnTo>
                  <a:pt x="104" y="302"/>
                </a:lnTo>
                <a:lnTo>
                  <a:pt x="107" y="301"/>
                </a:lnTo>
                <a:lnTo>
                  <a:pt x="110" y="299"/>
                </a:lnTo>
                <a:lnTo>
                  <a:pt x="112" y="297"/>
                </a:lnTo>
                <a:lnTo>
                  <a:pt x="118" y="291"/>
                </a:lnTo>
                <a:lnTo>
                  <a:pt x="121" y="283"/>
                </a:lnTo>
                <a:lnTo>
                  <a:pt x="128" y="268"/>
                </a:lnTo>
                <a:lnTo>
                  <a:pt x="133" y="259"/>
                </a:lnTo>
                <a:lnTo>
                  <a:pt x="140" y="260"/>
                </a:lnTo>
                <a:lnTo>
                  <a:pt x="145" y="262"/>
                </a:lnTo>
                <a:lnTo>
                  <a:pt x="151" y="265"/>
                </a:lnTo>
                <a:lnTo>
                  <a:pt x="155" y="268"/>
                </a:lnTo>
                <a:lnTo>
                  <a:pt x="160" y="272"/>
                </a:lnTo>
                <a:lnTo>
                  <a:pt x="164" y="274"/>
                </a:lnTo>
                <a:lnTo>
                  <a:pt x="168" y="277"/>
                </a:lnTo>
                <a:lnTo>
                  <a:pt x="173" y="277"/>
                </a:lnTo>
                <a:lnTo>
                  <a:pt x="176" y="277"/>
                </a:lnTo>
                <a:lnTo>
                  <a:pt x="179" y="276"/>
                </a:lnTo>
                <a:lnTo>
                  <a:pt x="183" y="274"/>
                </a:lnTo>
                <a:lnTo>
                  <a:pt x="185" y="272"/>
                </a:lnTo>
                <a:lnTo>
                  <a:pt x="189" y="266"/>
                </a:lnTo>
                <a:lnTo>
                  <a:pt x="192" y="259"/>
                </a:lnTo>
                <a:lnTo>
                  <a:pt x="197" y="252"/>
                </a:lnTo>
                <a:lnTo>
                  <a:pt x="201" y="247"/>
                </a:lnTo>
                <a:lnTo>
                  <a:pt x="203" y="244"/>
                </a:lnTo>
                <a:lnTo>
                  <a:pt x="206" y="243"/>
                </a:lnTo>
                <a:lnTo>
                  <a:pt x="209" y="241"/>
                </a:lnTo>
                <a:lnTo>
                  <a:pt x="212" y="241"/>
                </a:lnTo>
                <a:lnTo>
                  <a:pt x="224" y="242"/>
                </a:lnTo>
                <a:lnTo>
                  <a:pt x="233" y="244"/>
                </a:lnTo>
                <a:lnTo>
                  <a:pt x="241" y="247"/>
                </a:lnTo>
                <a:lnTo>
                  <a:pt x="246" y="252"/>
                </a:lnTo>
                <a:lnTo>
                  <a:pt x="254" y="261"/>
                </a:lnTo>
                <a:lnTo>
                  <a:pt x="259" y="271"/>
                </a:lnTo>
                <a:lnTo>
                  <a:pt x="274" y="293"/>
                </a:lnTo>
                <a:lnTo>
                  <a:pt x="290" y="314"/>
                </a:lnTo>
                <a:lnTo>
                  <a:pt x="308" y="336"/>
                </a:lnTo>
                <a:lnTo>
                  <a:pt x="325" y="359"/>
                </a:lnTo>
                <a:lnTo>
                  <a:pt x="333" y="371"/>
                </a:lnTo>
                <a:lnTo>
                  <a:pt x="341" y="382"/>
                </a:lnTo>
                <a:lnTo>
                  <a:pt x="347" y="394"/>
                </a:lnTo>
                <a:lnTo>
                  <a:pt x="354" y="407"/>
                </a:lnTo>
                <a:lnTo>
                  <a:pt x="358" y="419"/>
                </a:lnTo>
                <a:lnTo>
                  <a:pt x="363" y="431"/>
                </a:lnTo>
                <a:lnTo>
                  <a:pt x="365" y="443"/>
                </a:lnTo>
                <a:lnTo>
                  <a:pt x="366" y="457"/>
                </a:lnTo>
                <a:lnTo>
                  <a:pt x="365" y="461"/>
                </a:lnTo>
                <a:lnTo>
                  <a:pt x="363" y="466"/>
                </a:lnTo>
                <a:lnTo>
                  <a:pt x="359" y="470"/>
                </a:lnTo>
                <a:lnTo>
                  <a:pt x="355" y="474"/>
                </a:lnTo>
                <a:lnTo>
                  <a:pt x="346" y="481"/>
                </a:lnTo>
                <a:lnTo>
                  <a:pt x="339" y="487"/>
                </a:lnTo>
                <a:lnTo>
                  <a:pt x="348" y="490"/>
                </a:lnTo>
                <a:lnTo>
                  <a:pt x="356" y="493"/>
                </a:lnTo>
                <a:lnTo>
                  <a:pt x="363" y="496"/>
                </a:lnTo>
                <a:lnTo>
                  <a:pt x="368" y="500"/>
                </a:lnTo>
                <a:lnTo>
                  <a:pt x="379" y="508"/>
                </a:lnTo>
                <a:lnTo>
                  <a:pt x="392" y="518"/>
                </a:lnTo>
                <a:lnTo>
                  <a:pt x="395" y="511"/>
                </a:lnTo>
                <a:lnTo>
                  <a:pt x="398" y="504"/>
                </a:lnTo>
                <a:lnTo>
                  <a:pt x="401" y="499"/>
                </a:lnTo>
                <a:lnTo>
                  <a:pt x="404" y="495"/>
                </a:lnTo>
                <a:lnTo>
                  <a:pt x="409" y="491"/>
                </a:lnTo>
                <a:lnTo>
                  <a:pt x="413" y="489"/>
                </a:lnTo>
                <a:lnTo>
                  <a:pt x="418" y="487"/>
                </a:lnTo>
                <a:lnTo>
                  <a:pt x="422" y="485"/>
                </a:lnTo>
                <a:lnTo>
                  <a:pt x="444" y="483"/>
                </a:lnTo>
                <a:lnTo>
                  <a:pt x="471" y="481"/>
                </a:lnTo>
                <a:lnTo>
                  <a:pt x="471" y="459"/>
                </a:lnTo>
                <a:lnTo>
                  <a:pt x="468" y="438"/>
                </a:lnTo>
                <a:lnTo>
                  <a:pt x="464" y="420"/>
                </a:lnTo>
                <a:lnTo>
                  <a:pt x="457" y="403"/>
                </a:lnTo>
                <a:lnTo>
                  <a:pt x="449" y="387"/>
                </a:lnTo>
                <a:lnTo>
                  <a:pt x="441" y="372"/>
                </a:lnTo>
                <a:lnTo>
                  <a:pt x="431" y="359"/>
                </a:lnTo>
                <a:lnTo>
                  <a:pt x="421" y="347"/>
                </a:lnTo>
                <a:lnTo>
                  <a:pt x="397" y="322"/>
                </a:lnTo>
                <a:lnTo>
                  <a:pt x="371" y="300"/>
                </a:lnTo>
                <a:lnTo>
                  <a:pt x="345" y="277"/>
                </a:lnTo>
                <a:lnTo>
                  <a:pt x="319" y="253"/>
                </a:lnTo>
                <a:lnTo>
                  <a:pt x="299" y="237"/>
                </a:lnTo>
                <a:lnTo>
                  <a:pt x="279" y="218"/>
                </a:lnTo>
                <a:lnTo>
                  <a:pt x="261" y="200"/>
                </a:lnTo>
                <a:lnTo>
                  <a:pt x="242" y="182"/>
                </a:lnTo>
                <a:lnTo>
                  <a:pt x="224" y="162"/>
                </a:lnTo>
                <a:lnTo>
                  <a:pt x="208" y="143"/>
                </a:lnTo>
                <a:lnTo>
                  <a:pt x="192" y="124"/>
                </a:lnTo>
                <a:lnTo>
                  <a:pt x="179" y="105"/>
                </a:lnTo>
                <a:lnTo>
                  <a:pt x="158" y="79"/>
                </a:lnTo>
                <a:lnTo>
                  <a:pt x="136" y="52"/>
                </a:lnTo>
                <a:lnTo>
                  <a:pt x="127" y="40"/>
                </a:lnTo>
                <a:lnTo>
                  <a:pt x="120" y="27"/>
                </a:lnTo>
                <a:lnTo>
                  <a:pt x="117" y="21"/>
                </a:lnTo>
                <a:lnTo>
                  <a:pt x="115" y="14"/>
                </a:lnTo>
                <a:lnTo>
                  <a:pt x="113" y="7"/>
                </a:lnTo>
                <a:lnTo>
                  <a:pt x="1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25" name="Freeform 277"/>
          <p:cNvSpPr>
            <a:spLocks/>
          </p:cNvSpPr>
          <p:nvPr>
            <p:custDataLst>
              <p:tags r:id="rId204"/>
            </p:custDataLst>
          </p:nvPr>
        </p:nvSpPr>
        <p:spPr bwMode="auto">
          <a:xfrm>
            <a:off x="8081963" y="3198814"/>
            <a:ext cx="133350" cy="130175"/>
          </a:xfrm>
          <a:custGeom>
            <a:avLst/>
            <a:gdLst>
              <a:gd name="T0" fmla="*/ 152 w 293"/>
              <a:gd name="T1" fmla="*/ 19 h 246"/>
              <a:gd name="T2" fmla="*/ 179 w 293"/>
              <a:gd name="T3" fmla="*/ 30 h 246"/>
              <a:gd name="T4" fmla="*/ 196 w 293"/>
              <a:gd name="T5" fmla="*/ 30 h 246"/>
              <a:gd name="T6" fmla="*/ 202 w 293"/>
              <a:gd name="T7" fmla="*/ 18 h 246"/>
              <a:gd name="T8" fmla="*/ 210 w 293"/>
              <a:gd name="T9" fmla="*/ 10 h 246"/>
              <a:gd name="T10" fmla="*/ 219 w 293"/>
              <a:gd name="T11" fmla="*/ 6 h 246"/>
              <a:gd name="T12" fmla="*/ 245 w 293"/>
              <a:gd name="T13" fmla="*/ 2 h 246"/>
              <a:gd name="T14" fmla="*/ 293 w 293"/>
              <a:gd name="T15" fmla="*/ 80 h 246"/>
              <a:gd name="T16" fmla="*/ 266 w 293"/>
              <a:gd name="T17" fmla="*/ 107 h 246"/>
              <a:gd name="T18" fmla="*/ 237 w 293"/>
              <a:gd name="T19" fmla="*/ 141 h 246"/>
              <a:gd name="T20" fmla="*/ 225 w 293"/>
              <a:gd name="T21" fmla="*/ 159 h 246"/>
              <a:gd name="T22" fmla="*/ 215 w 293"/>
              <a:gd name="T23" fmla="*/ 178 h 246"/>
              <a:gd name="T24" fmla="*/ 209 w 293"/>
              <a:gd name="T25" fmla="*/ 197 h 246"/>
              <a:gd name="T26" fmla="*/ 206 w 293"/>
              <a:gd name="T27" fmla="*/ 216 h 246"/>
              <a:gd name="T28" fmla="*/ 196 w 293"/>
              <a:gd name="T29" fmla="*/ 217 h 246"/>
              <a:gd name="T30" fmla="*/ 186 w 293"/>
              <a:gd name="T31" fmla="*/ 220 h 246"/>
              <a:gd name="T32" fmla="*/ 170 w 293"/>
              <a:gd name="T33" fmla="*/ 229 h 246"/>
              <a:gd name="T34" fmla="*/ 154 w 293"/>
              <a:gd name="T35" fmla="*/ 239 h 246"/>
              <a:gd name="T36" fmla="*/ 133 w 293"/>
              <a:gd name="T37" fmla="*/ 246 h 246"/>
              <a:gd name="T38" fmla="*/ 102 w 293"/>
              <a:gd name="T39" fmla="*/ 240 h 246"/>
              <a:gd name="T40" fmla="*/ 71 w 293"/>
              <a:gd name="T41" fmla="*/ 232 h 246"/>
              <a:gd name="T42" fmla="*/ 59 w 293"/>
              <a:gd name="T43" fmla="*/ 226 h 246"/>
              <a:gd name="T44" fmla="*/ 49 w 293"/>
              <a:gd name="T45" fmla="*/ 220 h 246"/>
              <a:gd name="T46" fmla="*/ 43 w 293"/>
              <a:gd name="T47" fmla="*/ 212 h 246"/>
              <a:gd name="T48" fmla="*/ 41 w 293"/>
              <a:gd name="T49" fmla="*/ 204 h 246"/>
              <a:gd name="T50" fmla="*/ 47 w 293"/>
              <a:gd name="T51" fmla="*/ 178 h 246"/>
              <a:gd name="T52" fmla="*/ 45 w 293"/>
              <a:gd name="T53" fmla="*/ 162 h 246"/>
              <a:gd name="T54" fmla="*/ 40 w 293"/>
              <a:gd name="T55" fmla="*/ 147 h 246"/>
              <a:gd name="T56" fmla="*/ 24 w 293"/>
              <a:gd name="T57" fmla="*/ 119 h 246"/>
              <a:gd name="T58" fmla="*/ 8 w 293"/>
              <a:gd name="T59" fmla="*/ 91 h 246"/>
              <a:gd name="T60" fmla="*/ 2 w 293"/>
              <a:gd name="T61" fmla="*/ 74 h 246"/>
              <a:gd name="T62" fmla="*/ 0 w 293"/>
              <a:gd name="T63" fmla="*/ 55 h 246"/>
              <a:gd name="T64" fmla="*/ 2 w 293"/>
              <a:gd name="T65" fmla="*/ 45 h 246"/>
              <a:gd name="T66" fmla="*/ 8 w 293"/>
              <a:gd name="T67" fmla="*/ 36 h 246"/>
              <a:gd name="T68" fmla="*/ 17 w 293"/>
              <a:gd name="T69" fmla="*/ 29 h 246"/>
              <a:gd name="T70" fmla="*/ 26 w 293"/>
              <a:gd name="T71" fmla="*/ 22 h 246"/>
              <a:gd name="T72" fmla="*/ 48 w 293"/>
              <a:gd name="T73" fmla="*/ 14 h 246"/>
              <a:gd name="T74" fmla="*/ 67 w 293"/>
              <a:gd name="T75" fmla="*/ 12 h 246"/>
              <a:gd name="T76" fmla="*/ 96 w 293"/>
              <a:gd name="T77" fmla="*/ 12 h 246"/>
              <a:gd name="T78" fmla="*/ 133 w 293"/>
              <a:gd name="T79" fmla="*/ 12 h 2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93" h="246">
                <a:moveTo>
                  <a:pt x="133" y="12"/>
                </a:moveTo>
                <a:lnTo>
                  <a:pt x="152" y="19"/>
                </a:lnTo>
                <a:lnTo>
                  <a:pt x="166" y="24"/>
                </a:lnTo>
                <a:lnTo>
                  <a:pt x="179" y="30"/>
                </a:lnTo>
                <a:lnTo>
                  <a:pt x="193" y="37"/>
                </a:lnTo>
                <a:lnTo>
                  <a:pt x="196" y="30"/>
                </a:lnTo>
                <a:lnTo>
                  <a:pt x="199" y="23"/>
                </a:lnTo>
                <a:lnTo>
                  <a:pt x="202" y="18"/>
                </a:lnTo>
                <a:lnTo>
                  <a:pt x="205" y="14"/>
                </a:lnTo>
                <a:lnTo>
                  <a:pt x="210" y="10"/>
                </a:lnTo>
                <a:lnTo>
                  <a:pt x="214" y="8"/>
                </a:lnTo>
                <a:lnTo>
                  <a:pt x="219" y="6"/>
                </a:lnTo>
                <a:lnTo>
                  <a:pt x="223" y="4"/>
                </a:lnTo>
                <a:lnTo>
                  <a:pt x="245" y="2"/>
                </a:lnTo>
                <a:lnTo>
                  <a:pt x="272" y="0"/>
                </a:lnTo>
                <a:lnTo>
                  <a:pt x="293" y="80"/>
                </a:lnTo>
                <a:lnTo>
                  <a:pt x="279" y="93"/>
                </a:lnTo>
                <a:lnTo>
                  <a:pt x="266" y="107"/>
                </a:lnTo>
                <a:lnTo>
                  <a:pt x="250" y="123"/>
                </a:lnTo>
                <a:lnTo>
                  <a:pt x="237" y="141"/>
                </a:lnTo>
                <a:lnTo>
                  <a:pt x="231" y="150"/>
                </a:lnTo>
                <a:lnTo>
                  <a:pt x="225" y="159"/>
                </a:lnTo>
                <a:lnTo>
                  <a:pt x="220" y="169"/>
                </a:lnTo>
                <a:lnTo>
                  <a:pt x="215" y="178"/>
                </a:lnTo>
                <a:lnTo>
                  <a:pt x="212" y="187"/>
                </a:lnTo>
                <a:lnTo>
                  <a:pt x="209" y="197"/>
                </a:lnTo>
                <a:lnTo>
                  <a:pt x="206" y="207"/>
                </a:lnTo>
                <a:lnTo>
                  <a:pt x="206" y="216"/>
                </a:lnTo>
                <a:lnTo>
                  <a:pt x="201" y="216"/>
                </a:lnTo>
                <a:lnTo>
                  <a:pt x="196" y="217"/>
                </a:lnTo>
                <a:lnTo>
                  <a:pt x="190" y="218"/>
                </a:lnTo>
                <a:lnTo>
                  <a:pt x="186" y="220"/>
                </a:lnTo>
                <a:lnTo>
                  <a:pt x="178" y="224"/>
                </a:lnTo>
                <a:lnTo>
                  <a:pt x="170" y="229"/>
                </a:lnTo>
                <a:lnTo>
                  <a:pt x="163" y="234"/>
                </a:lnTo>
                <a:lnTo>
                  <a:pt x="154" y="239"/>
                </a:lnTo>
                <a:lnTo>
                  <a:pt x="145" y="243"/>
                </a:lnTo>
                <a:lnTo>
                  <a:pt x="133" y="246"/>
                </a:lnTo>
                <a:lnTo>
                  <a:pt x="118" y="243"/>
                </a:lnTo>
                <a:lnTo>
                  <a:pt x="102" y="240"/>
                </a:lnTo>
                <a:lnTo>
                  <a:pt x="87" y="236"/>
                </a:lnTo>
                <a:lnTo>
                  <a:pt x="71" y="232"/>
                </a:lnTo>
                <a:lnTo>
                  <a:pt x="65" y="229"/>
                </a:lnTo>
                <a:lnTo>
                  <a:pt x="59" y="226"/>
                </a:lnTo>
                <a:lnTo>
                  <a:pt x="54" y="223"/>
                </a:lnTo>
                <a:lnTo>
                  <a:pt x="49" y="220"/>
                </a:lnTo>
                <a:lnTo>
                  <a:pt x="45" y="216"/>
                </a:lnTo>
                <a:lnTo>
                  <a:pt x="43" y="212"/>
                </a:lnTo>
                <a:lnTo>
                  <a:pt x="41" y="208"/>
                </a:lnTo>
                <a:lnTo>
                  <a:pt x="41" y="204"/>
                </a:lnTo>
                <a:lnTo>
                  <a:pt x="44" y="193"/>
                </a:lnTo>
                <a:lnTo>
                  <a:pt x="47" y="178"/>
                </a:lnTo>
                <a:lnTo>
                  <a:pt x="46" y="170"/>
                </a:lnTo>
                <a:lnTo>
                  <a:pt x="45" y="162"/>
                </a:lnTo>
                <a:lnTo>
                  <a:pt x="43" y="154"/>
                </a:lnTo>
                <a:lnTo>
                  <a:pt x="40" y="147"/>
                </a:lnTo>
                <a:lnTo>
                  <a:pt x="32" y="132"/>
                </a:lnTo>
                <a:lnTo>
                  <a:pt x="24" y="119"/>
                </a:lnTo>
                <a:lnTo>
                  <a:pt x="15" y="106"/>
                </a:lnTo>
                <a:lnTo>
                  <a:pt x="8" y="91"/>
                </a:lnTo>
                <a:lnTo>
                  <a:pt x="4" y="83"/>
                </a:lnTo>
                <a:lnTo>
                  <a:pt x="2" y="74"/>
                </a:lnTo>
                <a:lnTo>
                  <a:pt x="1" y="65"/>
                </a:lnTo>
                <a:lnTo>
                  <a:pt x="0" y="55"/>
                </a:lnTo>
                <a:lnTo>
                  <a:pt x="1" y="50"/>
                </a:lnTo>
                <a:lnTo>
                  <a:pt x="2" y="45"/>
                </a:lnTo>
                <a:lnTo>
                  <a:pt x="4" y="40"/>
                </a:lnTo>
                <a:lnTo>
                  <a:pt x="8" y="36"/>
                </a:lnTo>
                <a:lnTo>
                  <a:pt x="12" y="32"/>
                </a:lnTo>
                <a:lnTo>
                  <a:pt x="17" y="29"/>
                </a:lnTo>
                <a:lnTo>
                  <a:pt x="21" y="25"/>
                </a:lnTo>
                <a:lnTo>
                  <a:pt x="26" y="22"/>
                </a:lnTo>
                <a:lnTo>
                  <a:pt x="37" y="17"/>
                </a:lnTo>
                <a:lnTo>
                  <a:pt x="48" y="14"/>
                </a:lnTo>
                <a:lnTo>
                  <a:pt x="58" y="13"/>
                </a:lnTo>
                <a:lnTo>
                  <a:pt x="67" y="12"/>
                </a:lnTo>
                <a:lnTo>
                  <a:pt x="79" y="12"/>
                </a:lnTo>
                <a:lnTo>
                  <a:pt x="96" y="12"/>
                </a:lnTo>
                <a:lnTo>
                  <a:pt x="113" y="12"/>
                </a:lnTo>
                <a:lnTo>
                  <a:pt x="133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26" name="Freeform 278"/>
          <p:cNvSpPr>
            <a:spLocks/>
          </p:cNvSpPr>
          <p:nvPr>
            <p:custDataLst>
              <p:tags r:id="rId205"/>
            </p:custDataLst>
          </p:nvPr>
        </p:nvSpPr>
        <p:spPr bwMode="auto">
          <a:xfrm>
            <a:off x="8483601" y="2435226"/>
            <a:ext cx="85725" cy="130175"/>
          </a:xfrm>
          <a:custGeom>
            <a:avLst/>
            <a:gdLst>
              <a:gd name="T0" fmla="*/ 18 w 200"/>
              <a:gd name="T1" fmla="*/ 41 h 246"/>
              <a:gd name="T2" fmla="*/ 28 w 200"/>
              <a:gd name="T3" fmla="*/ 26 h 246"/>
              <a:gd name="T4" fmla="*/ 38 w 200"/>
              <a:gd name="T5" fmla="*/ 16 h 246"/>
              <a:gd name="T6" fmla="*/ 50 w 200"/>
              <a:gd name="T7" fmla="*/ 9 h 246"/>
              <a:gd name="T8" fmla="*/ 73 w 200"/>
              <a:gd name="T9" fmla="*/ 1 h 246"/>
              <a:gd name="T10" fmla="*/ 88 w 200"/>
              <a:gd name="T11" fmla="*/ 12 h 246"/>
              <a:gd name="T12" fmla="*/ 108 w 200"/>
              <a:gd name="T13" fmla="*/ 34 h 246"/>
              <a:gd name="T14" fmla="*/ 125 w 200"/>
              <a:gd name="T15" fmla="*/ 50 h 246"/>
              <a:gd name="T16" fmla="*/ 139 w 200"/>
              <a:gd name="T17" fmla="*/ 58 h 246"/>
              <a:gd name="T18" fmla="*/ 152 w 200"/>
              <a:gd name="T19" fmla="*/ 64 h 246"/>
              <a:gd name="T20" fmla="*/ 166 w 200"/>
              <a:gd name="T21" fmla="*/ 67 h 246"/>
              <a:gd name="T22" fmla="*/ 184 w 200"/>
              <a:gd name="T23" fmla="*/ 96 h 246"/>
              <a:gd name="T24" fmla="*/ 195 w 200"/>
              <a:gd name="T25" fmla="*/ 137 h 246"/>
              <a:gd name="T26" fmla="*/ 199 w 200"/>
              <a:gd name="T27" fmla="*/ 165 h 246"/>
              <a:gd name="T28" fmla="*/ 200 w 200"/>
              <a:gd name="T29" fmla="*/ 185 h 246"/>
              <a:gd name="T30" fmla="*/ 198 w 200"/>
              <a:gd name="T31" fmla="*/ 197 h 246"/>
              <a:gd name="T32" fmla="*/ 195 w 200"/>
              <a:gd name="T33" fmla="*/ 207 h 246"/>
              <a:gd name="T34" fmla="*/ 189 w 200"/>
              <a:gd name="T35" fmla="*/ 214 h 246"/>
              <a:gd name="T36" fmla="*/ 179 w 200"/>
              <a:gd name="T37" fmla="*/ 220 h 246"/>
              <a:gd name="T38" fmla="*/ 164 w 200"/>
              <a:gd name="T39" fmla="*/ 224 h 246"/>
              <a:gd name="T40" fmla="*/ 140 w 200"/>
              <a:gd name="T41" fmla="*/ 224 h 246"/>
              <a:gd name="T42" fmla="*/ 118 w 200"/>
              <a:gd name="T43" fmla="*/ 229 h 246"/>
              <a:gd name="T44" fmla="*/ 111 w 200"/>
              <a:gd name="T45" fmla="*/ 235 h 246"/>
              <a:gd name="T46" fmla="*/ 108 w 200"/>
              <a:gd name="T47" fmla="*/ 242 h 246"/>
              <a:gd name="T48" fmla="*/ 98 w 200"/>
              <a:gd name="T49" fmla="*/ 245 h 246"/>
              <a:gd name="T50" fmla="*/ 85 w 200"/>
              <a:gd name="T51" fmla="*/ 240 h 246"/>
              <a:gd name="T52" fmla="*/ 77 w 200"/>
              <a:gd name="T53" fmla="*/ 230 h 246"/>
              <a:gd name="T54" fmla="*/ 73 w 200"/>
              <a:gd name="T55" fmla="*/ 216 h 246"/>
              <a:gd name="T56" fmla="*/ 72 w 200"/>
              <a:gd name="T57" fmla="*/ 192 h 246"/>
              <a:gd name="T58" fmla="*/ 71 w 200"/>
              <a:gd name="T59" fmla="*/ 168 h 246"/>
              <a:gd name="T60" fmla="*/ 69 w 200"/>
              <a:gd name="T61" fmla="*/ 154 h 246"/>
              <a:gd name="T62" fmla="*/ 64 w 200"/>
              <a:gd name="T63" fmla="*/ 142 h 246"/>
              <a:gd name="T64" fmla="*/ 56 w 200"/>
              <a:gd name="T65" fmla="*/ 134 h 246"/>
              <a:gd name="T66" fmla="*/ 40 w 200"/>
              <a:gd name="T67" fmla="*/ 125 h 246"/>
              <a:gd name="T68" fmla="*/ 18 w 200"/>
              <a:gd name="T69" fmla="*/ 115 h 246"/>
              <a:gd name="T70" fmla="*/ 6 w 200"/>
              <a:gd name="T71" fmla="*/ 106 h 246"/>
              <a:gd name="T72" fmla="*/ 1 w 200"/>
              <a:gd name="T73" fmla="*/ 98 h 246"/>
              <a:gd name="T74" fmla="*/ 1 w 200"/>
              <a:gd name="T75" fmla="*/ 87 h 246"/>
              <a:gd name="T76" fmla="*/ 5 w 200"/>
              <a:gd name="T77" fmla="*/ 78 h 246"/>
              <a:gd name="T78" fmla="*/ 10 w 200"/>
              <a:gd name="T79" fmla="*/ 68 h 246"/>
              <a:gd name="T80" fmla="*/ 13 w 200"/>
              <a:gd name="T81" fmla="*/ 56 h 2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200" h="246">
                <a:moveTo>
                  <a:pt x="13" y="49"/>
                </a:moveTo>
                <a:lnTo>
                  <a:pt x="18" y="41"/>
                </a:lnTo>
                <a:lnTo>
                  <a:pt x="22" y="32"/>
                </a:lnTo>
                <a:lnTo>
                  <a:pt x="28" y="26"/>
                </a:lnTo>
                <a:lnTo>
                  <a:pt x="33" y="20"/>
                </a:lnTo>
                <a:lnTo>
                  <a:pt x="38" y="16"/>
                </a:lnTo>
                <a:lnTo>
                  <a:pt x="44" y="12"/>
                </a:lnTo>
                <a:lnTo>
                  <a:pt x="50" y="9"/>
                </a:lnTo>
                <a:lnTo>
                  <a:pt x="54" y="6"/>
                </a:lnTo>
                <a:lnTo>
                  <a:pt x="73" y="1"/>
                </a:lnTo>
                <a:lnTo>
                  <a:pt x="80" y="0"/>
                </a:lnTo>
                <a:lnTo>
                  <a:pt x="88" y="12"/>
                </a:lnTo>
                <a:lnTo>
                  <a:pt x="98" y="23"/>
                </a:lnTo>
                <a:lnTo>
                  <a:pt x="108" y="34"/>
                </a:lnTo>
                <a:lnTo>
                  <a:pt x="119" y="46"/>
                </a:lnTo>
                <a:lnTo>
                  <a:pt x="125" y="50"/>
                </a:lnTo>
                <a:lnTo>
                  <a:pt x="132" y="54"/>
                </a:lnTo>
                <a:lnTo>
                  <a:pt x="139" y="58"/>
                </a:lnTo>
                <a:lnTo>
                  <a:pt x="145" y="61"/>
                </a:lnTo>
                <a:lnTo>
                  <a:pt x="152" y="64"/>
                </a:lnTo>
                <a:lnTo>
                  <a:pt x="158" y="66"/>
                </a:lnTo>
                <a:lnTo>
                  <a:pt x="166" y="67"/>
                </a:lnTo>
                <a:lnTo>
                  <a:pt x="174" y="67"/>
                </a:lnTo>
                <a:lnTo>
                  <a:pt x="184" y="96"/>
                </a:lnTo>
                <a:lnTo>
                  <a:pt x="191" y="123"/>
                </a:lnTo>
                <a:lnTo>
                  <a:pt x="195" y="137"/>
                </a:lnTo>
                <a:lnTo>
                  <a:pt x="198" y="151"/>
                </a:lnTo>
                <a:lnTo>
                  <a:pt x="199" y="165"/>
                </a:lnTo>
                <a:lnTo>
                  <a:pt x="200" y="178"/>
                </a:lnTo>
                <a:lnTo>
                  <a:pt x="200" y="185"/>
                </a:lnTo>
                <a:lnTo>
                  <a:pt x="199" y="192"/>
                </a:lnTo>
                <a:lnTo>
                  <a:pt x="198" y="197"/>
                </a:lnTo>
                <a:lnTo>
                  <a:pt x="196" y="202"/>
                </a:lnTo>
                <a:lnTo>
                  <a:pt x="195" y="207"/>
                </a:lnTo>
                <a:lnTo>
                  <a:pt x="192" y="211"/>
                </a:lnTo>
                <a:lnTo>
                  <a:pt x="189" y="214"/>
                </a:lnTo>
                <a:lnTo>
                  <a:pt x="186" y="216"/>
                </a:lnTo>
                <a:lnTo>
                  <a:pt x="179" y="220"/>
                </a:lnTo>
                <a:lnTo>
                  <a:pt x="173" y="222"/>
                </a:lnTo>
                <a:lnTo>
                  <a:pt x="164" y="224"/>
                </a:lnTo>
                <a:lnTo>
                  <a:pt x="156" y="224"/>
                </a:lnTo>
                <a:lnTo>
                  <a:pt x="140" y="224"/>
                </a:lnTo>
                <a:lnTo>
                  <a:pt x="124" y="226"/>
                </a:lnTo>
                <a:lnTo>
                  <a:pt x="118" y="229"/>
                </a:lnTo>
                <a:lnTo>
                  <a:pt x="112" y="232"/>
                </a:lnTo>
                <a:lnTo>
                  <a:pt x="111" y="235"/>
                </a:lnTo>
                <a:lnTo>
                  <a:pt x="109" y="238"/>
                </a:lnTo>
                <a:lnTo>
                  <a:pt x="108" y="242"/>
                </a:lnTo>
                <a:lnTo>
                  <a:pt x="107" y="246"/>
                </a:lnTo>
                <a:lnTo>
                  <a:pt x="98" y="245"/>
                </a:lnTo>
                <a:lnTo>
                  <a:pt x="90" y="243"/>
                </a:lnTo>
                <a:lnTo>
                  <a:pt x="85" y="240"/>
                </a:lnTo>
                <a:lnTo>
                  <a:pt x="80" y="235"/>
                </a:lnTo>
                <a:lnTo>
                  <a:pt x="77" y="230"/>
                </a:lnTo>
                <a:lnTo>
                  <a:pt x="75" y="223"/>
                </a:lnTo>
                <a:lnTo>
                  <a:pt x="73" y="216"/>
                </a:lnTo>
                <a:lnTo>
                  <a:pt x="72" y="209"/>
                </a:lnTo>
                <a:lnTo>
                  <a:pt x="72" y="192"/>
                </a:lnTo>
                <a:lnTo>
                  <a:pt x="72" y="176"/>
                </a:lnTo>
                <a:lnTo>
                  <a:pt x="71" y="168"/>
                </a:lnTo>
                <a:lnTo>
                  <a:pt x="71" y="161"/>
                </a:lnTo>
                <a:lnTo>
                  <a:pt x="69" y="154"/>
                </a:lnTo>
                <a:lnTo>
                  <a:pt x="67" y="148"/>
                </a:lnTo>
                <a:lnTo>
                  <a:pt x="64" y="142"/>
                </a:lnTo>
                <a:lnTo>
                  <a:pt x="61" y="137"/>
                </a:lnTo>
                <a:lnTo>
                  <a:pt x="56" y="134"/>
                </a:lnTo>
                <a:lnTo>
                  <a:pt x="51" y="130"/>
                </a:lnTo>
                <a:lnTo>
                  <a:pt x="40" y="125"/>
                </a:lnTo>
                <a:lnTo>
                  <a:pt x="29" y="120"/>
                </a:lnTo>
                <a:lnTo>
                  <a:pt x="18" y="115"/>
                </a:lnTo>
                <a:lnTo>
                  <a:pt x="9" y="110"/>
                </a:lnTo>
                <a:lnTo>
                  <a:pt x="6" y="106"/>
                </a:lnTo>
                <a:lnTo>
                  <a:pt x="3" y="103"/>
                </a:lnTo>
                <a:lnTo>
                  <a:pt x="1" y="98"/>
                </a:lnTo>
                <a:lnTo>
                  <a:pt x="0" y="93"/>
                </a:lnTo>
                <a:lnTo>
                  <a:pt x="1" y="87"/>
                </a:lnTo>
                <a:lnTo>
                  <a:pt x="3" y="83"/>
                </a:lnTo>
                <a:lnTo>
                  <a:pt x="5" y="78"/>
                </a:lnTo>
                <a:lnTo>
                  <a:pt x="7" y="73"/>
                </a:lnTo>
                <a:lnTo>
                  <a:pt x="10" y="68"/>
                </a:lnTo>
                <a:lnTo>
                  <a:pt x="12" y="62"/>
                </a:lnTo>
                <a:lnTo>
                  <a:pt x="13" y="56"/>
                </a:lnTo>
                <a:lnTo>
                  <a:pt x="13" y="49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27" name="Freeform 279"/>
          <p:cNvSpPr>
            <a:spLocks/>
          </p:cNvSpPr>
          <p:nvPr>
            <p:custDataLst>
              <p:tags r:id="rId206"/>
            </p:custDataLst>
          </p:nvPr>
        </p:nvSpPr>
        <p:spPr bwMode="auto">
          <a:xfrm>
            <a:off x="9051926" y="3732213"/>
            <a:ext cx="231775" cy="254000"/>
          </a:xfrm>
          <a:custGeom>
            <a:avLst/>
            <a:gdLst>
              <a:gd name="T0" fmla="*/ 91 w 538"/>
              <a:gd name="T1" fmla="*/ 21 h 487"/>
              <a:gd name="T2" fmla="*/ 160 w 538"/>
              <a:gd name="T3" fmla="*/ 47 h 487"/>
              <a:gd name="T4" fmla="*/ 202 w 538"/>
              <a:gd name="T5" fmla="*/ 70 h 487"/>
              <a:gd name="T6" fmla="*/ 253 w 538"/>
              <a:gd name="T7" fmla="*/ 110 h 487"/>
              <a:gd name="T8" fmla="*/ 300 w 538"/>
              <a:gd name="T9" fmla="*/ 136 h 487"/>
              <a:gd name="T10" fmla="*/ 299 w 538"/>
              <a:gd name="T11" fmla="*/ 161 h 487"/>
              <a:gd name="T12" fmla="*/ 347 w 538"/>
              <a:gd name="T13" fmla="*/ 205 h 487"/>
              <a:gd name="T14" fmla="*/ 393 w 538"/>
              <a:gd name="T15" fmla="*/ 248 h 487"/>
              <a:gd name="T16" fmla="*/ 379 w 538"/>
              <a:gd name="T17" fmla="*/ 250 h 487"/>
              <a:gd name="T18" fmla="*/ 372 w 538"/>
              <a:gd name="T19" fmla="*/ 256 h 487"/>
              <a:gd name="T20" fmla="*/ 372 w 538"/>
              <a:gd name="T21" fmla="*/ 278 h 487"/>
              <a:gd name="T22" fmla="*/ 377 w 538"/>
              <a:gd name="T23" fmla="*/ 301 h 487"/>
              <a:gd name="T24" fmla="*/ 389 w 538"/>
              <a:gd name="T25" fmla="*/ 325 h 487"/>
              <a:gd name="T26" fmla="*/ 407 w 538"/>
              <a:gd name="T27" fmla="*/ 348 h 487"/>
              <a:gd name="T28" fmla="*/ 428 w 538"/>
              <a:gd name="T29" fmla="*/ 366 h 487"/>
              <a:gd name="T30" fmla="*/ 451 w 538"/>
              <a:gd name="T31" fmla="*/ 376 h 487"/>
              <a:gd name="T32" fmla="*/ 461 w 538"/>
              <a:gd name="T33" fmla="*/ 390 h 487"/>
              <a:gd name="T34" fmla="*/ 472 w 538"/>
              <a:gd name="T35" fmla="*/ 406 h 487"/>
              <a:gd name="T36" fmla="*/ 489 w 538"/>
              <a:gd name="T37" fmla="*/ 417 h 487"/>
              <a:gd name="T38" fmla="*/ 513 w 538"/>
              <a:gd name="T39" fmla="*/ 432 h 487"/>
              <a:gd name="T40" fmla="*/ 518 w 538"/>
              <a:gd name="T41" fmla="*/ 444 h 487"/>
              <a:gd name="T42" fmla="*/ 525 w 538"/>
              <a:gd name="T43" fmla="*/ 450 h 487"/>
              <a:gd name="T44" fmla="*/ 538 w 538"/>
              <a:gd name="T45" fmla="*/ 456 h 487"/>
              <a:gd name="T46" fmla="*/ 534 w 538"/>
              <a:gd name="T47" fmla="*/ 472 h 487"/>
              <a:gd name="T48" fmla="*/ 519 w 538"/>
              <a:gd name="T49" fmla="*/ 484 h 487"/>
              <a:gd name="T50" fmla="*/ 490 w 538"/>
              <a:gd name="T51" fmla="*/ 487 h 487"/>
              <a:gd name="T52" fmla="*/ 448 w 538"/>
              <a:gd name="T53" fmla="*/ 480 h 487"/>
              <a:gd name="T54" fmla="*/ 414 w 538"/>
              <a:gd name="T55" fmla="*/ 466 h 487"/>
              <a:gd name="T56" fmla="*/ 386 w 538"/>
              <a:gd name="T57" fmla="*/ 446 h 487"/>
              <a:gd name="T58" fmla="*/ 355 w 538"/>
              <a:gd name="T59" fmla="*/ 415 h 487"/>
              <a:gd name="T60" fmla="*/ 312 w 538"/>
              <a:gd name="T61" fmla="*/ 365 h 487"/>
              <a:gd name="T62" fmla="*/ 274 w 538"/>
              <a:gd name="T63" fmla="*/ 330 h 487"/>
              <a:gd name="T64" fmla="*/ 246 w 538"/>
              <a:gd name="T65" fmla="*/ 316 h 487"/>
              <a:gd name="T66" fmla="*/ 212 w 538"/>
              <a:gd name="T67" fmla="*/ 309 h 487"/>
              <a:gd name="T68" fmla="*/ 180 w 538"/>
              <a:gd name="T69" fmla="*/ 310 h 487"/>
              <a:gd name="T70" fmla="*/ 153 w 538"/>
              <a:gd name="T71" fmla="*/ 317 h 487"/>
              <a:gd name="T72" fmla="*/ 113 w 538"/>
              <a:gd name="T73" fmla="*/ 345 h 487"/>
              <a:gd name="T74" fmla="*/ 136 w 538"/>
              <a:gd name="T75" fmla="*/ 361 h 487"/>
              <a:gd name="T76" fmla="*/ 140 w 538"/>
              <a:gd name="T77" fmla="*/ 370 h 487"/>
              <a:gd name="T78" fmla="*/ 124 w 538"/>
              <a:gd name="T79" fmla="*/ 401 h 487"/>
              <a:gd name="T80" fmla="*/ 113 w 538"/>
              <a:gd name="T81" fmla="*/ 414 h 487"/>
              <a:gd name="T82" fmla="*/ 47 w 538"/>
              <a:gd name="T83" fmla="*/ 403 h 487"/>
              <a:gd name="T84" fmla="*/ 20 w 538"/>
              <a:gd name="T85" fmla="*/ 259 h 487"/>
              <a:gd name="T86" fmla="*/ 20 w 538"/>
              <a:gd name="T87" fmla="*/ 0 h 4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538" h="487">
                <a:moveTo>
                  <a:pt x="20" y="0"/>
                </a:moveTo>
                <a:lnTo>
                  <a:pt x="58" y="10"/>
                </a:lnTo>
                <a:lnTo>
                  <a:pt x="91" y="21"/>
                </a:lnTo>
                <a:lnTo>
                  <a:pt x="119" y="30"/>
                </a:lnTo>
                <a:lnTo>
                  <a:pt x="142" y="38"/>
                </a:lnTo>
                <a:lnTo>
                  <a:pt x="160" y="47"/>
                </a:lnTo>
                <a:lnTo>
                  <a:pt x="177" y="55"/>
                </a:lnTo>
                <a:lnTo>
                  <a:pt x="190" y="62"/>
                </a:lnTo>
                <a:lnTo>
                  <a:pt x="202" y="70"/>
                </a:lnTo>
                <a:lnTo>
                  <a:pt x="222" y="86"/>
                </a:lnTo>
                <a:lnTo>
                  <a:pt x="242" y="102"/>
                </a:lnTo>
                <a:lnTo>
                  <a:pt x="253" y="110"/>
                </a:lnTo>
                <a:lnTo>
                  <a:pt x="266" y="118"/>
                </a:lnTo>
                <a:lnTo>
                  <a:pt x="281" y="127"/>
                </a:lnTo>
                <a:lnTo>
                  <a:pt x="300" y="136"/>
                </a:lnTo>
                <a:lnTo>
                  <a:pt x="297" y="152"/>
                </a:lnTo>
                <a:lnTo>
                  <a:pt x="297" y="158"/>
                </a:lnTo>
                <a:lnTo>
                  <a:pt x="299" y="161"/>
                </a:lnTo>
                <a:lnTo>
                  <a:pt x="300" y="167"/>
                </a:lnTo>
                <a:lnTo>
                  <a:pt x="314" y="178"/>
                </a:lnTo>
                <a:lnTo>
                  <a:pt x="347" y="205"/>
                </a:lnTo>
                <a:lnTo>
                  <a:pt x="381" y="231"/>
                </a:lnTo>
                <a:lnTo>
                  <a:pt x="399" y="247"/>
                </a:lnTo>
                <a:lnTo>
                  <a:pt x="393" y="248"/>
                </a:lnTo>
                <a:lnTo>
                  <a:pt x="386" y="250"/>
                </a:lnTo>
                <a:lnTo>
                  <a:pt x="382" y="250"/>
                </a:lnTo>
                <a:lnTo>
                  <a:pt x="379" y="250"/>
                </a:lnTo>
                <a:lnTo>
                  <a:pt x="376" y="249"/>
                </a:lnTo>
                <a:lnTo>
                  <a:pt x="372" y="247"/>
                </a:lnTo>
                <a:lnTo>
                  <a:pt x="372" y="256"/>
                </a:lnTo>
                <a:lnTo>
                  <a:pt x="372" y="265"/>
                </a:lnTo>
                <a:lnTo>
                  <a:pt x="372" y="272"/>
                </a:lnTo>
                <a:lnTo>
                  <a:pt x="372" y="278"/>
                </a:lnTo>
                <a:lnTo>
                  <a:pt x="373" y="285"/>
                </a:lnTo>
                <a:lnTo>
                  <a:pt x="375" y="292"/>
                </a:lnTo>
                <a:lnTo>
                  <a:pt x="377" y="301"/>
                </a:lnTo>
                <a:lnTo>
                  <a:pt x="380" y="309"/>
                </a:lnTo>
                <a:lnTo>
                  <a:pt x="384" y="317"/>
                </a:lnTo>
                <a:lnTo>
                  <a:pt x="389" y="325"/>
                </a:lnTo>
                <a:lnTo>
                  <a:pt x="394" y="333"/>
                </a:lnTo>
                <a:lnTo>
                  <a:pt x="401" y="341"/>
                </a:lnTo>
                <a:lnTo>
                  <a:pt x="407" y="348"/>
                </a:lnTo>
                <a:lnTo>
                  <a:pt x="414" y="355"/>
                </a:lnTo>
                <a:lnTo>
                  <a:pt x="421" y="361"/>
                </a:lnTo>
                <a:lnTo>
                  <a:pt x="428" y="366"/>
                </a:lnTo>
                <a:lnTo>
                  <a:pt x="436" y="371"/>
                </a:lnTo>
                <a:lnTo>
                  <a:pt x="444" y="374"/>
                </a:lnTo>
                <a:lnTo>
                  <a:pt x="451" y="376"/>
                </a:lnTo>
                <a:lnTo>
                  <a:pt x="459" y="376"/>
                </a:lnTo>
                <a:lnTo>
                  <a:pt x="459" y="384"/>
                </a:lnTo>
                <a:lnTo>
                  <a:pt x="461" y="390"/>
                </a:lnTo>
                <a:lnTo>
                  <a:pt x="465" y="396"/>
                </a:lnTo>
                <a:lnTo>
                  <a:pt x="468" y="401"/>
                </a:lnTo>
                <a:lnTo>
                  <a:pt x="472" y="406"/>
                </a:lnTo>
                <a:lnTo>
                  <a:pt x="478" y="411"/>
                </a:lnTo>
                <a:lnTo>
                  <a:pt x="483" y="414"/>
                </a:lnTo>
                <a:lnTo>
                  <a:pt x="489" y="417"/>
                </a:lnTo>
                <a:lnTo>
                  <a:pt x="500" y="423"/>
                </a:lnTo>
                <a:lnTo>
                  <a:pt x="510" y="429"/>
                </a:lnTo>
                <a:lnTo>
                  <a:pt x="513" y="432"/>
                </a:lnTo>
                <a:lnTo>
                  <a:pt x="516" y="436"/>
                </a:lnTo>
                <a:lnTo>
                  <a:pt x="518" y="440"/>
                </a:lnTo>
                <a:lnTo>
                  <a:pt x="518" y="444"/>
                </a:lnTo>
                <a:lnTo>
                  <a:pt x="519" y="446"/>
                </a:lnTo>
                <a:lnTo>
                  <a:pt x="522" y="448"/>
                </a:lnTo>
                <a:lnTo>
                  <a:pt x="525" y="450"/>
                </a:lnTo>
                <a:lnTo>
                  <a:pt x="528" y="452"/>
                </a:lnTo>
                <a:lnTo>
                  <a:pt x="536" y="455"/>
                </a:lnTo>
                <a:lnTo>
                  <a:pt x="538" y="456"/>
                </a:lnTo>
                <a:lnTo>
                  <a:pt x="538" y="461"/>
                </a:lnTo>
                <a:lnTo>
                  <a:pt x="536" y="467"/>
                </a:lnTo>
                <a:lnTo>
                  <a:pt x="534" y="472"/>
                </a:lnTo>
                <a:lnTo>
                  <a:pt x="529" y="477"/>
                </a:lnTo>
                <a:lnTo>
                  <a:pt x="525" y="481"/>
                </a:lnTo>
                <a:lnTo>
                  <a:pt x="519" y="484"/>
                </a:lnTo>
                <a:lnTo>
                  <a:pt x="513" y="487"/>
                </a:lnTo>
                <a:lnTo>
                  <a:pt x="505" y="487"/>
                </a:lnTo>
                <a:lnTo>
                  <a:pt x="490" y="487"/>
                </a:lnTo>
                <a:lnTo>
                  <a:pt x="474" y="485"/>
                </a:lnTo>
                <a:lnTo>
                  <a:pt x="461" y="483"/>
                </a:lnTo>
                <a:lnTo>
                  <a:pt x="448" y="480"/>
                </a:lnTo>
                <a:lnTo>
                  <a:pt x="436" y="476"/>
                </a:lnTo>
                <a:lnTo>
                  <a:pt x="425" y="471"/>
                </a:lnTo>
                <a:lnTo>
                  <a:pt x="414" y="466"/>
                </a:lnTo>
                <a:lnTo>
                  <a:pt x="404" y="459"/>
                </a:lnTo>
                <a:lnTo>
                  <a:pt x="395" y="453"/>
                </a:lnTo>
                <a:lnTo>
                  <a:pt x="386" y="446"/>
                </a:lnTo>
                <a:lnTo>
                  <a:pt x="378" y="438"/>
                </a:lnTo>
                <a:lnTo>
                  <a:pt x="369" y="431"/>
                </a:lnTo>
                <a:lnTo>
                  <a:pt x="355" y="415"/>
                </a:lnTo>
                <a:lnTo>
                  <a:pt x="341" y="398"/>
                </a:lnTo>
                <a:lnTo>
                  <a:pt x="326" y="381"/>
                </a:lnTo>
                <a:lnTo>
                  <a:pt x="312" y="365"/>
                </a:lnTo>
                <a:lnTo>
                  <a:pt x="298" y="350"/>
                </a:lnTo>
                <a:lnTo>
                  <a:pt x="282" y="336"/>
                </a:lnTo>
                <a:lnTo>
                  <a:pt x="274" y="330"/>
                </a:lnTo>
                <a:lnTo>
                  <a:pt x="265" y="325"/>
                </a:lnTo>
                <a:lnTo>
                  <a:pt x="256" y="320"/>
                </a:lnTo>
                <a:lnTo>
                  <a:pt x="246" y="316"/>
                </a:lnTo>
                <a:lnTo>
                  <a:pt x="235" y="313"/>
                </a:lnTo>
                <a:lnTo>
                  <a:pt x="224" y="311"/>
                </a:lnTo>
                <a:lnTo>
                  <a:pt x="212" y="309"/>
                </a:lnTo>
                <a:lnTo>
                  <a:pt x="200" y="309"/>
                </a:lnTo>
                <a:lnTo>
                  <a:pt x="189" y="309"/>
                </a:lnTo>
                <a:lnTo>
                  <a:pt x="180" y="310"/>
                </a:lnTo>
                <a:lnTo>
                  <a:pt x="171" y="311"/>
                </a:lnTo>
                <a:lnTo>
                  <a:pt x="165" y="313"/>
                </a:lnTo>
                <a:lnTo>
                  <a:pt x="153" y="317"/>
                </a:lnTo>
                <a:lnTo>
                  <a:pt x="144" y="322"/>
                </a:lnTo>
                <a:lnTo>
                  <a:pt x="130" y="334"/>
                </a:lnTo>
                <a:lnTo>
                  <a:pt x="113" y="345"/>
                </a:lnTo>
                <a:lnTo>
                  <a:pt x="126" y="352"/>
                </a:lnTo>
                <a:lnTo>
                  <a:pt x="134" y="358"/>
                </a:lnTo>
                <a:lnTo>
                  <a:pt x="136" y="361"/>
                </a:lnTo>
                <a:lnTo>
                  <a:pt x="138" y="363"/>
                </a:lnTo>
                <a:lnTo>
                  <a:pt x="140" y="366"/>
                </a:lnTo>
                <a:lnTo>
                  <a:pt x="140" y="370"/>
                </a:lnTo>
                <a:lnTo>
                  <a:pt x="136" y="380"/>
                </a:lnTo>
                <a:lnTo>
                  <a:pt x="130" y="394"/>
                </a:lnTo>
                <a:lnTo>
                  <a:pt x="124" y="401"/>
                </a:lnTo>
                <a:lnTo>
                  <a:pt x="120" y="407"/>
                </a:lnTo>
                <a:lnTo>
                  <a:pt x="117" y="412"/>
                </a:lnTo>
                <a:lnTo>
                  <a:pt x="113" y="414"/>
                </a:lnTo>
                <a:lnTo>
                  <a:pt x="93" y="395"/>
                </a:lnTo>
                <a:lnTo>
                  <a:pt x="70" y="399"/>
                </a:lnTo>
                <a:lnTo>
                  <a:pt x="47" y="403"/>
                </a:lnTo>
                <a:lnTo>
                  <a:pt x="28" y="406"/>
                </a:lnTo>
                <a:lnTo>
                  <a:pt x="20" y="407"/>
                </a:lnTo>
                <a:lnTo>
                  <a:pt x="20" y="259"/>
                </a:lnTo>
                <a:lnTo>
                  <a:pt x="0" y="234"/>
                </a:lnTo>
                <a:lnTo>
                  <a:pt x="20" y="222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28" name="Freeform 280"/>
          <p:cNvSpPr>
            <a:spLocks/>
          </p:cNvSpPr>
          <p:nvPr>
            <p:custDataLst>
              <p:tags r:id="rId207"/>
            </p:custDataLst>
          </p:nvPr>
        </p:nvSpPr>
        <p:spPr bwMode="auto">
          <a:xfrm>
            <a:off x="9244013" y="3716339"/>
            <a:ext cx="106362" cy="128587"/>
          </a:xfrm>
          <a:custGeom>
            <a:avLst/>
            <a:gdLst>
              <a:gd name="T0" fmla="*/ 136 w 253"/>
              <a:gd name="T1" fmla="*/ 1 h 246"/>
              <a:gd name="T2" fmla="*/ 157 w 253"/>
              <a:gd name="T3" fmla="*/ 8 h 246"/>
              <a:gd name="T4" fmla="*/ 179 w 253"/>
              <a:gd name="T5" fmla="*/ 21 h 246"/>
              <a:gd name="T6" fmla="*/ 199 w 253"/>
              <a:gd name="T7" fmla="*/ 37 h 246"/>
              <a:gd name="T8" fmla="*/ 218 w 253"/>
              <a:gd name="T9" fmla="*/ 57 h 246"/>
              <a:gd name="T10" fmla="*/ 234 w 253"/>
              <a:gd name="T11" fmla="*/ 76 h 246"/>
              <a:gd name="T12" fmla="*/ 245 w 253"/>
              <a:gd name="T13" fmla="*/ 94 h 246"/>
              <a:gd name="T14" fmla="*/ 252 w 253"/>
              <a:gd name="T15" fmla="*/ 111 h 246"/>
              <a:gd name="T16" fmla="*/ 252 w 253"/>
              <a:gd name="T17" fmla="*/ 128 h 246"/>
              <a:gd name="T18" fmla="*/ 243 w 253"/>
              <a:gd name="T19" fmla="*/ 151 h 246"/>
              <a:gd name="T20" fmla="*/ 229 w 253"/>
              <a:gd name="T21" fmla="*/ 174 h 246"/>
              <a:gd name="T22" fmla="*/ 209 w 253"/>
              <a:gd name="T23" fmla="*/ 195 h 246"/>
              <a:gd name="T24" fmla="*/ 184 w 253"/>
              <a:gd name="T25" fmla="*/ 214 h 246"/>
              <a:gd name="T26" fmla="*/ 157 w 253"/>
              <a:gd name="T27" fmla="*/ 229 h 246"/>
              <a:gd name="T28" fmla="*/ 129 w 253"/>
              <a:gd name="T29" fmla="*/ 240 h 246"/>
              <a:gd name="T30" fmla="*/ 100 w 253"/>
              <a:gd name="T31" fmla="*/ 245 h 246"/>
              <a:gd name="T32" fmla="*/ 74 w 253"/>
              <a:gd name="T33" fmla="*/ 245 h 246"/>
              <a:gd name="T34" fmla="*/ 53 w 253"/>
              <a:gd name="T35" fmla="*/ 240 h 246"/>
              <a:gd name="T36" fmla="*/ 33 w 253"/>
              <a:gd name="T37" fmla="*/ 234 h 246"/>
              <a:gd name="T38" fmla="*/ 11 w 253"/>
              <a:gd name="T39" fmla="*/ 229 h 246"/>
              <a:gd name="T40" fmla="*/ 3 w 253"/>
              <a:gd name="T41" fmla="*/ 219 h 246"/>
              <a:gd name="T42" fmla="*/ 10 w 253"/>
              <a:gd name="T43" fmla="*/ 205 h 246"/>
              <a:gd name="T44" fmla="*/ 22 w 253"/>
              <a:gd name="T45" fmla="*/ 196 h 246"/>
              <a:gd name="T46" fmla="*/ 37 w 253"/>
              <a:gd name="T47" fmla="*/ 191 h 246"/>
              <a:gd name="T48" fmla="*/ 50 w 253"/>
              <a:gd name="T49" fmla="*/ 197 h 246"/>
              <a:gd name="T50" fmla="*/ 60 w 253"/>
              <a:gd name="T51" fmla="*/ 207 h 246"/>
              <a:gd name="T52" fmla="*/ 68 w 253"/>
              <a:gd name="T53" fmla="*/ 201 h 246"/>
              <a:gd name="T54" fmla="*/ 75 w 253"/>
              <a:gd name="T55" fmla="*/ 190 h 246"/>
              <a:gd name="T56" fmla="*/ 84 w 253"/>
              <a:gd name="T57" fmla="*/ 180 h 246"/>
              <a:gd name="T58" fmla="*/ 91 w 253"/>
              <a:gd name="T59" fmla="*/ 181 h 246"/>
              <a:gd name="T60" fmla="*/ 98 w 253"/>
              <a:gd name="T61" fmla="*/ 179 h 246"/>
              <a:gd name="T62" fmla="*/ 106 w 253"/>
              <a:gd name="T63" fmla="*/ 178 h 246"/>
              <a:gd name="T64" fmla="*/ 120 w 253"/>
              <a:gd name="T65" fmla="*/ 174 h 246"/>
              <a:gd name="T66" fmla="*/ 149 w 253"/>
              <a:gd name="T67" fmla="*/ 164 h 246"/>
              <a:gd name="T68" fmla="*/ 179 w 253"/>
              <a:gd name="T69" fmla="*/ 147 h 246"/>
              <a:gd name="T70" fmla="*/ 197 w 253"/>
              <a:gd name="T71" fmla="*/ 135 h 246"/>
              <a:gd name="T72" fmla="*/ 210 w 253"/>
              <a:gd name="T73" fmla="*/ 123 h 246"/>
              <a:gd name="T74" fmla="*/ 218 w 253"/>
              <a:gd name="T75" fmla="*/ 111 h 246"/>
              <a:gd name="T76" fmla="*/ 219 w 253"/>
              <a:gd name="T77" fmla="*/ 98 h 246"/>
              <a:gd name="T78" fmla="*/ 214 w 253"/>
              <a:gd name="T79" fmla="*/ 88 h 246"/>
              <a:gd name="T80" fmla="*/ 210 w 253"/>
              <a:gd name="T81" fmla="*/ 80 h 246"/>
              <a:gd name="T82" fmla="*/ 207 w 253"/>
              <a:gd name="T83" fmla="*/ 72 h 246"/>
              <a:gd name="T84" fmla="*/ 201 w 253"/>
              <a:gd name="T85" fmla="*/ 67 h 246"/>
              <a:gd name="T86" fmla="*/ 191 w 253"/>
              <a:gd name="T87" fmla="*/ 65 h 246"/>
              <a:gd name="T88" fmla="*/ 184 w 253"/>
              <a:gd name="T89" fmla="*/ 61 h 246"/>
              <a:gd name="T90" fmla="*/ 180 w 253"/>
              <a:gd name="T91" fmla="*/ 54 h 246"/>
              <a:gd name="T92" fmla="*/ 140 w 253"/>
              <a:gd name="T93" fmla="*/ 49 h 246"/>
              <a:gd name="T94" fmla="*/ 136 w 253"/>
              <a:gd name="T95" fmla="*/ 44 h 246"/>
              <a:gd name="T96" fmla="*/ 136 w 253"/>
              <a:gd name="T97" fmla="*/ 36 h 246"/>
              <a:gd name="T98" fmla="*/ 140 w 253"/>
              <a:gd name="T99" fmla="*/ 18 h 246"/>
              <a:gd name="T100" fmla="*/ 110 w 253"/>
              <a:gd name="T101" fmla="*/ 11 h 246"/>
              <a:gd name="T102" fmla="*/ 97 w 253"/>
              <a:gd name="T103" fmla="*/ 12 h 246"/>
              <a:gd name="T104" fmla="*/ 86 w 253"/>
              <a:gd name="T105" fmla="*/ 18 h 246"/>
              <a:gd name="T106" fmla="*/ 104 w 253"/>
              <a:gd name="T107" fmla="*/ 5 h 246"/>
              <a:gd name="T108" fmla="*/ 113 w 253"/>
              <a:gd name="T109" fmla="*/ 1 h 246"/>
              <a:gd name="T110" fmla="*/ 127 w 253"/>
              <a:gd name="T111" fmla="*/ 0 h 2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53" h="246">
                <a:moveTo>
                  <a:pt x="127" y="0"/>
                </a:moveTo>
                <a:lnTo>
                  <a:pt x="136" y="1"/>
                </a:lnTo>
                <a:lnTo>
                  <a:pt x="146" y="4"/>
                </a:lnTo>
                <a:lnTo>
                  <a:pt x="157" y="8"/>
                </a:lnTo>
                <a:lnTo>
                  <a:pt x="168" y="14"/>
                </a:lnTo>
                <a:lnTo>
                  <a:pt x="179" y="21"/>
                </a:lnTo>
                <a:lnTo>
                  <a:pt x="189" y="28"/>
                </a:lnTo>
                <a:lnTo>
                  <a:pt x="199" y="37"/>
                </a:lnTo>
                <a:lnTo>
                  <a:pt x="209" y="47"/>
                </a:lnTo>
                <a:lnTo>
                  <a:pt x="218" y="57"/>
                </a:lnTo>
                <a:lnTo>
                  <a:pt x="227" y="66"/>
                </a:lnTo>
                <a:lnTo>
                  <a:pt x="234" y="76"/>
                </a:lnTo>
                <a:lnTo>
                  <a:pt x="240" y="85"/>
                </a:lnTo>
                <a:lnTo>
                  <a:pt x="245" y="94"/>
                </a:lnTo>
                <a:lnTo>
                  <a:pt x="250" y="103"/>
                </a:lnTo>
                <a:lnTo>
                  <a:pt x="252" y="111"/>
                </a:lnTo>
                <a:lnTo>
                  <a:pt x="253" y="117"/>
                </a:lnTo>
                <a:lnTo>
                  <a:pt x="252" y="128"/>
                </a:lnTo>
                <a:lnTo>
                  <a:pt x="248" y="140"/>
                </a:lnTo>
                <a:lnTo>
                  <a:pt x="243" y="151"/>
                </a:lnTo>
                <a:lnTo>
                  <a:pt x="236" y="163"/>
                </a:lnTo>
                <a:lnTo>
                  <a:pt x="229" y="174"/>
                </a:lnTo>
                <a:lnTo>
                  <a:pt x="219" y="185"/>
                </a:lnTo>
                <a:lnTo>
                  <a:pt x="209" y="195"/>
                </a:lnTo>
                <a:lnTo>
                  <a:pt x="197" y="204"/>
                </a:lnTo>
                <a:lnTo>
                  <a:pt x="184" y="214"/>
                </a:lnTo>
                <a:lnTo>
                  <a:pt x="171" y="222"/>
                </a:lnTo>
                <a:lnTo>
                  <a:pt x="157" y="229"/>
                </a:lnTo>
                <a:lnTo>
                  <a:pt x="143" y="235"/>
                </a:lnTo>
                <a:lnTo>
                  <a:pt x="129" y="240"/>
                </a:lnTo>
                <a:lnTo>
                  <a:pt x="115" y="243"/>
                </a:lnTo>
                <a:lnTo>
                  <a:pt x="100" y="245"/>
                </a:lnTo>
                <a:lnTo>
                  <a:pt x="86" y="246"/>
                </a:lnTo>
                <a:lnTo>
                  <a:pt x="74" y="245"/>
                </a:lnTo>
                <a:lnTo>
                  <a:pt x="64" y="243"/>
                </a:lnTo>
                <a:lnTo>
                  <a:pt x="53" y="240"/>
                </a:lnTo>
                <a:lnTo>
                  <a:pt x="43" y="237"/>
                </a:lnTo>
                <a:lnTo>
                  <a:pt x="33" y="234"/>
                </a:lnTo>
                <a:lnTo>
                  <a:pt x="22" y="231"/>
                </a:lnTo>
                <a:lnTo>
                  <a:pt x="11" y="229"/>
                </a:lnTo>
                <a:lnTo>
                  <a:pt x="0" y="228"/>
                </a:lnTo>
                <a:lnTo>
                  <a:pt x="3" y="219"/>
                </a:lnTo>
                <a:lnTo>
                  <a:pt x="6" y="212"/>
                </a:lnTo>
                <a:lnTo>
                  <a:pt x="10" y="205"/>
                </a:lnTo>
                <a:lnTo>
                  <a:pt x="16" y="200"/>
                </a:lnTo>
                <a:lnTo>
                  <a:pt x="22" y="196"/>
                </a:lnTo>
                <a:lnTo>
                  <a:pt x="29" y="193"/>
                </a:lnTo>
                <a:lnTo>
                  <a:pt x="37" y="191"/>
                </a:lnTo>
                <a:lnTo>
                  <a:pt x="46" y="191"/>
                </a:lnTo>
                <a:lnTo>
                  <a:pt x="50" y="197"/>
                </a:lnTo>
                <a:lnTo>
                  <a:pt x="53" y="209"/>
                </a:lnTo>
                <a:lnTo>
                  <a:pt x="60" y="207"/>
                </a:lnTo>
                <a:lnTo>
                  <a:pt x="65" y="204"/>
                </a:lnTo>
                <a:lnTo>
                  <a:pt x="68" y="201"/>
                </a:lnTo>
                <a:lnTo>
                  <a:pt x="72" y="198"/>
                </a:lnTo>
                <a:lnTo>
                  <a:pt x="75" y="190"/>
                </a:lnTo>
                <a:lnTo>
                  <a:pt x="79" y="179"/>
                </a:lnTo>
                <a:lnTo>
                  <a:pt x="84" y="180"/>
                </a:lnTo>
                <a:lnTo>
                  <a:pt x="88" y="181"/>
                </a:lnTo>
                <a:lnTo>
                  <a:pt x="91" y="181"/>
                </a:lnTo>
                <a:lnTo>
                  <a:pt x="95" y="181"/>
                </a:lnTo>
                <a:lnTo>
                  <a:pt x="98" y="179"/>
                </a:lnTo>
                <a:lnTo>
                  <a:pt x="99" y="179"/>
                </a:lnTo>
                <a:lnTo>
                  <a:pt x="106" y="178"/>
                </a:lnTo>
                <a:lnTo>
                  <a:pt x="112" y="177"/>
                </a:lnTo>
                <a:lnTo>
                  <a:pt x="120" y="174"/>
                </a:lnTo>
                <a:lnTo>
                  <a:pt x="130" y="171"/>
                </a:lnTo>
                <a:lnTo>
                  <a:pt x="149" y="164"/>
                </a:lnTo>
                <a:lnTo>
                  <a:pt x="169" y="153"/>
                </a:lnTo>
                <a:lnTo>
                  <a:pt x="179" y="147"/>
                </a:lnTo>
                <a:lnTo>
                  <a:pt x="188" y="141"/>
                </a:lnTo>
                <a:lnTo>
                  <a:pt x="197" y="135"/>
                </a:lnTo>
                <a:lnTo>
                  <a:pt x="205" y="129"/>
                </a:lnTo>
                <a:lnTo>
                  <a:pt x="210" y="123"/>
                </a:lnTo>
                <a:lnTo>
                  <a:pt x="216" y="117"/>
                </a:lnTo>
                <a:lnTo>
                  <a:pt x="218" y="111"/>
                </a:lnTo>
                <a:lnTo>
                  <a:pt x="219" y="105"/>
                </a:lnTo>
                <a:lnTo>
                  <a:pt x="219" y="98"/>
                </a:lnTo>
                <a:lnTo>
                  <a:pt x="217" y="92"/>
                </a:lnTo>
                <a:lnTo>
                  <a:pt x="214" y="88"/>
                </a:lnTo>
                <a:lnTo>
                  <a:pt x="212" y="84"/>
                </a:lnTo>
                <a:lnTo>
                  <a:pt x="210" y="80"/>
                </a:lnTo>
                <a:lnTo>
                  <a:pt x="208" y="76"/>
                </a:lnTo>
                <a:lnTo>
                  <a:pt x="207" y="72"/>
                </a:lnTo>
                <a:lnTo>
                  <a:pt x="206" y="68"/>
                </a:lnTo>
                <a:lnTo>
                  <a:pt x="201" y="67"/>
                </a:lnTo>
                <a:lnTo>
                  <a:pt x="196" y="67"/>
                </a:lnTo>
                <a:lnTo>
                  <a:pt x="191" y="65"/>
                </a:lnTo>
                <a:lnTo>
                  <a:pt x="188" y="63"/>
                </a:lnTo>
                <a:lnTo>
                  <a:pt x="184" y="61"/>
                </a:lnTo>
                <a:lnTo>
                  <a:pt x="182" y="57"/>
                </a:lnTo>
                <a:lnTo>
                  <a:pt x="180" y="54"/>
                </a:lnTo>
                <a:lnTo>
                  <a:pt x="179" y="49"/>
                </a:lnTo>
                <a:lnTo>
                  <a:pt x="140" y="49"/>
                </a:lnTo>
                <a:lnTo>
                  <a:pt x="138" y="47"/>
                </a:lnTo>
                <a:lnTo>
                  <a:pt x="136" y="44"/>
                </a:lnTo>
                <a:lnTo>
                  <a:pt x="136" y="39"/>
                </a:lnTo>
                <a:lnTo>
                  <a:pt x="136" y="36"/>
                </a:lnTo>
                <a:lnTo>
                  <a:pt x="139" y="27"/>
                </a:lnTo>
                <a:lnTo>
                  <a:pt x="140" y="18"/>
                </a:lnTo>
                <a:lnTo>
                  <a:pt x="124" y="14"/>
                </a:lnTo>
                <a:lnTo>
                  <a:pt x="110" y="11"/>
                </a:lnTo>
                <a:lnTo>
                  <a:pt x="104" y="11"/>
                </a:lnTo>
                <a:lnTo>
                  <a:pt x="97" y="12"/>
                </a:lnTo>
                <a:lnTo>
                  <a:pt x="91" y="15"/>
                </a:lnTo>
                <a:lnTo>
                  <a:pt x="86" y="18"/>
                </a:lnTo>
                <a:lnTo>
                  <a:pt x="96" y="10"/>
                </a:lnTo>
                <a:lnTo>
                  <a:pt x="104" y="5"/>
                </a:lnTo>
                <a:lnTo>
                  <a:pt x="108" y="3"/>
                </a:lnTo>
                <a:lnTo>
                  <a:pt x="113" y="1"/>
                </a:lnTo>
                <a:lnTo>
                  <a:pt x="119" y="0"/>
                </a:lnTo>
                <a:lnTo>
                  <a:pt x="1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29" name="Freeform 281"/>
          <p:cNvSpPr>
            <a:spLocks/>
          </p:cNvSpPr>
          <p:nvPr>
            <p:custDataLst>
              <p:tags r:id="rId208"/>
            </p:custDataLst>
          </p:nvPr>
        </p:nvSpPr>
        <p:spPr bwMode="auto">
          <a:xfrm>
            <a:off x="7519988" y="3349626"/>
            <a:ext cx="63500" cy="119063"/>
          </a:xfrm>
          <a:custGeom>
            <a:avLst/>
            <a:gdLst>
              <a:gd name="T0" fmla="*/ 41 w 141"/>
              <a:gd name="T1" fmla="*/ 228 h 228"/>
              <a:gd name="T2" fmla="*/ 36 w 141"/>
              <a:gd name="T3" fmla="*/ 220 h 228"/>
              <a:gd name="T4" fmla="*/ 29 w 141"/>
              <a:gd name="T5" fmla="*/ 208 h 228"/>
              <a:gd name="T6" fmla="*/ 22 w 141"/>
              <a:gd name="T7" fmla="*/ 194 h 228"/>
              <a:gd name="T8" fmla="*/ 16 w 141"/>
              <a:gd name="T9" fmla="*/ 178 h 228"/>
              <a:gd name="T10" fmla="*/ 10 w 141"/>
              <a:gd name="T11" fmla="*/ 163 h 228"/>
              <a:gd name="T12" fmla="*/ 5 w 141"/>
              <a:gd name="T13" fmla="*/ 148 h 228"/>
              <a:gd name="T14" fmla="*/ 2 w 141"/>
              <a:gd name="T15" fmla="*/ 135 h 228"/>
              <a:gd name="T16" fmla="*/ 0 w 141"/>
              <a:gd name="T17" fmla="*/ 123 h 228"/>
              <a:gd name="T18" fmla="*/ 2 w 141"/>
              <a:gd name="T19" fmla="*/ 104 h 228"/>
              <a:gd name="T20" fmla="*/ 4 w 141"/>
              <a:gd name="T21" fmla="*/ 87 h 228"/>
              <a:gd name="T22" fmla="*/ 6 w 141"/>
              <a:gd name="T23" fmla="*/ 70 h 228"/>
              <a:gd name="T24" fmla="*/ 9 w 141"/>
              <a:gd name="T25" fmla="*/ 55 h 228"/>
              <a:gd name="T26" fmla="*/ 18 w 141"/>
              <a:gd name="T27" fmla="*/ 28 h 228"/>
              <a:gd name="T28" fmla="*/ 28 w 141"/>
              <a:gd name="T29" fmla="*/ 0 h 228"/>
              <a:gd name="T30" fmla="*/ 45 w 141"/>
              <a:gd name="T31" fmla="*/ 16 h 228"/>
              <a:gd name="T32" fmla="*/ 62 w 141"/>
              <a:gd name="T33" fmla="*/ 28 h 228"/>
              <a:gd name="T34" fmla="*/ 76 w 141"/>
              <a:gd name="T35" fmla="*/ 37 h 228"/>
              <a:gd name="T36" fmla="*/ 89 w 141"/>
              <a:gd name="T37" fmla="*/ 48 h 228"/>
              <a:gd name="T38" fmla="*/ 95 w 141"/>
              <a:gd name="T39" fmla="*/ 55 h 228"/>
              <a:gd name="T40" fmla="*/ 101 w 141"/>
              <a:gd name="T41" fmla="*/ 63 h 228"/>
              <a:gd name="T42" fmla="*/ 107 w 141"/>
              <a:gd name="T43" fmla="*/ 74 h 228"/>
              <a:gd name="T44" fmla="*/ 114 w 141"/>
              <a:gd name="T45" fmla="*/ 86 h 228"/>
              <a:gd name="T46" fmla="*/ 120 w 141"/>
              <a:gd name="T47" fmla="*/ 100 h 228"/>
              <a:gd name="T48" fmla="*/ 127 w 141"/>
              <a:gd name="T49" fmla="*/ 117 h 228"/>
              <a:gd name="T50" fmla="*/ 133 w 141"/>
              <a:gd name="T51" fmla="*/ 138 h 228"/>
              <a:gd name="T52" fmla="*/ 141 w 141"/>
              <a:gd name="T53" fmla="*/ 161 h 228"/>
              <a:gd name="T54" fmla="*/ 140 w 141"/>
              <a:gd name="T55" fmla="*/ 169 h 228"/>
              <a:gd name="T56" fmla="*/ 138 w 141"/>
              <a:gd name="T57" fmla="*/ 177 h 228"/>
              <a:gd name="T58" fmla="*/ 135 w 141"/>
              <a:gd name="T59" fmla="*/ 186 h 228"/>
              <a:gd name="T60" fmla="*/ 131 w 141"/>
              <a:gd name="T61" fmla="*/ 192 h 228"/>
              <a:gd name="T62" fmla="*/ 127 w 141"/>
              <a:gd name="T63" fmla="*/ 199 h 228"/>
              <a:gd name="T64" fmla="*/ 121 w 141"/>
              <a:gd name="T65" fmla="*/ 204 h 228"/>
              <a:gd name="T66" fmla="*/ 115 w 141"/>
              <a:gd name="T67" fmla="*/ 209 h 228"/>
              <a:gd name="T68" fmla="*/ 108 w 141"/>
              <a:gd name="T69" fmla="*/ 213 h 228"/>
              <a:gd name="T70" fmla="*/ 100 w 141"/>
              <a:gd name="T71" fmla="*/ 217 h 228"/>
              <a:gd name="T72" fmla="*/ 93 w 141"/>
              <a:gd name="T73" fmla="*/ 220 h 228"/>
              <a:gd name="T74" fmla="*/ 85 w 141"/>
              <a:gd name="T75" fmla="*/ 223 h 228"/>
              <a:gd name="T76" fmla="*/ 76 w 141"/>
              <a:gd name="T77" fmla="*/ 225 h 228"/>
              <a:gd name="T78" fmla="*/ 59 w 141"/>
              <a:gd name="T79" fmla="*/ 227 h 228"/>
              <a:gd name="T80" fmla="*/ 41 w 141"/>
              <a:gd name="T81" fmla="*/ 228 h 2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41" h="228">
                <a:moveTo>
                  <a:pt x="41" y="228"/>
                </a:moveTo>
                <a:lnTo>
                  <a:pt x="36" y="220"/>
                </a:lnTo>
                <a:lnTo>
                  <a:pt x="29" y="208"/>
                </a:lnTo>
                <a:lnTo>
                  <a:pt x="22" y="194"/>
                </a:lnTo>
                <a:lnTo>
                  <a:pt x="16" y="178"/>
                </a:lnTo>
                <a:lnTo>
                  <a:pt x="10" y="163"/>
                </a:lnTo>
                <a:lnTo>
                  <a:pt x="5" y="148"/>
                </a:lnTo>
                <a:lnTo>
                  <a:pt x="2" y="135"/>
                </a:lnTo>
                <a:lnTo>
                  <a:pt x="0" y="123"/>
                </a:lnTo>
                <a:lnTo>
                  <a:pt x="2" y="104"/>
                </a:lnTo>
                <a:lnTo>
                  <a:pt x="4" y="87"/>
                </a:lnTo>
                <a:lnTo>
                  <a:pt x="6" y="70"/>
                </a:lnTo>
                <a:lnTo>
                  <a:pt x="9" y="55"/>
                </a:lnTo>
                <a:lnTo>
                  <a:pt x="18" y="28"/>
                </a:lnTo>
                <a:lnTo>
                  <a:pt x="28" y="0"/>
                </a:lnTo>
                <a:lnTo>
                  <a:pt x="45" y="16"/>
                </a:lnTo>
                <a:lnTo>
                  <a:pt x="62" y="28"/>
                </a:lnTo>
                <a:lnTo>
                  <a:pt x="76" y="37"/>
                </a:lnTo>
                <a:lnTo>
                  <a:pt x="89" y="48"/>
                </a:lnTo>
                <a:lnTo>
                  <a:pt x="95" y="55"/>
                </a:lnTo>
                <a:lnTo>
                  <a:pt x="101" y="63"/>
                </a:lnTo>
                <a:lnTo>
                  <a:pt x="107" y="74"/>
                </a:lnTo>
                <a:lnTo>
                  <a:pt x="114" y="86"/>
                </a:lnTo>
                <a:lnTo>
                  <a:pt x="120" y="100"/>
                </a:lnTo>
                <a:lnTo>
                  <a:pt x="127" y="117"/>
                </a:lnTo>
                <a:lnTo>
                  <a:pt x="133" y="138"/>
                </a:lnTo>
                <a:lnTo>
                  <a:pt x="141" y="161"/>
                </a:lnTo>
                <a:lnTo>
                  <a:pt x="140" y="169"/>
                </a:lnTo>
                <a:lnTo>
                  <a:pt x="138" y="177"/>
                </a:lnTo>
                <a:lnTo>
                  <a:pt x="135" y="186"/>
                </a:lnTo>
                <a:lnTo>
                  <a:pt x="131" y="192"/>
                </a:lnTo>
                <a:lnTo>
                  <a:pt x="127" y="199"/>
                </a:lnTo>
                <a:lnTo>
                  <a:pt x="121" y="204"/>
                </a:lnTo>
                <a:lnTo>
                  <a:pt x="115" y="209"/>
                </a:lnTo>
                <a:lnTo>
                  <a:pt x="108" y="213"/>
                </a:lnTo>
                <a:lnTo>
                  <a:pt x="100" y="217"/>
                </a:lnTo>
                <a:lnTo>
                  <a:pt x="93" y="220"/>
                </a:lnTo>
                <a:lnTo>
                  <a:pt x="85" y="223"/>
                </a:lnTo>
                <a:lnTo>
                  <a:pt x="76" y="225"/>
                </a:lnTo>
                <a:lnTo>
                  <a:pt x="59" y="227"/>
                </a:lnTo>
                <a:lnTo>
                  <a:pt x="41" y="22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grpSp>
        <p:nvGrpSpPr>
          <p:cNvPr id="2330" name="Group 282"/>
          <p:cNvGrpSpPr>
            <a:grpSpLocks/>
          </p:cNvGrpSpPr>
          <p:nvPr>
            <p:custDataLst>
              <p:tags r:id="rId209"/>
            </p:custDataLst>
          </p:nvPr>
        </p:nvGrpSpPr>
        <p:grpSpPr bwMode="auto">
          <a:xfrm>
            <a:off x="8459788" y="3060700"/>
            <a:ext cx="233362" cy="439738"/>
            <a:chOff x="5062" y="2295"/>
            <a:chExt cx="177" cy="279"/>
          </a:xfrm>
        </p:grpSpPr>
        <p:sp>
          <p:nvSpPr>
            <p:cNvPr id="2331" name="Freeform 283"/>
            <p:cNvSpPr>
              <a:spLocks/>
            </p:cNvSpPr>
            <p:nvPr/>
          </p:nvSpPr>
          <p:spPr bwMode="auto">
            <a:xfrm>
              <a:off x="5154" y="2449"/>
              <a:ext cx="19" cy="37"/>
            </a:xfrm>
            <a:custGeom>
              <a:avLst/>
              <a:gdLst>
                <a:gd name="T0" fmla="*/ 39 w 60"/>
                <a:gd name="T1" fmla="*/ 110 h 110"/>
                <a:gd name="T2" fmla="*/ 42 w 60"/>
                <a:gd name="T3" fmla="*/ 109 h 110"/>
                <a:gd name="T4" fmla="*/ 46 w 60"/>
                <a:gd name="T5" fmla="*/ 106 h 110"/>
                <a:gd name="T6" fmla="*/ 49 w 60"/>
                <a:gd name="T7" fmla="*/ 101 h 110"/>
                <a:gd name="T8" fmla="*/ 52 w 60"/>
                <a:gd name="T9" fmla="*/ 96 h 110"/>
                <a:gd name="T10" fmla="*/ 54 w 60"/>
                <a:gd name="T11" fmla="*/ 90 h 110"/>
                <a:gd name="T12" fmla="*/ 57 w 60"/>
                <a:gd name="T13" fmla="*/ 84 h 110"/>
                <a:gd name="T14" fmla="*/ 59 w 60"/>
                <a:gd name="T15" fmla="*/ 78 h 110"/>
                <a:gd name="T16" fmla="*/ 60 w 60"/>
                <a:gd name="T17" fmla="*/ 73 h 110"/>
                <a:gd name="T18" fmla="*/ 59 w 60"/>
                <a:gd name="T19" fmla="*/ 60 h 110"/>
                <a:gd name="T20" fmla="*/ 58 w 60"/>
                <a:gd name="T21" fmla="*/ 48 h 110"/>
                <a:gd name="T22" fmla="*/ 57 w 60"/>
                <a:gd name="T23" fmla="*/ 38 h 110"/>
                <a:gd name="T24" fmla="*/ 54 w 60"/>
                <a:gd name="T25" fmla="*/ 29 h 110"/>
                <a:gd name="T26" fmla="*/ 51 w 60"/>
                <a:gd name="T27" fmla="*/ 21 h 110"/>
                <a:gd name="T28" fmla="*/ 48 w 60"/>
                <a:gd name="T29" fmla="*/ 13 h 110"/>
                <a:gd name="T30" fmla="*/ 45 w 60"/>
                <a:gd name="T31" fmla="*/ 6 h 110"/>
                <a:gd name="T32" fmla="*/ 39 w 60"/>
                <a:gd name="T33" fmla="*/ 0 h 110"/>
                <a:gd name="T34" fmla="*/ 35 w 60"/>
                <a:gd name="T35" fmla="*/ 3 h 110"/>
                <a:gd name="T36" fmla="*/ 30 w 60"/>
                <a:gd name="T37" fmla="*/ 8 h 110"/>
                <a:gd name="T38" fmla="*/ 27 w 60"/>
                <a:gd name="T39" fmla="*/ 13 h 110"/>
                <a:gd name="T40" fmla="*/ 24 w 60"/>
                <a:gd name="T41" fmla="*/ 18 h 110"/>
                <a:gd name="T42" fmla="*/ 18 w 60"/>
                <a:gd name="T43" fmla="*/ 29 h 110"/>
                <a:gd name="T44" fmla="*/ 15 w 60"/>
                <a:gd name="T45" fmla="*/ 40 h 110"/>
                <a:gd name="T46" fmla="*/ 10 w 60"/>
                <a:gd name="T47" fmla="*/ 51 h 110"/>
                <a:gd name="T48" fmla="*/ 7 w 60"/>
                <a:gd name="T49" fmla="*/ 62 h 110"/>
                <a:gd name="T50" fmla="*/ 6 w 60"/>
                <a:gd name="T51" fmla="*/ 66 h 110"/>
                <a:gd name="T52" fmla="*/ 4 w 60"/>
                <a:gd name="T53" fmla="*/ 69 h 110"/>
                <a:gd name="T54" fmla="*/ 2 w 60"/>
                <a:gd name="T55" fmla="*/ 72 h 110"/>
                <a:gd name="T56" fmla="*/ 0 w 60"/>
                <a:gd name="T57" fmla="*/ 73 h 110"/>
                <a:gd name="T58" fmla="*/ 1 w 60"/>
                <a:gd name="T59" fmla="*/ 78 h 110"/>
                <a:gd name="T60" fmla="*/ 3 w 60"/>
                <a:gd name="T61" fmla="*/ 84 h 110"/>
                <a:gd name="T62" fmla="*/ 7 w 60"/>
                <a:gd name="T63" fmla="*/ 90 h 110"/>
                <a:gd name="T64" fmla="*/ 12 w 60"/>
                <a:gd name="T65" fmla="*/ 96 h 110"/>
                <a:gd name="T66" fmla="*/ 18 w 60"/>
                <a:gd name="T67" fmla="*/ 101 h 110"/>
                <a:gd name="T68" fmla="*/ 25 w 60"/>
                <a:gd name="T69" fmla="*/ 106 h 110"/>
                <a:gd name="T70" fmla="*/ 32 w 60"/>
                <a:gd name="T71" fmla="*/ 109 h 110"/>
                <a:gd name="T72" fmla="*/ 39 w 60"/>
                <a:gd name="T73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0" h="110">
                  <a:moveTo>
                    <a:pt x="39" y="110"/>
                  </a:moveTo>
                  <a:lnTo>
                    <a:pt x="42" y="109"/>
                  </a:lnTo>
                  <a:lnTo>
                    <a:pt x="46" y="106"/>
                  </a:lnTo>
                  <a:lnTo>
                    <a:pt x="49" y="101"/>
                  </a:lnTo>
                  <a:lnTo>
                    <a:pt x="52" y="96"/>
                  </a:lnTo>
                  <a:lnTo>
                    <a:pt x="54" y="90"/>
                  </a:lnTo>
                  <a:lnTo>
                    <a:pt x="57" y="84"/>
                  </a:lnTo>
                  <a:lnTo>
                    <a:pt x="59" y="78"/>
                  </a:lnTo>
                  <a:lnTo>
                    <a:pt x="60" y="73"/>
                  </a:lnTo>
                  <a:lnTo>
                    <a:pt x="59" y="60"/>
                  </a:lnTo>
                  <a:lnTo>
                    <a:pt x="58" y="48"/>
                  </a:lnTo>
                  <a:lnTo>
                    <a:pt x="57" y="38"/>
                  </a:lnTo>
                  <a:lnTo>
                    <a:pt x="54" y="29"/>
                  </a:lnTo>
                  <a:lnTo>
                    <a:pt x="51" y="21"/>
                  </a:lnTo>
                  <a:lnTo>
                    <a:pt x="48" y="13"/>
                  </a:lnTo>
                  <a:lnTo>
                    <a:pt x="45" y="6"/>
                  </a:lnTo>
                  <a:lnTo>
                    <a:pt x="39" y="0"/>
                  </a:lnTo>
                  <a:lnTo>
                    <a:pt x="35" y="3"/>
                  </a:lnTo>
                  <a:lnTo>
                    <a:pt x="30" y="8"/>
                  </a:lnTo>
                  <a:lnTo>
                    <a:pt x="27" y="13"/>
                  </a:lnTo>
                  <a:lnTo>
                    <a:pt x="24" y="18"/>
                  </a:lnTo>
                  <a:lnTo>
                    <a:pt x="18" y="29"/>
                  </a:lnTo>
                  <a:lnTo>
                    <a:pt x="15" y="40"/>
                  </a:lnTo>
                  <a:lnTo>
                    <a:pt x="10" y="51"/>
                  </a:lnTo>
                  <a:lnTo>
                    <a:pt x="7" y="62"/>
                  </a:lnTo>
                  <a:lnTo>
                    <a:pt x="6" y="66"/>
                  </a:lnTo>
                  <a:lnTo>
                    <a:pt x="4" y="69"/>
                  </a:lnTo>
                  <a:lnTo>
                    <a:pt x="2" y="72"/>
                  </a:lnTo>
                  <a:lnTo>
                    <a:pt x="0" y="73"/>
                  </a:lnTo>
                  <a:lnTo>
                    <a:pt x="1" y="78"/>
                  </a:lnTo>
                  <a:lnTo>
                    <a:pt x="3" y="84"/>
                  </a:lnTo>
                  <a:lnTo>
                    <a:pt x="7" y="90"/>
                  </a:lnTo>
                  <a:lnTo>
                    <a:pt x="12" y="96"/>
                  </a:lnTo>
                  <a:lnTo>
                    <a:pt x="18" y="101"/>
                  </a:lnTo>
                  <a:lnTo>
                    <a:pt x="25" y="106"/>
                  </a:lnTo>
                  <a:lnTo>
                    <a:pt x="32" y="109"/>
                  </a:lnTo>
                  <a:lnTo>
                    <a:pt x="39" y="11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32" name="Freeform 284"/>
            <p:cNvSpPr>
              <a:spLocks/>
            </p:cNvSpPr>
            <p:nvPr/>
          </p:nvSpPr>
          <p:spPr bwMode="auto">
            <a:xfrm>
              <a:off x="5189" y="2422"/>
              <a:ext cx="24" cy="25"/>
            </a:xfrm>
            <a:custGeom>
              <a:avLst/>
              <a:gdLst>
                <a:gd name="T0" fmla="*/ 0 w 72"/>
                <a:gd name="T1" fmla="*/ 13 h 75"/>
                <a:gd name="T2" fmla="*/ 8 w 72"/>
                <a:gd name="T3" fmla="*/ 18 h 75"/>
                <a:gd name="T4" fmla="*/ 15 w 72"/>
                <a:gd name="T5" fmla="*/ 25 h 75"/>
                <a:gd name="T6" fmla="*/ 23 w 72"/>
                <a:gd name="T7" fmla="*/ 32 h 75"/>
                <a:gd name="T8" fmla="*/ 31 w 72"/>
                <a:gd name="T9" fmla="*/ 40 h 75"/>
                <a:gd name="T10" fmla="*/ 37 w 72"/>
                <a:gd name="T11" fmla="*/ 48 h 75"/>
                <a:gd name="T12" fmla="*/ 42 w 72"/>
                <a:gd name="T13" fmla="*/ 57 h 75"/>
                <a:gd name="T14" fmla="*/ 45 w 72"/>
                <a:gd name="T15" fmla="*/ 65 h 75"/>
                <a:gd name="T16" fmla="*/ 46 w 72"/>
                <a:gd name="T17" fmla="*/ 75 h 75"/>
                <a:gd name="T18" fmla="*/ 72 w 72"/>
                <a:gd name="T19" fmla="*/ 75 h 75"/>
                <a:gd name="T20" fmla="*/ 65 w 72"/>
                <a:gd name="T21" fmla="*/ 50 h 75"/>
                <a:gd name="T22" fmla="*/ 60 w 72"/>
                <a:gd name="T23" fmla="*/ 34 h 75"/>
                <a:gd name="T24" fmla="*/ 60 w 72"/>
                <a:gd name="T25" fmla="*/ 27 h 75"/>
                <a:gd name="T26" fmla="*/ 63 w 72"/>
                <a:gd name="T27" fmla="*/ 19 h 75"/>
                <a:gd name="T28" fmla="*/ 67 w 72"/>
                <a:gd name="T29" fmla="*/ 11 h 75"/>
                <a:gd name="T30" fmla="*/ 72 w 72"/>
                <a:gd name="T31" fmla="*/ 1 h 75"/>
                <a:gd name="T32" fmla="*/ 52 w 72"/>
                <a:gd name="T33" fmla="*/ 0 h 75"/>
                <a:gd name="T34" fmla="*/ 32 w 72"/>
                <a:gd name="T35" fmla="*/ 0 h 75"/>
                <a:gd name="T36" fmla="*/ 22 w 72"/>
                <a:gd name="T37" fmla="*/ 1 h 75"/>
                <a:gd name="T38" fmla="*/ 13 w 72"/>
                <a:gd name="T39" fmla="*/ 3 h 75"/>
                <a:gd name="T40" fmla="*/ 9 w 72"/>
                <a:gd name="T41" fmla="*/ 5 h 75"/>
                <a:gd name="T42" fmla="*/ 6 w 72"/>
                <a:gd name="T43" fmla="*/ 7 h 75"/>
                <a:gd name="T44" fmla="*/ 2 w 72"/>
                <a:gd name="T45" fmla="*/ 10 h 75"/>
                <a:gd name="T46" fmla="*/ 0 w 72"/>
                <a:gd name="T47" fmla="*/ 13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2" h="75">
                  <a:moveTo>
                    <a:pt x="0" y="13"/>
                  </a:moveTo>
                  <a:lnTo>
                    <a:pt x="8" y="18"/>
                  </a:lnTo>
                  <a:lnTo>
                    <a:pt x="15" y="25"/>
                  </a:lnTo>
                  <a:lnTo>
                    <a:pt x="23" y="32"/>
                  </a:lnTo>
                  <a:lnTo>
                    <a:pt x="31" y="40"/>
                  </a:lnTo>
                  <a:lnTo>
                    <a:pt x="37" y="48"/>
                  </a:lnTo>
                  <a:lnTo>
                    <a:pt x="42" y="57"/>
                  </a:lnTo>
                  <a:lnTo>
                    <a:pt x="45" y="65"/>
                  </a:lnTo>
                  <a:lnTo>
                    <a:pt x="46" y="75"/>
                  </a:lnTo>
                  <a:lnTo>
                    <a:pt x="72" y="75"/>
                  </a:lnTo>
                  <a:lnTo>
                    <a:pt x="65" y="50"/>
                  </a:lnTo>
                  <a:lnTo>
                    <a:pt x="60" y="34"/>
                  </a:lnTo>
                  <a:lnTo>
                    <a:pt x="60" y="27"/>
                  </a:lnTo>
                  <a:lnTo>
                    <a:pt x="63" y="19"/>
                  </a:lnTo>
                  <a:lnTo>
                    <a:pt x="67" y="11"/>
                  </a:lnTo>
                  <a:lnTo>
                    <a:pt x="72" y="1"/>
                  </a:lnTo>
                  <a:lnTo>
                    <a:pt x="52" y="0"/>
                  </a:lnTo>
                  <a:lnTo>
                    <a:pt x="32" y="0"/>
                  </a:lnTo>
                  <a:lnTo>
                    <a:pt x="22" y="1"/>
                  </a:lnTo>
                  <a:lnTo>
                    <a:pt x="13" y="3"/>
                  </a:lnTo>
                  <a:lnTo>
                    <a:pt x="9" y="5"/>
                  </a:lnTo>
                  <a:lnTo>
                    <a:pt x="6" y="7"/>
                  </a:lnTo>
                  <a:lnTo>
                    <a:pt x="2" y="10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33" name="Freeform 285"/>
            <p:cNvSpPr>
              <a:spLocks/>
            </p:cNvSpPr>
            <p:nvPr/>
          </p:nvSpPr>
          <p:spPr bwMode="auto">
            <a:xfrm>
              <a:off x="5160" y="2389"/>
              <a:ext cx="5" cy="16"/>
            </a:xfrm>
            <a:custGeom>
              <a:avLst/>
              <a:gdLst>
                <a:gd name="T0" fmla="*/ 15 w 15"/>
                <a:gd name="T1" fmla="*/ 49 h 49"/>
                <a:gd name="T2" fmla="*/ 15 w 15"/>
                <a:gd name="T3" fmla="*/ 33 h 49"/>
                <a:gd name="T4" fmla="*/ 15 w 15"/>
                <a:gd name="T5" fmla="*/ 19 h 49"/>
                <a:gd name="T6" fmla="*/ 14 w 15"/>
                <a:gd name="T7" fmla="*/ 13 h 49"/>
                <a:gd name="T8" fmla="*/ 13 w 15"/>
                <a:gd name="T9" fmla="*/ 7 h 49"/>
                <a:gd name="T10" fmla="*/ 11 w 15"/>
                <a:gd name="T11" fmla="*/ 3 h 49"/>
                <a:gd name="T12" fmla="*/ 9 w 15"/>
                <a:gd name="T13" fmla="*/ 0 h 49"/>
                <a:gd name="T14" fmla="*/ 4 w 15"/>
                <a:gd name="T15" fmla="*/ 7 h 49"/>
                <a:gd name="T16" fmla="*/ 2 w 15"/>
                <a:gd name="T17" fmla="*/ 15 h 49"/>
                <a:gd name="T18" fmla="*/ 0 w 15"/>
                <a:gd name="T19" fmla="*/ 23 h 49"/>
                <a:gd name="T20" fmla="*/ 0 w 15"/>
                <a:gd name="T21" fmla="*/ 30 h 49"/>
                <a:gd name="T22" fmla="*/ 1 w 15"/>
                <a:gd name="T23" fmla="*/ 36 h 49"/>
                <a:gd name="T24" fmla="*/ 4 w 15"/>
                <a:gd name="T25" fmla="*/ 42 h 49"/>
                <a:gd name="T26" fmla="*/ 7 w 15"/>
                <a:gd name="T27" fmla="*/ 44 h 49"/>
                <a:gd name="T28" fmla="*/ 9 w 15"/>
                <a:gd name="T29" fmla="*/ 46 h 49"/>
                <a:gd name="T30" fmla="*/ 12 w 15"/>
                <a:gd name="T31" fmla="*/ 48 h 49"/>
                <a:gd name="T32" fmla="*/ 15 w 15"/>
                <a:gd name="T3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" h="49">
                  <a:moveTo>
                    <a:pt x="15" y="49"/>
                  </a:moveTo>
                  <a:lnTo>
                    <a:pt x="15" y="33"/>
                  </a:lnTo>
                  <a:lnTo>
                    <a:pt x="15" y="19"/>
                  </a:lnTo>
                  <a:lnTo>
                    <a:pt x="14" y="13"/>
                  </a:lnTo>
                  <a:lnTo>
                    <a:pt x="13" y="7"/>
                  </a:lnTo>
                  <a:lnTo>
                    <a:pt x="11" y="3"/>
                  </a:lnTo>
                  <a:lnTo>
                    <a:pt x="9" y="0"/>
                  </a:lnTo>
                  <a:lnTo>
                    <a:pt x="4" y="7"/>
                  </a:lnTo>
                  <a:lnTo>
                    <a:pt x="2" y="15"/>
                  </a:lnTo>
                  <a:lnTo>
                    <a:pt x="0" y="23"/>
                  </a:lnTo>
                  <a:lnTo>
                    <a:pt x="0" y="30"/>
                  </a:lnTo>
                  <a:lnTo>
                    <a:pt x="1" y="36"/>
                  </a:lnTo>
                  <a:lnTo>
                    <a:pt x="4" y="42"/>
                  </a:lnTo>
                  <a:lnTo>
                    <a:pt x="7" y="44"/>
                  </a:lnTo>
                  <a:lnTo>
                    <a:pt x="9" y="46"/>
                  </a:lnTo>
                  <a:lnTo>
                    <a:pt x="12" y="48"/>
                  </a:lnTo>
                  <a:lnTo>
                    <a:pt x="15" y="4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34" name="Freeform 286"/>
            <p:cNvSpPr>
              <a:spLocks/>
            </p:cNvSpPr>
            <p:nvPr/>
          </p:nvSpPr>
          <p:spPr bwMode="auto">
            <a:xfrm>
              <a:off x="5139" y="2387"/>
              <a:ext cx="15" cy="13"/>
            </a:xfrm>
            <a:custGeom>
              <a:avLst/>
              <a:gdLst>
                <a:gd name="T0" fmla="*/ 20 w 47"/>
                <a:gd name="T1" fmla="*/ 6 h 40"/>
                <a:gd name="T2" fmla="*/ 0 w 47"/>
                <a:gd name="T3" fmla="*/ 37 h 40"/>
                <a:gd name="T4" fmla="*/ 6 w 47"/>
                <a:gd name="T5" fmla="*/ 39 h 40"/>
                <a:gd name="T6" fmla="*/ 12 w 47"/>
                <a:gd name="T7" fmla="*/ 40 h 40"/>
                <a:gd name="T8" fmla="*/ 19 w 47"/>
                <a:gd name="T9" fmla="*/ 39 h 40"/>
                <a:gd name="T10" fmla="*/ 26 w 47"/>
                <a:gd name="T11" fmla="*/ 38 h 40"/>
                <a:gd name="T12" fmla="*/ 32 w 47"/>
                <a:gd name="T13" fmla="*/ 36 h 40"/>
                <a:gd name="T14" fmla="*/ 39 w 47"/>
                <a:gd name="T15" fmla="*/ 33 h 40"/>
                <a:gd name="T16" fmla="*/ 43 w 47"/>
                <a:gd name="T17" fmla="*/ 30 h 40"/>
                <a:gd name="T18" fmla="*/ 47 w 47"/>
                <a:gd name="T19" fmla="*/ 25 h 40"/>
                <a:gd name="T20" fmla="*/ 47 w 47"/>
                <a:gd name="T21" fmla="*/ 0 h 40"/>
                <a:gd name="T22" fmla="*/ 41 w 47"/>
                <a:gd name="T23" fmla="*/ 0 h 40"/>
                <a:gd name="T24" fmla="*/ 33 w 47"/>
                <a:gd name="T25" fmla="*/ 1 h 40"/>
                <a:gd name="T26" fmla="*/ 26 w 47"/>
                <a:gd name="T27" fmla="*/ 3 h 40"/>
                <a:gd name="T28" fmla="*/ 20 w 47"/>
                <a:gd name="T29" fmla="*/ 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7" h="40">
                  <a:moveTo>
                    <a:pt x="20" y="6"/>
                  </a:moveTo>
                  <a:lnTo>
                    <a:pt x="0" y="37"/>
                  </a:lnTo>
                  <a:lnTo>
                    <a:pt x="6" y="39"/>
                  </a:lnTo>
                  <a:lnTo>
                    <a:pt x="12" y="40"/>
                  </a:lnTo>
                  <a:lnTo>
                    <a:pt x="19" y="39"/>
                  </a:lnTo>
                  <a:lnTo>
                    <a:pt x="26" y="38"/>
                  </a:lnTo>
                  <a:lnTo>
                    <a:pt x="32" y="36"/>
                  </a:lnTo>
                  <a:lnTo>
                    <a:pt x="39" y="33"/>
                  </a:lnTo>
                  <a:lnTo>
                    <a:pt x="43" y="30"/>
                  </a:lnTo>
                  <a:lnTo>
                    <a:pt x="47" y="25"/>
                  </a:lnTo>
                  <a:lnTo>
                    <a:pt x="47" y="0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6" y="3"/>
                  </a:lnTo>
                  <a:lnTo>
                    <a:pt x="2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35" name="Freeform 287"/>
            <p:cNvSpPr>
              <a:spLocks/>
            </p:cNvSpPr>
            <p:nvPr/>
          </p:nvSpPr>
          <p:spPr bwMode="auto">
            <a:xfrm>
              <a:off x="5184" y="2465"/>
              <a:ext cx="13" cy="10"/>
            </a:xfrm>
            <a:custGeom>
              <a:avLst/>
              <a:gdLst>
                <a:gd name="T0" fmla="*/ 0 w 39"/>
                <a:gd name="T1" fmla="*/ 0 h 31"/>
                <a:gd name="T2" fmla="*/ 3 w 39"/>
                <a:gd name="T3" fmla="*/ 8 h 31"/>
                <a:gd name="T4" fmla="*/ 6 w 39"/>
                <a:gd name="T5" fmla="*/ 13 h 31"/>
                <a:gd name="T6" fmla="*/ 12 w 39"/>
                <a:gd name="T7" fmla="*/ 19 h 31"/>
                <a:gd name="T8" fmla="*/ 17 w 39"/>
                <a:gd name="T9" fmla="*/ 23 h 31"/>
                <a:gd name="T10" fmla="*/ 23 w 39"/>
                <a:gd name="T11" fmla="*/ 26 h 31"/>
                <a:gd name="T12" fmla="*/ 28 w 39"/>
                <a:gd name="T13" fmla="*/ 29 h 31"/>
                <a:gd name="T14" fmla="*/ 34 w 39"/>
                <a:gd name="T15" fmla="*/ 31 h 31"/>
                <a:gd name="T16" fmla="*/ 39 w 39"/>
                <a:gd name="T17" fmla="*/ 31 h 31"/>
                <a:gd name="T18" fmla="*/ 33 w 39"/>
                <a:gd name="T19" fmla="*/ 22 h 31"/>
                <a:gd name="T20" fmla="*/ 25 w 39"/>
                <a:gd name="T21" fmla="*/ 14 h 31"/>
                <a:gd name="T22" fmla="*/ 16 w 39"/>
                <a:gd name="T23" fmla="*/ 7 h 31"/>
                <a:gd name="T24" fmla="*/ 6 w 39"/>
                <a:gd name="T2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31">
                  <a:moveTo>
                    <a:pt x="0" y="0"/>
                  </a:moveTo>
                  <a:lnTo>
                    <a:pt x="3" y="8"/>
                  </a:lnTo>
                  <a:lnTo>
                    <a:pt x="6" y="13"/>
                  </a:lnTo>
                  <a:lnTo>
                    <a:pt x="12" y="19"/>
                  </a:lnTo>
                  <a:lnTo>
                    <a:pt x="17" y="23"/>
                  </a:lnTo>
                  <a:lnTo>
                    <a:pt x="23" y="26"/>
                  </a:lnTo>
                  <a:lnTo>
                    <a:pt x="28" y="29"/>
                  </a:lnTo>
                  <a:lnTo>
                    <a:pt x="34" y="31"/>
                  </a:lnTo>
                  <a:lnTo>
                    <a:pt x="39" y="31"/>
                  </a:lnTo>
                  <a:lnTo>
                    <a:pt x="33" y="22"/>
                  </a:lnTo>
                  <a:lnTo>
                    <a:pt x="25" y="14"/>
                  </a:lnTo>
                  <a:lnTo>
                    <a:pt x="16" y="7"/>
                  </a:lnTo>
                  <a:lnTo>
                    <a:pt x="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36" name="Freeform 288"/>
            <p:cNvSpPr>
              <a:spLocks/>
            </p:cNvSpPr>
            <p:nvPr/>
          </p:nvSpPr>
          <p:spPr bwMode="auto">
            <a:xfrm>
              <a:off x="5172" y="2410"/>
              <a:ext cx="10" cy="6"/>
            </a:xfrm>
            <a:custGeom>
              <a:avLst/>
              <a:gdLst>
                <a:gd name="T0" fmla="*/ 0 w 34"/>
                <a:gd name="T1" fmla="*/ 0 h 19"/>
                <a:gd name="T2" fmla="*/ 34 w 34"/>
                <a:gd name="T3" fmla="*/ 19 h 19"/>
                <a:gd name="T4" fmla="*/ 34 w 34"/>
                <a:gd name="T5" fmla="*/ 0 h 19"/>
                <a:gd name="T6" fmla="*/ 24 w 34"/>
                <a:gd name="T7" fmla="*/ 0 h 19"/>
                <a:gd name="T8" fmla="*/ 14 w 34"/>
                <a:gd name="T9" fmla="*/ 0 h 19"/>
                <a:gd name="T10" fmla="*/ 7 w 34"/>
                <a:gd name="T11" fmla="*/ 0 h 19"/>
                <a:gd name="T12" fmla="*/ 0 w 34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9">
                  <a:moveTo>
                    <a:pt x="0" y="0"/>
                  </a:moveTo>
                  <a:lnTo>
                    <a:pt x="34" y="19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4" y="0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37" name="Freeform 289"/>
            <p:cNvSpPr>
              <a:spLocks/>
            </p:cNvSpPr>
            <p:nvPr/>
          </p:nvSpPr>
          <p:spPr bwMode="auto">
            <a:xfrm>
              <a:off x="5180" y="2471"/>
              <a:ext cx="6" cy="4"/>
            </a:xfrm>
            <a:custGeom>
              <a:avLst/>
              <a:gdLst>
                <a:gd name="T0" fmla="*/ 0 w 19"/>
                <a:gd name="T1" fmla="*/ 0 h 12"/>
                <a:gd name="T2" fmla="*/ 19 w 19"/>
                <a:gd name="T3" fmla="*/ 12 h 12"/>
                <a:gd name="T4" fmla="*/ 13 w 19"/>
                <a:gd name="T5" fmla="*/ 6 h 12"/>
                <a:gd name="T6" fmla="*/ 6 w 19"/>
                <a:gd name="T7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12">
                  <a:moveTo>
                    <a:pt x="0" y="0"/>
                  </a:moveTo>
                  <a:lnTo>
                    <a:pt x="19" y="12"/>
                  </a:lnTo>
                  <a:lnTo>
                    <a:pt x="13" y="6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38" name="Freeform 290"/>
            <p:cNvSpPr>
              <a:spLocks/>
            </p:cNvSpPr>
            <p:nvPr/>
          </p:nvSpPr>
          <p:spPr bwMode="auto">
            <a:xfrm>
              <a:off x="5062" y="2447"/>
              <a:ext cx="42" cy="55"/>
            </a:xfrm>
            <a:custGeom>
              <a:avLst/>
              <a:gdLst>
                <a:gd name="T0" fmla="*/ 113 w 126"/>
                <a:gd name="T1" fmla="*/ 0 h 166"/>
                <a:gd name="T2" fmla="*/ 117 w 126"/>
                <a:gd name="T3" fmla="*/ 5 h 166"/>
                <a:gd name="T4" fmla="*/ 121 w 126"/>
                <a:gd name="T5" fmla="*/ 10 h 166"/>
                <a:gd name="T6" fmla="*/ 124 w 126"/>
                <a:gd name="T7" fmla="*/ 13 h 166"/>
                <a:gd name="T8" fmla="*/ 125 w 126"/>
                <a:gd name="T9" fmla="*/ 17 h 166"/>
                <a:gd name="T10" fmla="*/ 126 w 126"/>
                <a:gd name="T11" fmla="*/ 20 h 166"/>
                <a:gd name="T12" fmla="*/ 126 w 126"/>
                <a:gd name="T13" fmla="*/ 25 h 166"/>
                <a:gd name="T14" fmla="*/ 123 w 126"/>
                <a:gd name="T15" fmla="*/ 32 h 166"/>
                <a:gd name="T16" fmla="*/ 118 w 126"/>
                <a:gd name="T17" fmla="*/ 41 h 166"/>
                <a:gd name="T18" fmla="*/ 113 w 126"/>
                <a:gd name="T19" fmla="*/ 50 h 166"/>
                <a:gd name="T20" fmla="*/ 106 w 126"/>
                <a:gd name="T21" fmla="*/ 61 h 166"/>
                <a:gd name="T22" fmla="*/ 91 w 126"/>
                <a:gd name="T23" fmla="*/ 83 h 166"/>
                <a:gd name="T24" fmla="*/ 72 w 126"/>
                <a:gd name="T25" fmla="*/ 104 h 166"/>
                <a:gd name="T26" fmla="*/ 53 w 126"/>
                <a:gd name="T27" fmla="*/ 126 h 166"/>
                <a:gd name="T28" fmla="*/ 34 w 126"/>
                <a:gd name="T29" fmla="*/ 144 h 166"/>
                <a:gd name="T30" fmla="*/ 25 w 126"/>
                <a:gd name="T31" fmla="*/ 152 h 166"/>
                <a:gd name="T32" fmla="*/ 16 w 126"/>
                <a:gd name="T33" fmla="*/ 158 h 166"/>
                <a:gd name="T34" fmla="*/ 7 w 126"/>
                <a:gd name="T35" fmla="*/ 163 h 166"/>
                <a:gd name="T36" fmla="*/ 0 w 126"/>
                <a:gd name="T37" fmla="*/ 166 h 166"/>
                <a:gd name="T38" fmla="*/ 0 w 126"/>
                <a:gd name="T39" fmla="*/ 160 h 166"/>
                <a:gd name="T40" fmla="*/ 0 w 126"/>
                <a:gd name="T41" fmla="*/ 153 h 166"/>
                <a:gd name="T42" fmla="*/ 0 w 126"/>
                <a:gd name="T43" fmla="*/ 145 h 166"/>
                <a:gd name="T44" fmla="*/ 0 w 126"/>
                <a:gd name="T45" fmla="*/ 136 h 166"/>
                <a:gd name="T46" fmla="*/ 3 w 126"/>
                <a:gd name="T47" fmla="*/ 131 h 166"/>
                <a:gd name="T48" fmla="*/ 6 w 126"/>
                <a:gd name="T49" fmla="*/ 128 h 166"/>
                <a:gd name="T50" fmla="*/ 12 w 126"/>
                <a:gd name="T51" fmla="*/ 124 h 166"/>
                <a:gd name="T52" fmla="*/ 16 w 126"/>
                <a:gd name="T53" fmla="*/ 121 h 166"/>
                <a:gd name="T54" fmla="*/ 26 w 126"/>
                <a:gd name="T55" fmla="*/ 116 h 166"/>
                <a:gd name="T56" fmla="*/ 33 w 126"/>
                <a:gd name="T57" fmla="*/ 110 h 166"/>
                <a:gd name="T58" fmla="*/ 40 w 126"/>
                <a:gd name="T59" fmla="*/ 104 h 166"/>
                <a:gd name="T60" fmla="*/ 48 w 126"/>
                <a:gd name="T61" fmla="*/ 96 h 166"/>
                <a:gd name="T62" fmla="*/ 53 w 126"/>
                <a:gd name="T63" fmla="*/ 89 h 166"/>
                <a:gd name="T64" fmla="*/ 58 w 126"/>
                <a:gd name="T65" fmla="*/ 82 h 166"/>
                <a:gd name="T66" fmla="*/ 67 w 126"/>
                <a:gd name="T67" fmla="*/ 66 h 166"/>
                <a:gd name="T68" fmla="*/ 72 w 126"/>
                <a:gd name="T69" fmla="*/ 50 h 166"/>
                <a:gd name="T70" fmla="*/ 79 w 126"/>
                <a:gd name="T71" fmla="*/ 36 h 166"/>
                <a:gd name="T72" fmla="*/ 87 w 126"/>
                <a:gd name="T73" fmla="*/ 23 h 166"/>
                <a:gd name="T74" fmla="*/ 92 w 126"/>
                <a:gd name="T75" fmla="*/ 16 h 166"/>
                <a:gd name="T76" fmla="*/ 97 w 126"/>
                <a:gd name="T77" fmla="*/ 11 h 166"/>
                <a:gd name="T78" fmla="*/ 104 w 126"/>
                <a:gd name="T79" fmla="*/ 5 h 166"/>
                <a:gd name="T80" fmla="*/ 113 w 126"/>
                <a:gd name="T81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26" h="166">
                  <a:moveTo>
                    <a:pt x="113" y="0"/>
                  </a:moveTo>
                  <a:lnTo>
                    <a:pt x="117" y="5"/>
                  </a:lnTo>
                  <a:lnTo>
                    <a:pt x="121" y="10"/>
                  </a:lnTo>
                  <a:lnTo>
                    <a:pt x="124" y="13"/>
                  </a:lnTo>
                  <a:lnTo>
                    <a:pt x="125" y="17"/>
                  </a:lnTo>
                  <a:lnTo>
                    <a:pt x="126" y="20"/>
                  </a:lnTo>
                  <a:lnTo>
                    <a:pt x="126" y="25"/>
                  </a:lnTo>
                  <a:lnTo>
                    <a:pt x="123" y="32"/>
                  </a:lnTo>
                  <a:lnTo>
                    <a:pt x="118" y="41"/>
                  </a:lnTo>
                  <a:lnTo>
                    <a:pt x="113" y="50"/>
                  </a:lnTo>
                  <a:lnTo>
                    <a:pt x="106" y="61"/>
                  </a:lnTo>
                  <a:lnTo>
                    <a:pt x="91" y="83"/>
                  </a:lnTo>
                  <a:lnTo>
                    <a:pt x="72" y="104"/>
                  </a:lnTo>
                  <a:lnTo>
                    <a:pt x="53" y="126"/>
                  </a:lnTo>
                  <a:lnTo>
                    <a:pt x="34" y="144"/>
                  </a:lnTo>
                  <a:lnTo>
                    <a:pt x="25" y="152"/>
                  </a:lnTo>
                  <a:lnTo>
                    <a:pt x="16" y="158"/>
                  </a:lnTo>
                  <a:lnTo>
                    <a:pt x="7" y="163"/>
                  </a:lnTo>
                  <a:lnTo>
                    <a:pt x="0" y="166"/>
                  </a:lnTo>
                  <a:lnTo>
                    <a:pt x="0" y="160"/>
                  </a:lnTo>
                  <a:lnTo>
                    <a:pt x="0" y="153"/>
                  </a:lnTo>
                  <a:lnTo>
                    <a:pt x="0" y="145"/>
                  </a:lnTo>
                  <a:lnTo>
                    <a:pt x="0" y="136"/>
                  </a:lnTo>
                  <a:lnTo>
                    <a:pt x="3" y="131"/>
                  </a:lnTo>
                  <a:lnTo>
                    <a:pt x="6" y="128"/>
                  </a:lnTo>
                  <a:lnTo>
                    <a:pt x="12" y="124"/>
                  </a:lnTo>
                  <a:lnTo>
                    <a:pt x="16" y="121"/>
                  </a:lnTo>
                  <a:lnTo>
                    <a:pt x="26" y="116"/>
                  </a:lnTo>
                  <a:lnTo>
                    <a:pt x="33" y="110"/>
                  </a:lnTo>
                  <a:lnTo>
                    <a:pt x="40" y="104"/>
                  </a:lnTo>
                  <a:lnTo>
                    <a:pt x="48" y="96"/>
                  </a:lnTo>
                  <a:lnTo>
                    <a:pt x="53" y="89"/>
                  </a:lnTo>
                  <a:lnTo>
                    <a:pt x="58" y="82"/>
                  </a:lnTo>
                  <a:lnTo>
                    <a:pt x="67" y="66"/>
                  </a:lnTo>
                  <a:lnTo>
                    <a:pt x="72" y="50"/>
                  </a:lnTo>
                  <a:lnTo>
                    <a:pt x="79" y="36"/>
                  </a:lnTo>
                  <a:lnTo>
                    <a:pt x="87" y="23"/>
                  </a:lnTo>
                  <a:lnTo>
                    <a:pt x="92" y="16"/>
                  </a:lnTo>
                  <a:lnTo>
                    <a:pt x="97" y="11"/>
                  </a:lnTo>
                  <a:lnTo>
                    <a:pt x="104" y="5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39" name="Freeform 291"/>
            <p:cNvSpPr>
              <a:spLocks/>
            </p:cNvSpPr>
            <p:nvPr/>
          </p:nvSpPr>
          <p:spPr bwMode="auto">
            <a:xfrm>
              <a:off x="5154" y="2465"/>
              <a:ext cx="85" cy="86"/>
            </a:xfrm>
            <a:custGeom>
              <a:avLst/>
              <a:gdLst>
                <a:gd name="T0" fmla="*/ 8 w 259"/>
                <a:gd name="T1" fmla="*/ 182 h 259"/>
                <a:gd name="T2" fmla="*/ 1 w 259"/>
                <a:gd name="T3" fmla="*/ 163 h 259"/>
                <a:gd name="T4" fmla="*/ 0 w 259"/>
                <a:gd name="T5" fmla="*/ 142 h 259"/>
                <a:gd name="T6" fmla="*/ 6 w 259"/>
                <a:gd name="T7" fmla="*/ 130 h 259"/>
                <a:gd name="T8" fmla="*/ 19 w 259"/>
                <a:gd name="T9" fmla="*/ 126 h 259"/>
                <a:gd name="T10" fmla="*/ 34 w 259"/>
                <a:gd name="T11" fmla="*/ 117 h 259"/>
                <a:gd name="T12" fmla="*/ 48 w 259"/>
                <a:gd name="T13" fmla="*/ 100 h 259"/>
                <a:gd name="T14" fmla="*/ 60 w 259"/>
                <a:gd name="T15" fmla="*/ 91 h 259"/>
                <a:gd name="T16" fmla="*/ 68 w 259"/>
                <a:gd name="T17" fmla="*/ 87 h 259"/>
                <a:gd name="T18" fmla="*/ 83 w 259"/>
                <a:gd name="T19" fmla="*/ 87 h 259"/>
                <a:gd name="T20" fmla="*/ 94 w 259"/>
                <a:gd name="T21" fmla="*/ 93 h 259"/>
                <a:gd name="T22" fmla="*/ 101 w 259"/>
                <a:gd name="T23" fmla="*/ 105 h 259"/>
                <a:gd name="T24" fmla="*/ 108 w 259"/>
                <a:gd name="T25" fmla="*/ 110 h 259"/>
                <a:gd name="T26" fmla="*/ 120 w 259"/>
                <a:gd name="T27" fmla="*/ 110 h 259"/>
                <a:gd name="T28" fmla="*/ 135 w 259"/>
                <a:gd name="T29" fmla="*/ 104 h 259"/>
                <a:gd name="T30" fmla="*/ 148 w 259"/>
                <a:gd name="T31" fmla="*/ 93 h 259"/>
                <a:gd name="T32" fmla="*/ 160 w 259"/>
                <a:gd name="T33" fmla="*/ 78 h 259"/>
                <a:gd name="T34" fmla="*/ 174 w 259"/>
                <a:gd name="T35" fmla="*/ 51 h 259"/>
                <a:gd name="T36" fmla="*/ 188 w 259"/>
                <a:gd name="T37" fmla="*/ 16 h 259"/>
                <a:gd name="T38" fmla="*/ 195 w 259"/>
                <a:gd name="T39" fmla="*/ 4 h 259"/>
                <a:gd name="T40" fmla="*/ 202 w 259"/>
                <a:gd name="T41" fmla="*/ 12 h 259"/>
                <a:gd name="T42" fmla="*/ 213 w 259"/>
                <a:gd name="T43" fmla="*/ 18 h 259"/>
                <a:gd name="T44" fmla="*/ 219 w 259"/>
                <a:gd name="T45" fmla="*/ 32 h 259"/>
                <a:gd name="T46" fmla="*/ 219 w 259"/>
                <a:gd name="T47" fmla="*/ 52 h 259"/>
                <a:gd name="T48" fmla="*/ 227 w 259"/>
                <a:gd name="T49" fmla="*/ 61 h 259"/>
                <a:gd name="T50" fmla="*/ 234 w 259"/>
                <a:gd name="T51" fmla="*/ 70 h 259"/>
                <a:gd name="T52" fmla="*/ 234 w 259"/>
                <a:gd name="T53" fmla="*/ 88 h 259"/>
                <a:gd name="T54" fmla="*/ 234 w 259"/>
                <a:gd name="T55" fmla="*/ 104 h 259"/>
                <a:gd name="T56" fmla="*/ 237 w 259"/>
                <a:gd name="T57" fmla="*/ 110 h 259"/>
                <a:gd name="T58" fmla="*/ 243 w 259"/>
                <a:gd name="T59" fmla="*/ 121 h 259"/>
                <a:gd name="T60" fmla="*/ 249 w 259"/>
                <a:gd name="T61" fmla="*/ 137 h 259"/>
                <a:gd name="T62" fmla="*/ 254 w 259"/>
                <a:gd name="T63" fmla="*/ 161 h 259"/>
                <a:gd name="T64" fmla="*/ 245 w 259"/>
                <a:gd name="T65" fmla="*/ 235 h 259"/>
                <a:gd name="T66" fmla="*/ 239 w 259"/>
                <a:gd name="T67" fmla="*/ 222 h 259"/>
                <a:gd name="T68" fmla="*/ 237 w 259"/>
                <a:gd name="T69" fmla="*/ 208 h 259"/>
                <a:gd name="T70" fmla="*/ 239 w 259"/>
                <a:gd name="T71" fmla="*/ 192 h 259"/>
                <a:gd name="T72" fmla="*/ 222 w 259"/>
                <a:gd name="T73" fmla="*/ 188 h 259"/>
                <a:gd name="T74" fmla="*/ 206 w 259"/>
                <a:gd name="T75" fmla="*/ 179 h 259"/>
                <a:gd name="T76" fmla="*/ 194 w 259"/>
                <a:gd name="T77" fmla="*/ 199 h 259"/>
                <a:gd name="T78" fmla="*/ 188 w 259"/>
                <a:gd name="T79" fmla="*/ 219 h 259"/>
                <a:gd name="T80" fmla="*/ 185 w 259"/>
                <a:gd name="T81" fmla="*/ 259 h 259"/>
                <a:gd name="T82" fmla="*/ 124 w 259"/>
                <a:gd name="T83" fmla="*/ 242 h 259"/>
                <a:gd name="T84" fmla="*/ 110 w 259"/>
                <a:gd name="T85" fmla="*/ 220 h 259"/>
                <a:gd name="T86" fmla="*/ 99 w 259"/>
                <a:gd name="T87" fmla="*/ 209 h 259"/>
                <a:gd name="T88" fmla="*/ 97 w 259"/>
                <a:gd name="T89" fmla="*/ 196 h 259"/>
                <a:gd name="T90" fmla="*/ 105 w 259"/>
                <a:gd name="T91" fmla="*/ 186 h 259"/>
                <a:gd name="T92" fmla="*/ 112 w 259"/>
                <a:gd name="T93" fmla="*/ 180 h 259"/>
                <a:gd name="T94" fmla="*/ 117 w 259"/>
                <a:gd name="T95" fmla="*/ 173 h 259"/>
                <a:gd name="T96" fmla="*/ 93 w 259"/>
                <a:gd name="T97" fmla="*/ 154 h 259"/>
                <a:gd name="T98" fmla="*/ 28 w 259"/>
                <a:gd name="T99" fmla="*/ 155 h 259"/>
                <a:gd name="T100" fmla="*/ 20 w 259"/>
                <a:gd name="T101" fmla="*/ 163 h 259"/>
                <a:gd name="T102" fmla="*/ 16 w 259"/>
                <a:gd name="T103" fmla="*/ 175 h 259"/>
                <a:gd name="T104" fmla="*/ 13 w 259"/>
                <a:gd name="T105" fmla="*/ 187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59" h="259">
                  <a:moveTo>
                    <a:pt x="13" y="192"/>
                  </a:moveTo>
                  <a:lnTo>
                    <a:pt x="8" y="182"/>
                  </a:lnTo>
                  <a:lnTo>
                    <a:pt x="4" y="173"/>
                  </a:lnTo>
                  <a:lnTo>
                    <a:pt x="1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6" y="130"/>
                  </a:lnTo>
                  <a:lnTo>
                    <a:pt x="13" y="128"/>
                  </a:lnTo>
                  <a:lnTo>
                    <a:pt x="19" y="126"/>
                  </a:lnTo>
                  <a:lnTo>
                    <a:pt x="24" y="123"/>
                  </a:lnTo>
                  <a:lnTo>
                    <a:pt x="34" y="117"/>
                  </a:lnTo>
                  <a:lnTo>
                    <a:pt x="41" y="108"/>
                  </a:lnTo>
                  <a:lnTo>
                    <a:pt x="48" y="100"/>
                  </a:lnTo>
                  <a:lnTo>
                    <a:pt x="56" y="93"/>
                  </a:lnTo>
                  <a:lnTo>
                    <a:pt x="60" y="91"/>
                  </a:lnTo>
                  <a:lnTo>
                    <a:pt x="63" y="89"/>
                  </a:lnTo>
                  <a:lnTo>
                    <a:pt x="68" y="87"/>
                  </a:lnTo>
                  <a:lnTo>
                    <a:pt x="73" y="87"/>
                  </a:lnTo>
                  <a:lnTo>
                    <a:pt x="83" y="87"/>
                  </a:lnTo>
                  <a:lnTo>
                    <a:pt x="93" y="87"/>
                  </a:lnTo>
                  <a:lnTo>
                    <a:pt x="94" y="93"/>
                  </a:lnTo>
                  <a:lnTo>
                    <a:pt x="97" y="101"/>
                  </a:lnTo>
                  <a:lnTo>
                    <a:pt x="101" y="105"/>
                  </a:lnTo>
                  <a:lnTo>
                    <a:pt x="104" y="108"/>
                  </a:lnTo>
                  <a:lnTo>
                    <a:pt x="108" y="110"/>
                  </a:lnTo>
                  <a:lnTo>
                    <a:pt x="113" y="111"/>
                  </a:lnTo>
                  <a:lnTo>
                    <a:pt x="120" y="110"/>
                  </a:lnTo>
                  <a:lnTo>
                    <a:pt x="127" y="108"/>
                  </a:lnTo>
                  <a:lnTo>
                    <a:pt x="135" y="104"/>
                  </a:lnTo>
                  <a:lnTo>
                    <a:pt x="141" y="99"/>
                  </a:lnTo>
                  <a:lnTo>
                    <a:pt x="148" y="93"/>
                  </a:lnTo>
                  <a:lnTo>
                    <a:pt x="153" y="86"/>
                  </a:lnTo>
                  <a:lnTo>
                    <a:pt x="160" y="78"/>
                  </a:lnTo>
                  <a:lnTo>
                    <a:pt x="165" y="70"/>
                  </a:lnTo>
                  <a:lnTo>
                    <a:pt x="174" y="51"/>
                  </a:lnTo>
                  <a:lnTo>
                    <a:pt x="183" y="33"/>
                  </a:lnTo>
                  <a:lnTo>
                    <a:pt x="188" y="16"/>
                  </a:lnTo>
                  <a:lnTo>
                    <a:pt x="193" y="0"/>
                  </a:lnTo>
                  <a:lnTo>
                    <a:pt x="195" y="4"/>
                  </a:lnTo>
                  <a:lnTo>
                    <a:pt x="198" y="9"/>
                  </a:lnTo>
                  <a:lnTo>
                    <a:pt x="202" y="12"/>
                  </a:lnTo>
                  <a:lnTo>
                    <a:pt x="206" y="15"/>
                  </a:lnTo>
                  <a:lnTo>
                    <a:pt x="213" y="18"/>
                  </a:lnTo>
                  <a:lnTo>
                    <a:pt x="219" y="19"/>
                  </a:lnTo>
                  <a:lnTo>
                    <a:pt x="219" y="32"/>
                  </a:lnTo>
                  <a:lnTo>
                    <a:pt x="219" y="44"/>
                  </a:lnTo>
                  <a:lnTo>
                    <a:pt x="219" y="52"/>
                  </a:lnTo>
                  <a:lnTo>
                    <a:pt x="219" y="55"/>
                  </a:lnTo>
                  <a:lnTo>
                    <a:pt x="227" y="61"/>
                  </a:lnTo>
                  <a:lnTo>
                    <a:pt x="231" y="66"/>
                  </a:lnTo>
                  <a:lnTo>
                    <a:pt x="234" y="70"/>
                  </a:lnTo>
                  <a:lnTo>
                    <a:pt x="239" y="75"/>
                  </a:lnTo>
                  <a:lnTo>
                    <a:pt x="234" y="88"/>
                  </a:lnTo>
                  <a:lnTo>
                    <a:pt x="233" y="100"/>
                  </a:lnTo>
                  <a:lnTo>
                    <a:pt x="234" y="104"/>
                  </a:lnTo>
                  <a:lnTo>
                    <a:pt x="234" y="108"/>
                  </a:lnTo>
                  <a:lnTo>
                    <a:pt x="237" y="110"/>
                  </a:lnTo>
                  <a:lnTo>
                    <a:pt x="239" y="111"/>
                  </a:lnTo>
                  <a:lnTo>
                    <a:pt x="243" y="121"/>
                  </a:lnTo>
                  <a:lnTo>
                    <a:pt x="247" y="129"/>
                  </a:lnTo>
                  <a:lnTo>
                    <a:pt x="249" y="137"/>
                  </a:lnTo>
                  <a:lnTo>
                    <a:pt x="251" y="145"/>
                  </a:lnTo>
                  <a:lnTo>
                    <a:pt x="254" y="161"/>
                  </a:lnTo>
                  <a:lnTo>
                    <a:pt x="259" y="179"/>
                  </a:lnTo>
                  <a:lnTo>
                    <a:pt x="245" y="235"/>
                  </a:lnTo>
                  <a:lnTo>
                    <a:pt x="241" y="230"/>
                  </a:lnTo>
                  <a:lnTo>
                    <a:pt x="239" y="222"/>
                  </a:lnTo>
                  <a:lnTo>
                    <a:pt x="238" y="215"/>
                  </a:lnTo>
                  <a:lnTo>
                    <a:pt x="237" y="208"/>
                  </a:lnTo>
                  <a:lnTo>
                    <a:pt x="238" y="196"/>
                  </a:lnTo>
                  <a:lnTo>
                    <a:pt x="239" y="192"/>
                  </a:lnTo>
                  <a:lnTo>
                    <a:pt x="231" y="191"/>
                  </a:lnTo>
                  <a:lnTo>
                    <a:pt x="222" y="188"/>
                  </a:lnTo>
                  <a:lnTo>
                    <a:pt x="213" y="184"/>
                  </a:lnTo>
                  <a:lnTo>
                    <a:pt x="206" y="179"/>
                  </a:lnTo>
                  <a:lnTo>
                    <a:pt x="199" y="189"/>
                  </a:lnTo>
                  <a:lnTo>
                    <a:pt x="194" y="199"/>
                  </a:lnTo>
                  <a:lnTo>
                    <a:pt x="191" y="209"/>
                  </a:lnTo>
                  <a:lnTo>
                    <a:pt x="188" y="219"/>
                  </a:lnTo>
                  <a:lnTo>
                    <a:pt x="186" y="240"/>
                  </a:lnTo>
                  <a:lnTo>
                    <a:pt x="185" y="259"/>
                  </a:lnTo>
                  <a:lnTo>
                    <a:pt x="132" y="259"/>
                  </a:lnTo>
                  <a:lnTo>
                    <a:pt x="124" y="242"/>
                  </a:lnTo>
                  <a:lnTo>
                    <a:pt x="115" y="226"/>
                  </a:lnTo>
                  <a:lnTo>
                    <a:pt x="110" y="220"/>
                  </a:lnTo>
                  <a:lnTo>
                    <a:pt x="105" y="214"/>
                  </a:lnTo>
                  <a:lnTo>
                    <a:pt x="99" y="209"/>
                  </a:lnTo>
                  <a:lnTo>
                    <a:pt x="93" y="204"/>
                  </a:lnTo>
                  <a:lnTo>
                    <a:pt x="97" y="196"/>
                  </a:lnTo>
                  <a:lnTo>
                    <a:pt x="102" y="190"/>
                  </a:lnTo>
                  <a:lnTo>
                    <a:pt x="105" y="186"/>
                  </a:lnTo>
                  <a:lnTo>
                    <a:pt x="108" y="183"/>
                  </a:lnTo>
                  <a:lnTo>
                    <a:pt x="112" y="180"/>
                  </a:lnTo>
                  <a:lnTo>
                    <a:pt x="114" y="177"/>
                  </a:lnTo>
                  <a:lnTo>
                    <a:pt x="117" y="173"/>
                  </a:lnTo>
                  <a:lnTo>
                    <a:pt x="119" y="166"/>
                  </a:lnTo>
                  <a:lnTo>
                    <a:pt x="93" y="154"/>
                  </a:lnTo>
                  <a:lnTo>
                    <a:pt x="32" y="154"/>
                  </a:lnTo>
                  <a:lnTo>
                    <a:pt x="28" y="155"/>
                  </a:lnTo>
                  <a:lnTo>
                    <a:pt x="24" y="158"/>
                  </a:lnTo>
                  <a:lnTo>
                    <a:pt x="20" y="163"/>
                  </a:lnTo>
                  <a:lnTo>
                    <a:pt x="18" y="168"/>
                  </a:lnTo>
                  <a:lnTo>
                    <a:pt x="16" y="175"/>
                  </a:lnTo>
                  <a:lnTo>
                    <a:pt x="14" y="181"/>
                  </a:lnTo>
                  <a:lnTo>
                    <a:pt x="13" y="187"/>
                  </a:lnTo>
                  <a:lnTo>
                    <a:pt x="13" y="19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40" name="Freeform 292"/>
            <p:cNvSpPr>
              <a:spLocks/>
            </p:cNvSpPr>
            <p:nvPr/>
          </p:nvSpPr>
          <p:spPr bwMode="auto">
            <a:xfrm>
              <a:off x="5104" y="2395"/>
              <a:ext cx="23" cy="31"/>
            </a:xfrm>
            <a:custGeom>
              <a:avLst/>
              <a:gdLst>
                <a:gd name="T0" fmla="*/ 72 w 72"/>
                <a:gd name="T1" fmla="*/ 43 h 92"/>
                <a:gd name="T2" fmla="*/ 72 w 72"/>
                <a:gd name="T3" fmla="*/ 92 h 92"/>
                <a:gd name="T4" fmla="*/ 65 w 72"/>
                <a:gd name="T5" fmla="*/ 86 h 92"/>
                <a:gd name="T6" fmla="*/ 58 w 72"/>
                <a:gd name="T7" fmla="*/ 81 h 92"/>
                <a:gd name="T8" fmla="*/ 51 w 72"/>
                <a:gd name="T9" fmla="*/ 75 h 92"/>
                <a:gd name="T10" fmla="*/ 46 w 72"/>
                <a:gd name="T11" fmla="*/ 69 h 92"/>
                <a:gd name="T12" fmla="*/ 38 w 72"/>
                <a:gd name="T13" fmla="*/ 58 h 92"/>
                <a:gd name="T14" fmla="*/ 32 w 72"/>
                <a:gd name="T15" fmla="*/ 46 h 92"/>
                <a:gd name="T16" fmla="*/ 25 w 72"/>
                <a:gd name="T17" fmla="*/ 34 h 92"/>
                <a:gd name="T18" fmla="*/ 19 w 72"/>
                <a:gd name="T19" fmla="*/ 23 h 92"/>
                <a:gd name="T20" fmla="*/ 11 w 72"/>
                <a:gd name="T21" fmla="*/ 12 h 92"/>
                <a:gd name="T22" fmla="*/ 0 w 72"/>
                <a:gd name="T23" fmla="*/ 0 h 92"/>
                <a:gd name="T24" fmla="*/ 25 w 72"/>
                <a:gd name="T25" fmla="*/ 12 h 92"/>
                <a:gd name="T26" fmla="*/ 44 w 72"/>
                <a:gd name="T27" fmla="*/ 21 h 92"/>
                <a:gd name="T28" fmla="*/ 51 w 72"/>
                <a:gd name="T29" fmla="*/ 26 h 92"/>
                <a:gd name="T30" fmla="*/ 58 w 72"/>
                <a:gd name="T31" fmla="*/ 31 h 92"/>
                <a:gd name="T32" fmla="*/ 66 w 72"/>
                <a:gd name="T33" fmla="*/ 36 h 92"/>
                <a:gd name="T34" fmla="*/ 72 w 72"/>
                <a:gd name="T35" fmla="*/ 43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92">
                  <a:moveTo>
                    <a:pt x="72" y="43"/>
                  </a:moveTo>
                  <a:lnTo>
                    <a:pt x="72" y="92"/>
                  </a:lnTo>
                  <a:lnTo>
                    <a:pt x="65" y="86"/>
                  </a:lnTo>
                  <a:lnTo>
                    <a:pt x="58" y="81"/>
                  </a:lnTo>
                  <a:lnTo>
                    <a:pt x="51" y="75"/>
                  </a:lnTo>
                  <a:lnTo>
                    <a:pt x="46" y="69"/>
                  </a:lnTo>
                  <a:lnTo>
                    <a:pt x="38" y="58"/>
                  </a:lnTo>
                  <a:lnTo>
                    <a:pt x="32" y="46"/>
                  </a:lnTo>
                  <a:lnTo>
                    <a:pt x="25" y="34"/>
                  </a:lnTo>
                  <a:lnTo>
                    <a:pt x="19" y="23"/>
                  </a:lnTo>
                  <a:lnTo>
                    <a:pt x="11" y="12"/>
                  </a:lnTo>
                  <a:lnTo>
                    <a:pt x="0" y="0"/>
                  </a:lnTo>
                  <a:lnTo>
                    <a:pt x="25" y="12"/>
                  </a:lnTo>
                  <a:lnTo>
                    <a:pt x="44" y="21"/>
                  </a:lnTo>
                  <a:lnTo>
                    <a:pt x="51" y="26"/>
                  </a:lnTo>
                  <a:lnTo>
                    <a:pt x="58" y="31"/>
                  </a:lnTo>
                  <a:lnTo>
                    <a:pt x="66" y="36"/>
                  </a:lnTo>
                  <a:lnTo>
                    <a:pt x="72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41" name="Freeform 293"/>
            <p:cNvSpPr>
              <a:spLocks/>
            </p:cNvSpPr>
            <p:nvPr/>
          </p:nvSpPr>
          <p:spPr bwMode="auto">
            <a:xfrm>
              <a:off x="5143" y="2436"/>
              <a:ext cx="16" cy="21"/>
            </a:xfrm>
            <a:custGeom>
              <a:avLst/>
              <a:gdLst>
                <a:gd name="T0" fmla="*/ 6 w 46"/>
                <a:gd name="T1" fmla="*/ 6 h 62"/>
                <a:gd name="T2" fmla="*/ 19 w 46"/>
                <a:gd name="T3" fmla="*/ 5 h 62"/>
                <a:gd name="T4" fmla="*/ 31 w 46"/>
                <a:gd name="T5" fmla="*/ 3 h 62"/>
                <a:gd name="T6" fmla="*/ 39 w 46"/>
                <a:gd name="T7" fmla="*/ 1 h 62"/>
                <a:gd name="T8" fmla="*/ 46 w 46"/>
                <a:gd name="T9" fmla="*/ 0 h 62"/>
                <a:gd name="T10" fmla="*/ 46 w 46"/>
                <a:gd name="T11" fmla="*/ 9 h 62"/>
                <a:gd name="T12" fmla="*/ 46 w 46"/>
                <a:gd name="T13" fmla="*/ 18 h 62"/>
                <a:gd name="T14" fmla="*/ 46 w 46"/>
                <a:gd name="T15" fmla="*/ 27 h 62"/>
                <a:gd name="T16" fmla="*/ 46 w 46"/>
                <a:gd name="T17" fmla="*/ 38 h 62"/>
                <a:gd name="T18" fmla="*/ 45 w 46"/>
                <a:gd name="T19" fmla="*/ 46 h 62"/>
                <a:gd name="T20" fmla="*/ 41 w 46"/>
                <a:gd name="T21" fmla="*/ 54 h 62"/>
                <a:gd name="T22" fmla="*/ 39 w 46"/>
                <a:gd name="T23" fmla="*/ 57 h 62"/>
                <a:gd name="T24" fmla="*/ 37 w 46"/>
                <a:gd name="T25" fmla="*/ 60 h 62"/>
                <a:gd name="T26" fmla="*/ 35 w 46"/>
                <a:gd name="T27" fmla="*/ 61 h 62"/>
                <a:gd name="T28" fmla="*/ 33 w 46"/>
                <a:gd name="T29" fmla="*/ 62 h 62"/>
                <a:gd name="T30" fmla="*/ 27 w 46"/>
                <a:gd name="T31" fmla="*/ 61 h 62"/>
                <a:gd name="T32" fmla="*/ 22 w 46"/>
                <a:gd name="T33" fmla="*/ 60 h 62"/>
                <a:gd name="T34" fmla="*/ 17 w 46"/>
                <a:gd name="T35" fmla="*/ 59 h 62"/>
                <a:gd name="T36" fmla="*/ 14 w 46"/>
                <a:gd name="T37" fmla="*/ 57 h 62"/>
                <a:gd name="T38" fmla="*/ 11 w 46"/>
                <a:gd name="T39" fmla="*/ 54 h 62"/>
                <a:gd name="T40" fmla="*/ 7 w 46"/>
                <a:gd name="T41" fmla="*/ 51 h 62"/>
                <a:gd name="T42" fmla="*/ 5 w 46"/>
                <a:gd name="T43" fmla="*/ 47 h 62"/>
                <a:gd name="T44" fmla="*/ 4 w 46"/>
                <a:gd name="T45" fmla="*/ 44 h 62"/>
                <a:gd name="T46" fmla="*/ 1 w 46"/>
                <a:gd name="T47" fmla="*/ 34 h 62"/>
                <a:gd name="T48" fmla="*/ 0 w 46"/>
                <a:gd name="T49" fmla="*/ 25 h 62"/>
                <a:gd name="T50" fmla="*/ 0 w 46"/>
                <a:gd name="T51" fmla="*/ 16 h 62"/>
                <a:gd name="T52" fmla="*/ 0 w 46"/>
                <a:gd name="T53" fmla="*/ 6 h 62"/>
                <a:gd name="T54" fmla="*/ 6 w 46"/>
                <a:gd name="T55" fmla="*/ 6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6" h="62">
                  <a:moveTo>
                    <a:pt x="6" y="6"/>
                  </a:moveTo>
                  <a:lnTo>
                    <a:pt x="19" y="5"/>
                  </a:lnTo>
                  <a:lnTo>
                    <a:pt x="31" y="3"/>
                  </a:lnTo>
                  <a:lnTo>
                    <a:pt x="39" y="1"/>
                  </a:lnTo>
                  <a:lnTo>
                    <a:pt x="46" y="0"/>
                  </a:lnTo>
                  <a:lnTo>
                    <a:pt x="46" y="9"/>
                  </a:lnTo>
                  <a:lnTo>
                    <a:pt x="46" y="18"/>
                  </a:lnTo>
                  <a:lnTo>
                    <a:pt x="46" y="27"/>
                  </a:lnTo>
                  <a:lnTo>
                    <a:pt x="46" y="38"/>
                  </a:lnTo>
                  <a:lnTo>
                    <a:pt x="45" y="46"/>
                  </a:lnTo>
                  <a:lnTo>
                    <a:pt x="41" y="54"/>
                  </a:lnTo>
                  <a:lnTo>
                    <a:pt x="39" y="57"/>
                  </a:lnTo>
                  <a:lnTo>
                    <a:pt x="37" y="60"/>
                  </a:lnTo>
                  <a:lnTo>
                    <a:pt x="35" y="61"/>
                  </a:lnTo>
                  <a:lnTo>
                    <a:pt x="33" y="62"/>
                  </a:lnTo>
                  <a:lnTo>
                    <a:pt x="27" y="61"/>
                  </a:lnTo>
                  <a:lnTo>
                    <a:pt x="22" y="60"/>
                  </a:lnTo>
                  <a:lnTo>
                    <a:pt x="17" y="59"/>
                  </a:lnTo>
                  <a:lnTo>
                    <a:pt x="14" y="57"/>
                  </a:lnTo>
                  <a:lnTo>
                    <a:pt x="11" y="54"/>
                  </a:lnTo>
                  <a:lnTo>
                    <a:pt x="7" y="51"/>
                  </a:lnTo>
                  <a:lnTo>
                    <a:pt x="5" y="47"/>
                  </a:lnTo>
                  <a:lnTo>
                    <a:pt x="4" y="44"/>
                  </a:lnTo>
                  <a:lnTo>
                    <a:pt x="1" y="34"/>
                  </a:lnTo>
                  <a:lnTo>
                    <a:pt x="0" y="25"/>
                  </a:lnTo>
                  <a:lnTo>
                    <a:pt x="0" y="16"/>
                  </a:lnTo>
                  <a:lnTo>
                    <a:pt x="0" y="6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42" name="Freeform 294"/>
            <p:cNvSpPr>
              <a:spLocks/>
            </p:cNvSpPr>
            <p:nvPr/>
          </p:nvSpPr>
          <p:spPr bwMode="auto">
            <a:xfrm>
              <a:off x="5089" y="2295"/>
              <a:ext cx="50" cy="98"/>
            </a:xfrm>
            <a:custGeom>
              <a:avLst/>
              <a:gdLst>
                <a:gd name="T0" fmla="*/ 59 w 152"/>
                <a:gd name="T1" fmla="*/ 0 h 296"/>
                <a:gd name="T2" fmla="*/ 66 w 152"/>
                <a:gd name="T3" fmla="*/ 9 h 296"/>
                <a:gd name="T4" fmla="*/ 77 w 152"/>
                <a:gd name="T5" fmla="*/ 17 h 296"/>
                <a:gd name="T6" fmla="*/ 88 w 152"/>
                <a:gd name="T7" fmla="*/ 23 h 296"/>
                <a:gd name="T8" fmla="*/ 99 w 152"/>
                <a:gd name="T9" fmla="*/ 25 h 296"/>
                <a:gd name="T10" fmla="*/ 108 w 152"/>
                <a:gd name="T11" fmla="*/ 21 h 296"/>
                <a:gd name="T12" fmla="*/ 118 w 152"/>
                <a:gd name="T13" fmla="*/ 12 h 296"/>
                <a:gd name="T14" fmla="*/ 122 w 152"/>
                <a:gd name="T15" fmla="*/ 35 h 296"/>
                <a:gd name="T16" fmla="*/ 130 w 152"/>
                <a:gd name="T17" fmla="*/ 62 h 296"/>
                <a:gd name="T18" fmla="*/ 141 w 152"/>
                <a:gd name="T19" fmla="*/ 86 h 296"/>
                <a:gd name="T20" fmla="*/ 147 w 152"/>
                <a:gd name="T21" fmla="*/ 94 h 296"/>
                <a:gd name="T22" fmla="*/ 152 w 152"/>
                <a:gd name="T23" fmla="*/ 99 h 296"/>
                <a:gd name="T24" fmla="*/ 143 w 152"/>
                <a:gd name="T25" fmla="*/ 120 h 296"/>
                <a:gd name="T26" fmla="*/ 129 w 152"/>
                <a:gd name="T27" fmla="*/ 140 h 296"/>
                <a:gd name="T28" fmla="*/ 117 w 152"/>
                <a:gd name="T29" fmla="*/ 157 h 296"/>
                <a:gd name="T30" fmla="*/ 112 w 152"/>
                <a:gd name="T31" fmla="*/ 172 h 296"/>
                <a:gd name="T32" fmla="*/ 115 w 152"/>
                <a:gd name="T33" fmla="*/ 197 h 296"/>
                <a:gd name="T34" fmla="*/ 115 w 152"/>
                <a:gd name="T35" fmla="*/ 205 h 296"/>
                <a:gd name="T36" fmla="*/ 112 w 152"/>
                <a:gd name="T37" fmla="*/ 216 h 296"/>
                <a:gd name="T38" fmla="*/ 126 w 152"/>
                <a:gd name="T39" fmla="*/ 216 h 296"/>
                <a:gd name="T40" fmla="*/ 146 w 152"/>
                <a:gd name="T41" fmla="*/ 216 h 296"/>
                <a:gd name="T42" fmla="*/ 136 w 152"/>
                <a:gd name="T43" fmla="*/ 252 h 296"/>
                <a:gd name="T44" fmla="*/ 136 w 152"/>
                <a:gd name="T45" fmla="*/ 267 h 296"/>
                <a:gd name="T46" fmla="*/ 146 w 152"/>
                <a:gd name="T47" fmla="*/ 283 h 296"/>
                <a:gd name="T48" fmla="*/ 125 w 152"/>
                <a:gd name="T49" fmla="*/ 291 h 296"/>
                <a:gd name="T50" fmla="*/ 105 w 152"/>
                <a:gd name="T51" fmla="*/ 296 h 296"/>
                <a:gd name="T52" fmla="*/ 85 w 152"/>
                <a:gd name="T53" fmla="*/ 294 h 296"/>
                <a:gd name="T54" fmla="*/ 73 w 152"/>
                <a:gd name="T55" fmla="*/ 288 h 296"/>
                <a:gd name="T56" fmla="*/ 67 w 152"/>
                <a:gd name="T57" fmla="*/ 280 h 296"/>
                <a:gd name="T58" fmla="*/ 66 w 152"/>
                <a:gd name="T59" fmla="*/ 271 h 296"/>
                <a:gd name="T60" fmla="*/ 85 w 152"/>
                <a:gd name="T61" fmla="*/ 253 h 296"/>
                <a:gd name="T62" fmla="*/ 69 w 152"/>
                <a:gd name="T63" fmla="*/ 249 h 296"/>
                <a:gd name="T64" fmla="*/ 52 w 152"/>
                <a:gd name="T65" fmla="*/ 242 h 296"/>
                <a:gd name="T66" fmla="*/ 38 w 152"/>
                <a:gd name="T67" fmla="*/ 231 h 296"/>
                <a:gd name="T68" fmla="*/ 25 w 152"/>
                <a:gd name="T69" fmla="*/ 219 h 296"/>
                <a:gd name="T70" fmla="*/ 14 w 152"/>
                <a:gd name="T71" fmla="*/ 205 h 296"/>
                <a:gd name="T72" fmla="*/ 6 w 152"/>
                <a:gd name="T73" fmla="*/ 190 h 296"/>
                <a:gd name="T74" fmla="*/ 1 w 152"/>
                <a:gd name="T75" fmla="*/ 172 h 296"/>
                <a:gd name="T76" fmla="*/ 0 w 152"/>
                <a:gd name="T77" fmla="*/ 154 h 296"/>
                <a:gd name="T78" fmla="*/ 0 w 152"/>
                <a:gd name="T79" fmla="*/ 130 h 296"/>
                <a:gd name="T80" fmla="*/ 27 w 152"/>
                <a:gd name="T81" fmla="*/ 106 h 296"/>
                <a:gd name="T82" fmla="*/ 32 w 152"/>
                <a:gd name="T83" fmla="*/ 46 h 296"/>
                <a:gd name="T84" fmla="*/ 31 w 152"/>
                <a:gd name="T85" fmla="*/ 18 h 296"/>
                <a:gd name="T86" fmla="*/ 28 w 152"/>
                <a:gd name="T87" fmla="*/ 4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52" h="296">
                  <a:moveTo>
                    <a:pt x="26" y="0"/>
                  </a:moveTo>
                  <a:lnTo>
                    <a:pt x="59" y="0"/>
                  </a:lnTo>
                  <a:lnTo>
                    <a:pt x="62" y="4"/>
                  </a:lnTo>
                  <a:lnTo>
                    <a:pt x="66" y="9"/>
                  </a:lnTo>
                  <a:lnTo>
                    <a:pt x="71" y="13"/>
                  </a:lnTo>
                  <a:lnTo>
                    <a:pt x="77" y="17"/>
                  </a:lnTo>
                  <a:lnTo>
                    <a:pt x="82" y="21"/>
                  </a:lnTo>
                  <a:lnTo>
                    <a:pt x="88" y="23"/>
                  </a:lnTo>
                  <a:lnTo>
                    <a:pt x="93" y="24"/>
                  </a:lnTo>
                  <a:lnTo>
                    <a:pt x="99" y="25"/>
                  </a:lnTo>
                  <a:lnTo>
                    <a:pt x="104" y="24"/>
                  </a:lnTo>
                  <a:lnTo>
                    <a:pt x="108" y="21"/>
                  </a:lnTo>
                  <a:lnTo>
                    <a:pt x="114" y="17"/>
                  </a:lnTo>
                  <a:lnTo>
                    <a:pt x="118" y="12"/>
                  </a:lnTo>
                  <a:lnTo>
                    <a:pt x="119" y="23"/>
                  </a:lnTo>
                  <a:lnTo>
                    <a:pt x="122" y="35"/>
                  </a:lnTo>
                  <a:lnTo>
                    <a:pt x="126" y="49"/>
                  </a:lnTo>
                  <a:lnTo>
                    <a:pt x="130" y="62"/>
                  </a:lnTo>
                  <a:lnTo>
                    <a:pt x="136" y="76"/>
                  </a:lnTo>
                  <a:lnTo>
                    <a:pt x="141" y="86"/>
                  </a:lnTo>
                  <a:lnTo>
                    <a:pt x="144" y="91"/>
                  </a:lnTo>
                  <a:lnTo>
                    <a:pt x="147" y="94"/>
                  </a:lnTo>
                  <a:lnTo>
                    <a:pt x="149" y="97"/>
                  </a:lnTo>
                  <a:lnTo>
                    <a:pt x="152" y="99"/>
                  </a:lnTo>
                  <a:lnTo>
                    <a:pt x="148" y="110"/>
                  </a:lnTo>
                  <a:lnTo>
                    <a:pt x="143" y="120"/>
                  </a:lnTo>
                  <a:lnTo>
                    <a:pt x="137" y="131"/>
                  </a:lnTo>
                  <a:lnTo>
                    <a:pt x="129" y="140"/>
                  </a:lnTo>
                  <a:lnTo>
                    <a:pt x="123" y="149"/>
                  </a:lnTo>
                  <a:lnTo>
                    <a:pt x="117" y="157"/>
                  </a:lnTo>
                  <a:lnTo>
                    <a:pt x="114" y="165"/>
                  </a:lnTo>
                  <a:lnTo>
                    <a:pt x="112" y="172"/>
                  </a:lnTo>
                  <a:lnTo>
                    <a:pt x="113" y="187"/>
                  </a:lnTo>
                  <a:lnTo>
                    <a:pt x="115" y="197"/>
                  </a:lnTo>
                  <a:lnTo>
                    <a:pt x="115" y="201"/>
                  </a:lnTo>
                  <a:lnTo>
                    <a:pt x="115" y="205"/>
                  </a:lnTo>
                  <a:lnTo>
                    <a:pt x="114" y="210"/>
                  </a:lnTo>
                  <a:lnTo>
                    <a:pt x="112" y="216"/>
                  </a:lnTo>
                  <a:lnTo>
                    <a:pt x="118" y="216"/>
                  </a:lnTo>
                  <a:lnTo>
                    <a:pt x="126" y="216"/>
                  </a:lnTo>
                  <a:lnTo>
                    <a:pt x="136" y="216"/>
                  </a:lnTo>
                  <a:lnTo>
                    <a:pt x="146" y="216"/>
                  </a:lnTo>
                  <a:lnTo>
                    <a:pt x="139" y="235"/>
                  </a:lnTo>
                  <a:lnTo>
                    <a:pt x="136" y="252"/>
                  </a:lnTo>
                  <a:lnTo>
                    <a:pt x="135" y="259"/>
                  </a:lnTo>
                  <a:lnTo>
                    <a:pt x="136" y="267"/>
                  </a:lnTo>
                  <a:lnTo>
                    <a:pt x="139" y="275"/>
                  </a:lnTo>
                  <a:lnTo>
                    <a:pt x="146" y="283"/>
                  </a:lnTo>
                  <a:lnTo>
                    <a:pt x="136" y="288"/>
                  </a:lnTo>
                  <a:lnTo>
                    <a:pt x="125" y="291"/>
                  </a:lnTo>
                  <a:lnTo>
                    <a:pt x="115" y="295"/>
                  </a:lnTo>
                  <a:lnTo>
                    <a:pt x="105" y="296"/>
                  </a:lnTo>
                  <a:lnTo>
                    <a:pt x="94" y="296"/>
                  </a:lnTo>
                  <a:lnTo>
                    <a:pt x="85" y="294"/>
                  </a:lnTo>
                  <a:lnTo>
                    <a:pt x="79" y="291"/>
                  </a:lnTo>
                  <a:lnTo>
                    <a:pt x="73" y="288"/>
                  </a:lnTo>
                  <a:lnTo>
                    <a:pt x="70" y="284"/>
                  </a:lnTo>
                  <a:lnTo>
                    <a:pt x="67" y="280"/>
                  </a:lnTo>
                  <a:lnTo>
                    <a:pt x="66" y="276"/>
                  </a:lnTo>
                  <a:lnTo>
                    <a:pt x="66" y="271"/>
                  </a:lnTo>
                  <a:lnTo>
                    <a:pt x="76" y="262"/>
                  </a:lnTo>
                  <a:lnTo>
                    <a:pt x="85" y="253"/>
                  </a:lnTo>
                  <a:lnTo>
                    <a:pt x="77" y="251"/>
                  </a:lnTo>
                  <a:lnTo>
                    <a:pt x="69" y="249"/>
                  </a:lnTo>
                  <a:lnTo>
                    <a:pt x="60" y="246"/>
                  </a:lnTo>
                  <a:lnTo>
                    <a:pt x="52" y="242"/>
                  </a:lnTo>
                  <a:lnTo>
                    <a:pt x="45" y="236"/>
                  </a:lnTo>
                  <a:lnTo>
                    <a:pt x="38" y="231"/>
                  </a:lnTo>
                  <a:lnTo>
                    <a:pt x="32" y="226"/>
                  </a:lnTo>
                  <a:lnTo>
                    <a:pt x="25" y="219"/>
                  </a:lnTo>
                  <a:lnTo>
                    <a:pt x="20" y="213"/>
                  </a:lnTo>
                  <a:lnTo>
                    <a:pt x="14" y="205"/>
                  </a:lnTo>
                  <a:lnTo>
                    <a:pt x="10" y="198"/>
                  </a:lnTo>
                  <a:lnTo>
                    <a:pt x="6" y="190"/>
                  </a:lnTo>
                  <a:lnTo>
                    <a:pt x="3" y="180"/>
                  </a:lnTo>
                  <a:lnTo>
                    <a:pt x="1" y="172"/>
                  </a:lnTo>
                  <a:lnTo>
                    <a:pt x="0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26" y="130"/>
                  </a:lnTo>
                  <a:lnTo>
                    <a:pt x="27" y="106"/>
                  </a:lnTo>
                  <a:lnTo>
                    <a:pt x="31" y="67"/>
                  </a:lnTo>
                  <a:lnTo>
                    <a:pt x="32" y="46"/>
                  </a:lnTo>
                  <a:lnTo>
                    <a:pt x="32" y="27"/>
                  </a:lnTo>
                  <a:lnTo>
                    <a:pt x="31" y="18"/>
                  </a:lnTo>
                  <a:lnTo>
                    <a:pt x="29" y="10"/>
                  </a:lnTo>
                  <a:lnTo>
                    <a:pt x="28" y="4"/>
                  </a:lnTo>
                  <a:lnTo>
                    <a:pt x="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43" name="Freeform 295"/>
            <p:cNvSpPr>
              <a:spLocks/>
            </p:cNvSpPr>
            <p:nvPr/>
          </p:nvSpPr>
          <p:spPr bwMode="auto">
            <a:xfrm>
              <a:off x="5189" y="2442"/>
              <a:ext cx="8" cy="13"/>
            </a:xfrm>
            <a:custGeom>
              <a:avLst/>
              <a:gdLst>
                <a:gd name="T0" fmla="*/ 26 w 26"/>
                <a:gd name="T1" fmla="*/ 38 h 38"/>
                <a:gd name="T2" fmla="*/ 26 w 26"/>
                <a:gd name="T3" fmla="*/ 0 h 38"/>
                <a:gd name="T4" fmla="*/ 21 w 26"/>
                <a:gd name="T5" fmla="*/ 1 h 38"/>
                <a:gd name="T6" fmla="*/ 13 w 26"/>
                <a:gd name="T7" fmla="*/ 4 h 38"/>
                <a:gd name="T8" fmla="*/ 6 w 26"/>
                <a:gd name="T9" fmla="*/ 8 h 38"/>
                <a:gd name="T10" fmla="*/ 0 w 26"/>
                <a:gd name="T11" fmla="*/ 13 h 38"/>
                <a:gd name="T12" fmla="*/ 18 w 26"/>
                <a:gd name="T13" fmla="*/ 30 h 38"/>
                <a:gd name="T14" fmla="*/ 26 w 26"/>
                <a:gd name="T15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38">
                  <a:moveTo>
                    <a:pt x="26" y="38"/>
                  </a:moveTo>
                  <a:lnTo>
                    <a:pt x="26" y="0"/>
                  </a:lnTo>
                  <a:lnTo>
                    <a:pt x="21" y="1"/>
                  </a:lnTo>
                  <a:lnTo>
                    <a:pt x="13" y="4"/>
                  </a:lnTo>
                  <a:lnTo>
                    <a:pt x="6" y="8"/>
                  </a:lnTo>
                  <a:lnTo>
                    <a:pt x="0" y="13"/>
                  </a:lnTo>
                  <a:lnTo>
                    <a:pt x="18" y="30"/>
                  </a:lnTo>
                  <a:lnTo>
                    <a:pt x="26" y="3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44" name="Freeform 296"/>
            <p:cNvSpPr>
              <a:spLocks/>
            </p:cNvSpPr>
            <p:nvPr/>
          </p:nvSpPr>
          <p:spPr bwMode="auto">
            <a:xfrm>
              <a:off x="5165" y="2420"/>
              <a:ext cx="10" cy="10"/>
            </a:xfrm>
            <a:custGeom>
              <a:avLst/>
              <a:gdLst>
                <a:gd name="T0" fmla="*/ 0 w 34"/>
                <a:gd name="T1" fmla="*/ 18 h 31"/>
                <a:gd name="T2" fmla="*/ 8 w 34"/>
                <a:gd name="T3" fmla="*/ 22 h 31"/>
                <a:gd name="T4" fmla="*/ 17 w 34"/>
                <a:gd name="T5" fmla="*/ 26 h 31"/>
                <a:gd name="T6" fmla="*/ 27 w 34"/>
                <a:gd name="T7" fmla="*/ 30 h 31"/>
                <a:gd name="T8" fmla="*/ 34 w 34"/>
                <a:gd name="T9" fmla="*/ 31 h 31"/>
                <a:gd name="T10" fmla="*/ 33 w 34"/>
                <a:gd name="T11" fmla="*/ 24 h 31"/>
                <a:gd name="T12" fmla="*/ 30 w 34"/>
                <a:gd name="T13" fmla="*/ 15 h 31"/>
                <a:gd name="T14" fmla="*/ 26 w 34"/>
                <a:gd name="T15" fmla="*/ 6 h 31"/>
                <a:gd name="T16" fmla="*/ 20 w 34"/>
                <a:gd name="T17" fmla="*/ 0 h 31"/>
                <a:gd name="T18" fmla="*/ 16 w 34"/>
                <a:gd name="T19" fmla="*/ 5 h 31"/>
                <a:gd name="T20" fmla="*/ 10 w 34"/>
                <a:gd name="T21" fmla="*/ 11 h 31"/>
                <a:gd name="T22" fmla="*/ 8 w 34"/>
                <a:gd name="T23" fmla="*/ 14 h 31"/>
                <a:gd name="T24" fmla="*/ 6 w 34"/>
                <a:gd name="T25" fmla="*/ 16 h 31"/>
                <a:gd name="T26" fmla="*/ 4 w 34"/>
                <a:gd name="T27" fmla="*/ 18 h 31"/>
                <a:gd name="T28" fmla="*/ 0 w 34"/>
                <a:gd name="T29" fmla="*/ 1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4" h="31">
                  <a:moveTo>
                    <a:pt x="0" y="18"/>
                  </a:moveTo>
                  <a:lnTo>
                    <a:pt x="8" y="22"/>
                  </a:lnTo>
                  <a:lnTo>
                    <a:pt x="17" y="26"/>
                  </a:lnTo>
                  <a:lnTo>
                    <a:pt x="27" y="30"/>
                  </a:lnTo>
                  <a:lnTo>
                    <a:pt x="34" y="31"/>
                  </a:lnTo>
                  <a:lnTo>
                    <a:pt x="33" y="24"/>
                  </a:lnTo>
                  <a:lnTo>
                    <a:pt x="30" y="15"/>
                  </a:lnTo>
                  <a:lnTo>
                    <a:pt x="26" y="6"/>
                  </a:lnTo>
                  <a:lnTo>
                    <a:pt x="20" y="0"/>
                  </a:lnTo>
                  <a:lnTo>
                    <a:pt x="16" y="5"/>
                  </a:lnTo>
                  <a:lnTo>
                    <a:pt x="10" y="11"/>
                  </a:lnTo>
                  <a:lnTo>
                    <a:pt x="8" y="14"/>
                  </a:lnTo>
                  <a:lnTo>
                    <a:pt x="6" y="16"/>
                  </a:lnTo>
                  <a:lnTo>
                    <a:pt x="4" y="18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45" name="Freeform 297"/>
            <p:cNvSpPr>
              <a:spLocks/>
            </p:cNvSpPr>
            <p:nvPr/>
          </p:nvSpPr>
          <p:spPr bwMode="auto">
            <a:xfrm>
              <a:off x="5139" y="2418"/>
              <a:ext cx="6" cy="12"/>
            </a:xfrm>
            <a:custGeom>
              <a:avLst/>
              <a:gdLst>
                <a:gd name="T0" fmla="*/ 0 w 20"/>
                <a:gd name="T1" fmla="*/ 6 h 37"/>
                <a:gd name="T2" fmla="*/ 0 w 20"/>
                <a:gd name="T3" fmla="*/ 37 h 37"/>
                <a:gd name="T4" fmla="*/ 7 w 20"/>
                <a:gd name="T5" fmla="*/ 33 h 37"/>
                <a:gd name="T6" fmla="*/ 20 w 20"/>
                <a:gd name="T7" fmla="*/ 30 h 37"/>
                <a:gd name="T8" fmla="*/ 20 w 20"/>
                <a:gd name="T9" fmla="*/ 0 h 37"/>
                <a:gd name="T10" fmla="*/ 0 w 20"/>
                <a:gd name="T11" fmla="*/ 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37">
                  <a:moveTo>
                    <a:pt x="0" y="6"/>
                  </a:moveTo>
                  <a:lnTo>
                    <a:pt x="0" y="37"/>
                  </a:lnTo>
                  <a:lnTo>
                    <a:pt x="7" y="33"/>
                  </a:lnTo>
                  <a:lnTo>
                    <a:pt x="20" y="30"/>
                  </a:lnTo>
                  <a:lnTo>
                    <a:pt x="20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46" name="Line 298"/>
            <p:cNvSpPr>
              <a:spLocks noChangeShapeType="1"/>
            </p:cNvSpPr>
            <p:nvPr/>
          </p:nvSpPr>
          <p:spPr bwMode="auto">
            <a:xfrm>
              <a:off x="5180" y="2449"/>
              <a:ext cx="1" cy="1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47" name="Freeform 299"/>
            <p:cNvSpPr>
              <a:spLocks/>
            </p:cNvSpPr>
            <p:nvPr/>
          </p:nvSpPr>
          <p:spPr bwMode="auto">
            <a:xfrm>
              <a:off x="5180" y="2453"/>
              <a:ext cx="4" cy="6"/>
            </a:xfrm>
            <a:custGeom>
              <a:avLst/>
              <a:gdLst>
                <a:gd name="T0" fmla="*/ 0 w 13"/>
                <a:gd name="T1" fmla="*/ 18 h 18"/>
                <a:gd name="T2" fmla="*/ 1 w 13"/>
                <a:gd name="T3" fmla="*/ 13 h 18"/>
                <a:gd name="T4" fmla="*/ 3 w 13"/>
                <a:gd name="T5" fmla="*/ 9 h 18"/>
                <a:gd name="T6" fmla="*/ 7 w 13"/>
                <a:gd name="T7" fmla="*/ 4 h 18"/>
                <a:gd name="T8" fmla="*/ 13 w 13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8">
                  <a:moveTo>
                    <a:pt x="0" y="18"/>
                  </a:moveTo>
                  <a:lnTo>
                    <a:pt x="1" y="13"/>
                  </a:lnTo>
                  <a:lnTo>
                    <a:pt x="3" y="9"/>
                  </a:lnTo>
                  <a:lnTo>
                    <a:pt x="7" y="4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48" name="Line 300"/>
            <p:cNvSpPr>
              <a:spLocks noChangeShapeType="1"/>
            </p:cNvSpPr>
            <p:nvPr/>
          </p:nvSpPr>
          <p:spPr bwMode="auto">
            <a:xfrm flipH="1" flipV="1">
              <a:off x="5178" y="2447"/>
              <a:ext cx="6" cy="6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49" name="Freeform 301"/>
            <p:cNvSpPr>
              <a:spLocks/>
            </p:cNvSpPr>
            <p:nvPr/>
          </p:nvSpPr>
          <p:spPr bwMode="auto">
            <a:xfrm>
              <a:off x="5116" y="2564"/>
              <a:ext cx="9" cy="10"/>
            </a:xfrm>
            <a:custGeom>
              <a:avLst/>
              <a:gdLst>
                <a:gd name="T0" fmla="*/ 0 w 27"/>
                <a:gd name="T1" fmla="*/ 0 h 31"/>
                <a:gd name="T2" fmla="*/ 20 w 27"/>
                <a:gd name="T3" fmla="*/ 31 h 31"/>
                <a:gd name="T4" fmla="*/ 27 w 27"/>
                <a:gd name="T5" fmla="*/ 1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31">
                  <a:moveTo>
                    <a:pt x="0" y="0"/>
                  </a:moveTo>
                  <a:lnTo>
                    <a:pt x="20" y="31"/>
                  </a:lnTo>
                  <a:lnTo>
                    <a:pt x="27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50" name="Freeform 302"/>
            <p:cNvSpPr>
              <a:spLocks/>
            </p:cNvSpPr>
            <p:nvPr/>
          </p:nvSpPr>
          <p:spPr bwMode="auto">
            <a:xfrm>
              <a:off x="5119" y="2568"/>
              <a:ext cx="6" cy="1"/>
            </a:xfrm>
            <a:custGeom>
              <a:avLst/>
              <a:gdLst>
                <a:gd name="T0" fmla="*/ 20 w 20"/>
                <a:gd name="T1" fmla="*/ 10 w 20"/>
                <a:gd name="T2" fmla="*/ 0 w 2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0">
                  <a:moveTo>
                    <a:pt x="20" y="0"/>
                  </a:move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51" name="Freeform 303"/>
            <p:cNvSpPr>
              <a:spLocks/>
            </p:cNvSpPr>
            <p:nvPr/>
          </p:nvSpPr>
          <p:spPr bwMode="auto">
            <a:xfrm>
              <a:off x="5127" y="2557"/>
              <a:ext cx="12" cy="5"/>
            </a:xfrm>
            <a:custGeom>
              <a:avLst/>
              <a:gdLst>
                <a:gd name="T0" fmla="*/ 0 w 34"/>
                <a:gd name="T1" fmla="*/ 13 h 13"/>
                <a:gd name="T2" fmla="*/ 6 w 34"/>
                <a:gd name="T3" fmla="*/ 13 h 13"/>
                <a:gd name="T4" fmla="*/ 10 w 34"/>
                <a:gd name="T5" fmla="*/ 11 h 13"/>
                <a:gd name="T6" fmla="*/ 16 w 34"/>
                <a:gd name="T7" fmla="*/ 10 h 13"/>
                <a:gd name="T8" fmla="*/ 20 w 34"/>
                <a:gd name="T9" fmla="*/ 7 h 13"/>
                <a:gd name="T10" fmla="*/ 28 w 34"/>
                <a:gd name="T11" fmla="*/ 2 h 13"/>
                <a:gd name="T12" fmla="*/ 34 w 34"/>
                <a:gd name="T13" fmla="*/ 0 h 13"/>
                <a:gd name="T14" fmla="*/ 25 w 34"/>
                <a:gd name="T15" fmla="*/ 0 h 13"/>
                <a:gd name="T16" fmla="*/ 15 w 34"/>
                <a:gd name="T1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13">
                  <a:moveTo>
                    <a:pt x="0" y="13"/>
                  </a:moveTo>
                  <a:lnTo>
                    <a:pt x="6" y="13"/>
                  </a:lnTo>
                  <a:lnTo>
                    <a:pt x="10" y="11"/>
                  </a:lnTo>
                  <a:lnTo>
                    <a:pt x="16" y="10"/>
                  </a:lnTo>
                  <a:lnTo>
                    <a:pt x="20" y="7"/>
                  </a:lnTo>
                  <a:lnTo>
                    <a:pt x="28" y="2"/>
                  </a:lnTo>
                  <a:lnTo>
                    <a:pt x="34" y="0"/>
                  </a:lnTo>
                  <a:lnTo>
                    <a:pt x="25" y="0"/>
                  </a:lnTo>
                  <a:lnTo>
                    <a:pt x="15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52" name="Freeform 304"/>
            <p:cNvSpPr>
              <a:spLocks/>
            </p:cNvSpPr>
            <p:nvPr/>
          </p:nvSpPr>
          <p:spPr bwMode="auto">
            <a:xfrm>
              <a:off x="5127" y="2547"/>
              <a:ext cx="12" cy="6"/>
            </a:xfrm>
            <a:custGeom>
              <a:avLst/>
              <a:gdLst>
                <a:gd name="T0" fmla="*/ 34 w 34"/>
                <a:gd name="T1" fmla="*/ 18 h 18"/>
                <a:gd name="T2" fmla="*/ 34 w 34"/>
                <a:gd name="T3" fmla="*/ 0 h 18"/>
                <a:gd name="T4" fmla="*/ 28 w 34"/>
                <a:gd name="T5" fmla="*/ 0 h 18"/>
                <a:gd name="T6" fmla="*/ 20 w 34"/>
                <a:gd name="T7" fmla="*/ 0 h 18"/>
                <a:gd name="T8" fmla="*/ 10 w 34"/>
                <a:gd name="T9" fmla="*/ 0 h 18"/>
                <a:gd name="T10" fmla="*/ 0 w 34"/>
                <a:gd name="T11" fmla="*/ 0 h 18"/>
                <a:gd name="T12" fmla="*/ 34 w 34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8">
                  <a:moveTo>
                    <a:pt x="34" y="18"/>
                  </a:moveTo>
                  <a:lnTo>
                    <a:pt x="34" y="0"/>
                  </a:lnTo>
                  <a:lnTo>
                    <a:pt x="28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34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53" name="Freeform 305"/>
            <p:cNvSpPr>
              <a:spLocks/>
            </p:cNvSpPr>
            <p:nvPr/>
          </p:nvSpPr>
          <p:spPr bwMode="auto">
            <a:xfrm>
              <a:off x="5141" y="2535"/>
              <a:ext cx="20" cy="8"/>
            </a:xfrm>
            <a:custGeom>
              <a:avLst/>
              <a:gdLst>
                <a:gd name="T0" fmla="*/ 53 w 59"/>
                <a:gd name="T1" fmla="*/ 25 h 25"/>
                <a:gd name="T2" fmla="*/ 56 w 59"/>
                <a:gd name="T3" fmla="*/ 12 h 25"/>
                <a:gd name="T4" fmla="*/ 59 w 59"/>
                <a:gd name="T5" fmla="*/ 0 h 25"/>
                <a:gd name="T6" fmla="*/ 44 w 59"/>
                <a:gd name="T7" fmla="*/ 0 h 25"/>
                <a:gd name="T8" fmla="*/ 27 w 59"/>
                <a:gd name="T9" fmla="*/ 0 h 25"/>
                <a:gd name="T10" fmla="*/ 19 w 59"/>
                <a:gd name="T11" fmla="*/ 1 h 25"/>
                <a:gd name="T12" fmla="*/ 12 w 59"/>
                <a:gd name="T13" fmla="*/ 2 h 25"/>
                <a:gd name="T14" fmla="*/ 5 w 59"/>
                <a:gd name="T15" fmla="*/ 4 h 25"/>
                <a:gd name="T16" fmla="*/ 0 w 59"/>
                <a:gd name="T17" fmla="*/ 6 h 25"/>
                <a:gd name="T18" fmla="*/ 13 w 59"/>
                <a:gd name="T19" fmla="*/ 14 h 25"/>
                <a:gd name="T20" fmla="*/ 26 w 59"/>
                <a:gd name="T21" fmla="*/ 20 h 25"/>
                <a:gd name="T22" fmla="*/ 33 w 59"/>
                <a:gd name="T23" fmla="*/ 22 h 25"/>
                <a:gd name="T24" fmla="*/ 38 w 59"/>
                <a:gd name="T25" fmla="*/ 24 h 25"/>
                <a:gd name="T26" fmla="*/ 46 w 59"/>
                <a:gd name="T27" fmla="*/ 25 h 25"/>
                <a:gd name="T28" fmla="*/ 53 w 59"/>
                <a:gd name="T2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9" h="25">
                  <a:moveTo>
                    <a:pt x="53" y="25"/>
                  </a:moveTo>
                  <a:lnTo>
                    <a:pt x="56" y="12"/>
                  </a:lnTo>
                  <a:lnTo>
                    <a:pt x="59" y="0"/>
                  </a:lnTo>
                  <a:lnTo>
                    <a:pt x="44" y="0"/>
                  </a:lnTo>
                  <a:lnTo>
                    <a:pt x="27" y="0"/>
                  </a:lnTo>
                  <a:lnTo>
                    <a:pt x="19" y="1"/>
                  </a:lnTo>
                  <a:lnTo>
                    <a:pt x="12" y="2"/>
                  </a:lnTo>
                  <a:lnTo>
                    <a:pt x="5" y="4"/>
                  </a:lnTo>
                  <a:lnTo>
                    <a:pt x="0" y="6"/>
                  </a:lnTo>
                  <a:lnTo>
                    <a:pt x="13" y="14"/>
                  </a:lnTo>
                  <a:lnTo>
                    <a:pt x="26" y="20"/>
                  </a:lnTo>
                  <a:lnTo>
                    <a:pt x="33" y="22"/>
                  </a:lnTo>
                  <a:lnTo>
                    <a:pt x="38" y="24"/>
                  </a:lnTo>
                  <a:lnTo>
                    <a:pt x="46" y="25"/>
                  </a:lnTo>
                  <a:lnTo>
                    <a:pt x="53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54" name="Line 306"/>
            <p:cNvSpPr>
              <a:spLocks noChangeShapeType="1"/>
            </p:cNvSpPr>
            <p:nvPr/>
          </p:nvSpPr>
          <p:spPr bwMode="auto">
            <a:xfrm flipV="1">
              <a:off x="5191" y="2516"/>
              <a:ext cx="6" cy="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2355" name="Freeform 307"/>
          <p:cNvSpPr>
            <a:spLocks/>
          </p:cNvSpPr>
          <p:nvPr>
            <p:custDataLst>
              <p:tags r:id="rId210"/>
            </p:custDataLst>
          </p:nvPr>
        </p:nvSpPr>
        <p:spPr bwMode="auto">
          <a:xfrm>
            <a:off x="8804275" y="3879851"/>
            <a:ext cx="14288" cy="55563"/>
          </a:xfrm>
          <a:custGeom>
            <a:avLst/>
            <a:gdLst>
              <a:gd name="T0" fmla="*/ 0 w 33"/>
              <a:gd name="T1" fmla="*/ 43 h 43"/>
              <a:gd name="T2" fmla="*/ 1 w 33"/>
              <a:gd name="T3" fmla="*/ 34 h 43"/>
              <a:gd name="T4" fmla="*/ 2 w 33"/>
              <a:gd name="T5" fmla="*/ 27 h 43"/>
              <a:gd name="T6" fmla="*/ 5 w 33"/>
              <a:gd name="T7" fmla="*/ 21 h 43"/>
              <a:gd name="T8" fmla="*/ 9 w 33"/>
              <a:gd name="T9" fmla="*/ 15 h 43"/>
              <a:gd name="T10" fmla="*/ 14 w 33"/>
              <a:gd name="T11" fmla="*/ 9 h 43"/>
              <a:gd name="T12" fmla="*/ 20 w 33"/>
              <a:gd name="T13" fmla="*/ 5 h 43"/>
              <a:gd name="T14" fmla="*/ 26 w 33"/>
              <a:gd name="T15" fmla="*/ 2 h 43"/>
              <a:gd name="T16" fmla="*/ 33 w 33"/>
              <a:gd name="T17" fmla="*/ 0 h 43"/>
              <a:gd name="T18" fmla="*/ 33 w 33"/>
              <a:gd name="T19" fmla="*/ 25 h 43"/>
              <a:gd name="T20" fmla="*/ 23 w 33"/>
              <a:gd name="T21" fmla="*/ 27 h 43"/>
              <a:gd name="T22" fmla="*/ 18 w 33"/>
              <a:gd name="T23" fmla="*/ 29 h 43"/>
              <a:gd name="T24" fmla="*/ 16 w 33"/>
              <a:gd name="T25" fmla="*/ 32 h 43"/>
              <a:gd name="T26" fmla="*/ 16 w 33"/>
              <a:gd name="T27" fmla="*/ 34 h 43"/>
              <a:gd name="T28" fmla="*/ 16 w 33"/>
              <a:gd name="T29" fmla="*/ 36 h 43"/>
              <a:gd name="T30" fmla="*/ 14 w 33"/>
              <a:gd name="T31" fmla="*/ 38 h 43"/>
              <a:gd name="T32" fmla="*/ 10 w 33"/>
              <a:gd name="T33" fmla="*/ 41 h 43"/>
              <a:gd name="T34" fmla="*/ 0 w 33"/>
              <a:gd name="T35" fmla="*/ 43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33" h="43">
                <a:moveTo>
                  <a:pt x="0" y="43"/>
                </a:moveTo>
                <a:lnTo>
                  <a:pt x="1" y="34"/>
                </a:lnTo>
                <a:lnTo>
                  <a:pt x="2" y="27"/>
                </a:lnTo>
                <a:lnTo>
                  <a:pt x="5" y="21"/>
                </a:lnTo>
                <a:lnTo>
                  <a:pt x="9" y="15"/>
                </a:lnTo>
                <a:lnTo>
                  <a:pt x="14" y="9"/>
                </a:lnTo>
                <a:lnTo>
                  <a:pt x="20" y="5"/>
                </a:lnTo>
                <a:lnTo>
                  <a:pt x="26" y="2"/>
                </a:lnTo>
                <a:lnTo>
                  <a:pt x="33" y="0"/>
                </a:lnTo>
                <a:lnTo>
                  <a:pt x="33" y="25"/>
                </a:lnTo>
                <a:lnTo>
                  <a:pt x="23" y="27"/>
                </a:lnTo>
                <a:lnTo>
                  <a:pt x="18" y="29"/>
                </a:lnTo>
                <a:lnTo>
                  <a:pt x="16" y="32"/>
                </a:lnTo>
                <a:lnTo>
                  <a:pt x="16" y="34"/>
                </a:lnTo>
                <a:lnTo>
                  <a:pt x="16" y="36"/>
                </a:lnTo>
                <a:lnTo>
                  <a:pt x="14" y="38"/>
                </a:lnTo>
                <a:lnTo>
                  <a:pt x="10" y="41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56" name="Freeform 308"/>
          <p:cNvSpPr>
            <a:spLocks/>
          </p:cNvSpPr>
          <p:nvPr>
            <p:custDataLst>
              <p:tags r:id="rId211"/>
            </p:custDataLst>
          </p:nvPr>
        </p:nvSpPr>
        <p:spPr bwMode="auto">
          <a:xfrm>
            <a:off x="8880476" y="3819525"/>
            <a:ext cx="22225" cy="58738"/>
          </a:xfrm>
          <a:custGeom>
            <a:avLst/>
            <a:gdLst>
              <a:gd name="T0" fmla="*/ 0 w 54"/>
              <a:gd name="T1" fmla="*/ 55 h 92"/>
              <a:gd name="T2" fmla="*/ 1 w 54"/>
              <a:gd name="T3" fmla="*/ 51 h 92"/>
              <a:gd name="T4" fmla="*/ 2 w 54"/>
              <a:gd name="T5" fmla="*/ 46 h 92"/>
              <a:gd name="T6" fmla="*/ 3 w 54"/>
              <a:gd name="T7" fmla="*/ 42 h 92"/>
              <a:gd name="T8" fmla="*/ 6 w 54"/>
              <a:gd name="T9" fmla="*/ 37 h 92"/>
              <a:gd name="T10" fmla="*/ 11 w 54"/>
              <a:gd name="T11" fmla="*/ 29 h 92"/>
              <a:gd name="T12" fmla="*/ 18 w 54"/>
              <a:gd name="T13" fmla="*/ 21 h 92"/>
              <a:gd name="T14" fmla="*/ 31 w 54"/>
              <a:gd name="T15" fmla="*/ 7 h 92"/>
              <a:gd name="T16" fmla="*/ 41 w 54"/>
              <a:gd name="T17" fmla="*/ 0 h 92"/>
              <a:gd name="T18" fmla="*/ 54 w 54"/>
              <a:gd name="T19" fmla="*/ 12 h 92"/>
              <a:gd name="T20" fmla="*/ 51 w 54"/>
              <a:gd name="T21" fmla="*/ 21 h 92"/>
              <a:gd name="T22" fmla="*/ 47 w 54"/>
              <a:gd name="T23" fmla="*/ 29 h 92"/>
              <a:gd name="T24" fmla="*/ 44 w 54"/>
              <a:gd name="T25" fmla="*/ 35 h 92"/>
              <a:gd name="T26" fmla="*/ 41 w 54"/>
              <a:gd name="T27" fmla="*/ 41 h 92"/>
              <a:gd name="T28" fmla="*/ 33 w 54"/>
              <a:gd name="T29" fmla="*/ 49 h 92"/>
              <a:gd name="T30" fmla="*/ 28 w 54"/>
              <a:gd name="T31" fmla="*/ 55 h 92"/>
              <a:gd name="T32" fmla="*/ 26 w 54"/>
              <a:gd name="T33" fmla="*/ 64 h 92"/>
              <a:gd name="T34" fmla="*/ 26 w 54"/>
              <a:gd name="T35" fmla="*/ 74 h 92"/>
              <a:gd name="T36" fmla="*/ 24 w 54"/>
              <a:gd name="T37" fmla="*/ 83 h 92"/>
              <a:gd name="T38" fmla="*/ 20 w 54"/>
              <a:gd name="T39" fmla="*/ 92 h 92"/>
              <a:gd name="T40" fmla="*/ 14 w 54"/>
              <a:gd name="T41" fmla="*/ 83 h 92"/>
              <a:gd name="T42" fmla="*/ 8 w 54"/>
              <a:gd name="T43" fmla="*/ 74 h 92"/>
              <a:gd name="T44" fmla="*/ 5 w 54"/>
              <a:gd name="T45" fmla="*/ 70 h 92"/>
              <a:gd name="T46" fmla="*/ 2 w 54"/>
              <a:gd name="T47" fmla="*/ 64 h 92"/>
              <a:gd name="T48" fmla="*/ 1 w 54"/>
              <a:gd name="T49" fmla="*/ 60 h 92"/>
              <a:gd name="T50" fmla="*/ 0 w 54"/>
              <a:gd name="T51" fmla="*/ 55 h 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54" h="92">
                <a:moveTo>
                  <a:pt x="0" y="55"/>
                </a:moveTo>
                <a:lnTo>
                  <a:pt x="1" y="51"/>
                </a:lnTo>
                <a:lnTo>
                  <a:pt x="2" y="46"/>
                </a:lnTo>
                <a:lnTo>
                  <a:pt x="3" y="42"/>
                </a:lnTo>
                <a:lnTo>
                  <a:pt x="6" y="37"/>
                </a:lnTo>
                <a:lnTo>
                  <a:pt x="11" y="29"/>
                </a:lnTo>
                <a:lnTo>
                  <a:pt x="18" y="21"/>
                </a:lnTo>
                <a:lnTo>
                  <a:pt x="31" y="7"/>
                </a:lnTo>
                <a:lnTo>
                  <a:pt x="41" y="0"/>
                </a:lnTo>
                <a:lnTo>
                  <a:pt x="54" y="12"/>
                </a:lnTo>
                <a:lnTo>
                  <a:pt x="51" y="21"/>
                </a:lnTo>
                <a:lnTo>
                  <a:pt x="47" y="29"/>
                </a:lnTo>
                <a:lnTo>
                  <a:pt x="44" y="35"/>
                </a:lnTo>
                <a:lnTo>
                  <a:pt x="41" y="41"/>
                </a:lnTo>
                <a:lnTo>
                  <a:pt x="33" y="49"/>
                </a:lnTo>
                <a:lnTo>
                  <a:pt x="28" y="55"/>
                </a:lnTo>
                <a:lnTo>
                  <a:pt x="26" y="64"/>
                </a:lnTo>
                <a:lnTo>
                  <a:pt x="26" y="74"/>
                </a:lnTo>
                <a:lnTo>
                  <a:pt x="24" y="83"/>
                </a:lnTo>
                <a:lnTo>
                  <a:pt x="20" y="92"/>
                </a:lnTo>
                <a:lnTo>
                  <a:pt x="14" y="83"/>
                </a:lnTo>
                <a:lnTo>
                  <a:pt x="8" y="74"/>
                </a:lnTo>
                <a:lnTo>
                  <a:pt x="5" y="70"/>
                </a:lnTo>
                <a:lnTo>
                  <a:pt x="2" y="64"/>
                </a:lnTo>
                <a:lnTo>
                  <a:pt x="1" y="60"/>
                </a:lnTo>
                <a:lnTo>
                  <a:pt x="0" y="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57" name="Freeform 309"/>
          <p:cNvSpPr>
            <a:spLocks/>
          </p:cNvSpPr>
          <p:nvPr>
            <p:custDataLst>
              <p:tags r:id="rId212"/>
            </p:custDataLst>
          </p:nvPr>
        </p:nvSpPr>
        <p:spPr bwMode="auto">
          <a:xfrm>
            <a:off x="8928101" y="3698875"/>
            <a:ext cx="23813" cy="57150"/>
          </a:xfrm>
          <a:custGeom>
            <a:avLst/>
            <a:gdLst>
              <a:gd name="T0" fmla="*/ 0 w 60"/>
              <a:gd name="T1" fmla="*/ 0 h 18"/>
              <a:gd name="T2" fmla="*/ 19 w 60"/>
              <a:gd name="T3" fmla="*/ 4 h 18"/>
              <a:gd name="T4" fmla="*/ 37 w 60"/>
              <a:gd name="T5" fmla="*/ 9 h 18"/>
              <a:gd name="T6" fmla="*/ 45 w 60"/>
              <a:gd name="T7" fmla="*/ 11 h 18"/>
              <a:gd name="T8" fmla="*/ 51 w 60"/>
              <a:gd name="T9" fmla="*/ 13 h 18"/>
              <a:gd name="T10" fmla="*/ 56 w 60"/>
              <a:gd name="T11" fmla="*/ 16 h 18"/>
              <a:gd name="T12" fmla="*/ 60 w 60"/>
              <a:gd name="T13" fmla="*/ 18 h 18"/>
              <a:gd name="T14" fmla="*/ 38 w 60"/>
              <a:gd name="T15" fmla="*/ 18 h 18"/>
              <a:gd name="T16" fmla="*/ 23 w 60"/>
              <a:gd name="T17" fmla="*/ 18 h 18"/>
              <a:gd name="T18" fmla="*/ 10 w 60"/>
              <a:gd name="T19" fmla="*/ 18 h 18"/>
              <a:gd name="T20" fmla="*/ 0 w 60"/>
              <a:gd name="T21" fmla="*/ 18 h 18"/>
              <a:gd name="T22" fmla="*/ 0 w 60"/>
              <a:gd name="T23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0" h="18">
                <a:moveTo>
                  <a:pt x="0" y="0"/>
                </a:moveTo>
                <a:lnTo>
                  <a:pt x="19" y="4"/>
                </a:lnTo>
                <a:lnTo>
                  <a:pt x="37" y="9"/>
                </a:lnTo>
                <a:lnTo>
                  <a:pt x="45" y="11"/>
                </a:lnTo>
                <a:lnTo>
                  <a:pt x="51" y="13"/>
                </a:lnTo>
                <a:lnTo>
                  <a:pt x="56" y="16"/>
                </a:lnTo>
                <a:lnTo>
                  <a:pt x="60" y="18"/>
                </a:lnTo>
                <a:lnTo>
                  <a:pt x="38" y="18"/>
                </a:lnTo>
                <a:lnTo>
                  <a:pt x="23" y="18"/>
                </a:lnTo>
                <a:lnTo>
                  <a:pt x="10" y="18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58" name="Freeform 310"/>
          <p:cNvSpPr>
            <a:spLocks/>
          </p:cNvSpPr>
          <p:nvPr>
            <p:custDataLst>
              <p:tags r:id="rId213"/>
            </p:custDataLst>
          </p:nvPr>
        </p:nvSpPr>
        <p:spPr bwMode="auto">
          <a:xfrm>
            <a:off x="8912225" y="3668713"/>
            <a:ext cx="25400" cy="57150"/>
          </a:xfrm>
          <a:custGeom>
            <a:avLst/>
            <a:gdLst>
              <a:gd name="T0" fmla="*/ 0 w 66"/>
              <a:gd name="T1" fmla="*/ 18 h 18"/>
              <a:gd name="T2" fmla="*/ 66 w 66"/>
              <a:gd name="T3" fmla="*/ 18 h 18"/>
              <a:gd name="T4" fmla="*/ 52 w 66"/>
              <a:gd name="T5" fmla="*/ 13 h 18"/>
              <a:gd name="T6" fmla="*/ 40 w 66"/>
              <a:gd name="T7" fmla="*/ 7 h 18"/>
              <a:gd name="T8" fmla="*/ 35 w 66"/>
              <a:gd name="T9" fmla="*/ 4 h 18"/>
              <a:gd name="T10" fmla="*/ 29 w 66"/>
              <a:gd name="T11" fmla="*/ 2 h 18"/>
              <a:gd name="T12" fmla="*/ 25 w 66"/>
              <a:gd name="T13" fmla="*/ 1 h 18"/>
              <a:gd name="T14" fmla="*/ 19 w 66"/>
              <a:gd name="T15" fmla="*/ 0 h 18"/>
              <a:gd name="T16" fmla="*/ 0 w 66"/>
              <a:gd name="T17" fmla="*/ 18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6" h="18">
                <a:moveTo>
                  <a:pt x="0" y="18"/>
                </a:moveTo>
                <a:lnTo>
                  <a:pt x="66" y="18"/>
                </a:lnTo>
                <a:lnTo>
                  <a:pt x="52" y="13"/>
                </a:lnTo>
                <a:lnTo>
                  <a:pt x="40" y="7"/>
                </a:lnTo>
                <a:lnTo>
                  <a:pt x="35" y="4"/>
                </a:lnTo>
                <a:lnTo>
                  <a:pt x="29" y="2"/>
                </a:lnTo>
                <a:lnTo>
                  <a:pt x="25" y="1"/>
                </a:lnTo>
                <a:lnTo>
                  <a:pt x="19" y="0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59" name="Freeform 311"/>
          <p:cNvSpPr>
            <a:spLocks/>
          </p:cNvSpPr>
          <p:nvPr>
            <p:custDataLst>
              <p:tags r:id="rId214"/>
            </p:custDataLst>
          </p:nvPr>
        </p:nvSpPr>
        <p:spPr bwMode="auto">
          <a:xfrm>
            <a:off x="8737600" y="3565525"/>
            <a:ext cx="7938" cy="57150"/>
          </a:xfrm>
          <a:custGeom>
            <a:avLst/>
            <a:gdLst>
              <a:gd name="T0" fmla="*/ 0 w 17"/>
              <a:gd name="T1" fmla="*/ 36 h 42"/>
              <a:gd name="T2" fmla="*/ 13 w 17"/>
              <a:gd name="T3" fmla="*/ 42 h 42"/>
              <a:gd name="T4" fmla="*/ 14 w 17"/>
              <a:gd name="T5" fmla="*/ 33 h 42"/>
              <a:gd name="T6" fmla="*/ 16 w 17"/>
              <a:gd name="T7" fmla="*/ 23 h 42"/>
              <a:gd name="T8" fmla="*/ 17 w 17"/>
              <a:gd name="T9" fmla="*/ 18 h 42"/>
              <a:gd name="T10" fmla="*/ 16 w 17"/>
              <a:gd name="T11" fmla="*/ 12 h 42"/>
              <a:gd name="T12" fmla="*/ 16 w 17"/>
              <a:gd name="T13" fmla="*/ 6 h 42"/>
              <a:gd name="T14" fmla="*/ 13 w 17"/>
              <a:gd name="T15" fmla="*/ 0 h 42"/>
              <a:gd name="T16" fmla="*/ 0 w 17"/>
              <a:gd name="T17" fmla="*/ 36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7" h="42">
                <a:moveTo>
                  <a:pt x="0" y="36"/>
                </a:moveTo>
                <a:lnTo>
                  <a:pt x="13" y="42"/>
                </a:lnTo>
                <a:lnTo>
                  <a:pt x="14" y="33"/>
                </a:lnTo>
                <a:lnTo>
                  <a:pt x="16" y="23"/>
                </a:lnTo>
                <a:lnTo>
                  <a:pt x="17" y="18"/>
                </a:lnTo>
                <a:lnTo>
                  <a:pt x="16" y="12"/>
                </a:lnTo>
                <a:lnTo>
                  <a:pt x="16" y="6"/>
                </a:lnTo>
                <a:lnTo>
                  <a:pt x="13" y="0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60" name="Freeform 312"/>
          <p:cNvSpPr>
            <a:spLocks/>
          </p:cNvSpPr>
          <p:nvPr>
            <p:custDataLst>
              <p:tags r:id="rId215"/>
            </p:custDataLst>
          </p:nvPr>
        </p:nvSpPr>
        <p:spPr bwMode="auto">
          <a:xfrm>
            <a:off x="8664576" y="3700464"/>
            <a:ext cx="30163" cy="58737"/>
          </a:xfrm>
          <a:custGeom>
            <a:avLst/>
            <a:gdLst>
              <a:gd name="T0" fmla="*/ 6 w 72"/>
              <a:gd name="T1" fmla="*/ 29 h 29"/>
              <a:gd name="T2" fmla="*/ 15 w 72"/>
              <a:gd name="T3" fmla="*/ 26 h 29"/>
              <a:gd name="T4" fmla="*/ 24 w 72"/>
              <a:gd name="T5" fmla="*/ 24 h 29"/>
              <a:gd name="T6" fmla="*/ 32 w 72"/>
              <a:gd name="T7" fmla="*/ 24 h 29"/>
              <a:gd name="T8" fmla="*/ 39 w 72"/>
              <a:gd name="T9" fmla="*/ 24 h 29"/>
              <a:gd name="T10" fmla="*/ 55 w 72"/>
              <a:gd name="T11" fmla="*/ 27 h 29"/>
              <a:gd name="T12" fmla="*/ 72 w 72"/>
              <a:gd name="T13" fmla="*/ 29 h 29"/>
              <a:gd name="T14" fmla="*/ 72 w 72"/>
              <a:gd name="T15" fmla="*/ 4 h 29"/>
              <a:gd name="T16" fmla="*/ 58 w 72"/>
              <a:gd name="T17" fmla="*/ 1 h 29"/>
              <a:gd name="T18" fmla="*/ 47 w 72"/>
              <a:gd name="T19" fmla="*/ 0 h 29"/>
              <a:gd name="T20" fmla="*/ 39 w 72"/>
              <a:gd name="T21" fmla="*/ 0 h 29"/>
              <a:gd name="T22" fmla="*/ 34 w 72"/>
              <a:gd name="T23" fmla="*/ 2 h 29"/>
              <a:gd name="T24" fmla="*/ 27 w 72"/>
              <a:gd name="T25" fmla="*/ 3 h 29"/>
              <a:gd name="T26" fmla="*/ 21 w 72"/>
              <a:gd name="T27" fmla="*/ 5 h 29"/>
              <a:gd name="T28" fmla="*/ 12 w 72"/>
              <a:gd name="T29" fmla="*/ 5 h 29"/>
              <a:gd name="T30" fmla="*/ 0 w 72"/>
              <a:gd name="T31" fmla="*/ 4 h 29"/>
              <a:gd name="T32" fmla="*/ 3 w 72"/>
              <a:gd name="T33" fmla="*/ 16 h 29"/>
              <a:gd name="T34" fmla="*/ 6 w 72"/>
              <a:gd name="T35" fmla="*/ 29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2" h="29">
                <a:moveTo>
                  <a:pt x="6" y="29"/>
                </a:moveTo>
                <a:lnTo>
                  <a:pt x="15" y="26"/>
                </a:lnTo>
                <a:lnTo>
                  <a:pt x="24" y="24"/>
                </a:lnTo>
                <a:lnTo>
                  <a:pt x="32" y="24"/>
                </a:lnTo>
                <a:lnTo>
                  <a:pt x="39" y="24"/>
                </a:lnTo>
                <a:lnTo>
                  <a:pt x="55" y="27"/>
                </a:lnTo>
                <a:lnTo>
                  <a:pt x="72" y="29"/>
                </a:lnTo>
                <a:lnTo>
                  <a:pt x="72" y="4"/>
                </a:lnTo>
                <a:lnTo>
                  <a:pt x="58" y="1"/>
                </a:lnTo>
                <a:lnTo>
                  <a:pt x="47" y="0"/>
                </a:lnTo>
                <a:lnTo>
                  <a:pt x="39" y="0"/>
                </a:lnTo>
                <a:lnTo>
                  <a:pt x="34" y="2"/>
                </a:lnTo>
                <a:lnTo>
                  <a:pt x="27" y="3"/>
                </a:lnTo>
                <a:lnTo>
                  <a:pt x="21" y="5"/>
                </a:lnTo>
                <a:lnTo>
                  <a:pt x="12" y="5"/>
                </a:lnTo>
                <a:lnTo>
                  <a:pt x="0" y="4"/>
                </a:lnTo>
                <a:lnTo>
                  <a:pt x="3" y="16"/>
                </a:lnTo>
                <a:lnTo>
                  <a:pt x="6" y="2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61" name="Freeform 313"/>
          <p:cNvSpPr>
            <a:spLocks/>
          </p:cNvSpPr>
          <p:nvPr>
            <p:custDataLst>
              <p:tags r:id="rId216"/>
            </p:custDataLst>
          </p:nvPr>
        </p:nvSpPr>
        <p:spPr bwMode="auto">
          <a:xfrm>
            <a:off x="8672513" y="3886201"/>
            <a:ext cx="19050" cy="55563"/>
          </a:xfrm>
          <a:custGeom>
            <a:avLst/>
            <a:gdLst>
              <a:gd name="T0" fmla="*/ 0 w 46"/>
              <a:gd name="T1" fmla="*/ 0 h 37"/>
              <a:gd name="T2" fmla="*/ 9 w 46"/>
              <a:gd name="T3" fmla="*/ 9 h 37"/>
              <a:gd name="T4" fmla="*/ 20 w 46"/>
              <a:gd name="T5" fmla="*/ 15 h 37"/>
              <a:gd name="T6" fmla="*/ 31 w 46"/>
              <a:gd name="T7" fmla="*/ 20 h 37"/>
              <a:gd name="T8" fmla="*/ 46 w 46"/>
              <a:gd name="T9" fmla="*/ 25 h 37"/>
              <a:gd name="T10" fmla="*/ 37 w 46"/>
              <a:gd name="T11" fmla="*/ 29 h 37"/>
              <a:gd name="T12" fmla="*/ 29 w 46"/>
              <a:gd name="T13" fmla="*/ 33 h 37"/>
              <a:gd name="T14" fmla="*/ 21 w 46"/>
              <a:gd name="T15" fmla="*/ 36 h 37"/>
              <a:gd name="T16" fmla="*/ 13 w 46"/>
              <a:gd name="T17" fmla="*/ 37 h 37"/>
              <a:gd name="T18" fmla="*/ 9 w 46"/>
              <a:gd name="T19" fmla="*/ 36 h 37"/>
              <a:gd name="T20" fmla="*/ 7 w 46"/>
              <a:gd name="T21" fmla="*/ 33 h 37"/>
              <a:gd name="T22" fmla="*/ 5 w 46"/>
              <a:gd name="T23" fmla="*/ 29 h 37"/>
              <a:gd name="T24" fmla="*/ 3 w 46"/>
              <a:gd name="T25" fmla="*/ 23 h 37"/>
              <a:gd name="T26" fmla="*/ 1 w 46"/>
              <a:gd name="T27" fmla="*/ 12 h 37"/>
              <a:gd name="T28" fmla="*/ 0 w 46"/>
              <a:gd name="T29" fmla="*/ 0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46" h="37">
                <a:moveTo>
                  <a:pt x="0" y="0"/>
                </a:moveTo>
                <a:lnTo>
                  <a:pt x="9" y="9"/>
                </a:lnTo>
                <a:lnTo>
                  <a:pt x="20" y="15"/>
                </a:lnTo>
                <a:lnTo>
                  <a:pt x="31" y="20"/>
                </a:lnTo>
                <a:lnTo>
                  <a:pt x="46" y="25"/>
                </a:lnTo>
                <a:lnTo>
                  <a:pt x="37" y="29"/>
                </a:lnTo>
                <a:lnTo>
                  <a:pt x="29" y="33"/>
                </a:lnTo>
                <a:lnTo>
                  <a:pt x="21" y="36"/>
                </a:lnTo>
                <a:lnTo>
                  <a:pt x="13" y="37"/>
                </a:lnTo>
                <a:lnTo>
                  <a:pt x="9" y="36"/>
                </a:lnTo>
                <a:lnTo>
                  <a:pt x="7" y="33"/>
                </a:lnTo>
                <a:lnTo>
                  <a:pt x="5" y="29"/>
                </a:lnTo>
                <a:lnTo>
                  <a:pt x="3" y="23"/>
                </a:lnTo>
                <a:lnTo>
                  <a:pt x="1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62" name="Freeform 314"/>
          <p:cNvSpPr>
            <a:spLocks/>
          </p:cNvSpPr>
          <p:nvPr>
            <p:custDataLst>
              <p:tags r:id="rId217"/>
            </p:custDataLst>
          </p:nvPr>
        </p:nvSpPr>
        <p:spPr bwMode="auto">
          <a:xfrm>
            <a:off x="8785226" y="3705225"/>
            <a:ext cx="11113" cy="57150"/>
          </a:xfrm>
          <a:custGeom>
            <a:avLst/>
            <a:gdLst>
              <a:gd name="T0" fmla="*/ 0 w 26"/>
              <a:gd name="T1" fmla="*/ 0 h 19"/>
              <a:gd name="T2" fmla="*/ 26 w 26"/>
              <a:gd name="T3" fmla="*/ 19 h 19"/>
              <a:gd name="T4" fmla="*/ 26 w 26"/>
              <a:gd name="T5" fmla="*/ 9 h 19"/>
              <a:gd name="T6" fmla="*/ 26 w 26"/>
              <a:gd name="T7" fmla="*/ 0 h 19"/>
              <a:gd name="T8" fmla="*/ 15 w 26"/>
              <a:gd name="T9" fmla="*/ 0 h 19"/>
              <a:gd name="T10" fmla="*/ 0 w 26"/>
              <a:gd name="T11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" h="19">
                <a:moveTo>
                  <a:pt x="0" y="0"/>
                </a:moveTo>
                <a:lnTo>
                  <a:pt x="26" y="19"/>
                </a:lnTo>
                <a:lnTo>
                  <a:pt x="26" y="9"/>
                </a:lnTo>
                <a:lnTo>
                  <a:pt x="26" y="0"/>
                </a:lnTo>
                <a:lnTo>
                  <a:pt x="15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63" name="Freeform 315"/>
          <p:cNvSpPr>
            <a:spLocks/>
          </p:cNvSpPr>
          <p:nvPr>
            <p:custDataLst>
              <p:tags r:id="rId218"/>
            </p:custDataLst>
          </p:nvPr>
        </p:nvSpPr>
        <p:spPr bwMode="auto">
          <a:xfrm>
            <a:off x="8645525" y="3700464"/>
            <a:ext cx="19050" cy="58737"/>
          </a:xfrm>
          <a:custGeom>
            <a:avLst/>
            <a:gdLst>
              <a:gd name="T0" fmla="*/ 2 w 43"/>
              <a:gd name="T1" fmla="*/ 0 h 31"/>
              <a:gd name="T2" fmla="*/ 1 w 43"/>
              <a:gd name="T3" fmla="*/ 12 h 31"/>
              <a:gd name="T4" fmla="*/ 0 w 43"/>
              <a:gd name="T5" fmla="*/ 23 h 31"/>
              <a:gd name="T6" fmla="*/ 0 w 43"/>
              <a:gd name="T7" fmla="*/ 26 h 31"/>
              <a:gd name="T8" fmla="*/ 0 w 43"/>
              <a:gd name="T9" fmla="*/ 29 h 31"/>
              <a:gd name="T10" fmla="*/ 0 w 43"/>
              <a:gd name="T11" fmla="*/ 31 h 31"/>
              <a:gd name="T12" fmla="*/ 2 w 43"/>
              <a:gd name="T13" fmla="*/ 31 h 31"/>
              <a:gd name="T14" fmla="*/ 13 w 43"/>
              <a:gd name="T15" fmla="*/ 22 h 31"/>
              <a:gd name="T16" fmla="*/ 25 w 43"/>
              <a:gd name="T17" fmla="*/ 13 h 31"/>
              <a:gd name="T18" fmla="*/ 35 w 43"/>
              <a:gd name="T19" fmla="*/ 5 h 31"/>
              <a:gd name="T20" fmla="*/ 43 w 43"/>
              <a:gd name="T21" fmla="*/ 0 h 31"/>
              <a:gd name="T22" fmla="*/ 2 w 43"/>
              <a:gd name="T23" fmla="*/ 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3" h="31">
                <a:moveTo>
                  <a:pt x="2" y="0"/>
                </a:moveTo>
                <a:lnTo>
                  <a:pt x="1" y="12"/>
                </a:lnTo>
                <a:lnTo>
                  <a:pt x="0" y="23"/>
                </a:lnTo>
                <a:lnTo>
                  <a:pt x="0" y="26"/>
                </a:lnTo>
                <a:lnTo>
                  <a:pt x="0" y="29"/>
                </a:lnTo>
                <a:lnTo>
                  <a:pt x="0" y="31"/>
                </a:lnTo>
                <a:lnTo>
                  <a:pt x="2" y="31"/>
                </a:lnTo>
                <a:lnTo>
                  <a:pt x="13" y="22"/>
                </a:lnTo>
                <a:lnTo>
                  <a:pt x="25" y="13"/>
                </a:lnTo>
                <a:lnTo>
                  <a:pt x="35" y="5"/>
                </a:lnTo>
                <a:lnTo>
                  <a:pt x="43" y="0"/>
                </a:lnTo>
                <a:lnTo>
                  <a:pt x="2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64" name="Freeform 316"/>
          <p:cNvSpPr>
            <a:spLocks/>
          </p:cNvSpPr>
          <p:nvPr>
            <p:custDataLst>
              <p:tags r:id="rId219"/>
            </p:custDataLst>
          </p:nvPr>
        </p:nvSpPr>
        <p:spPr bwMode="auto">
          <a:xfrm>
            <a:off x="8689976" y="3748088"/>
            <a:ext cx="30163" cy="57150"/>
          </a:xfrm>
          <a:custGeom>
            <a:avLst/>
            <a:gdLst>
              <a:gd name="T0" fmla="*/ 4 w 71"/>
              <a:gd name="T1" fmla="*/ 12 h 49"/>
              <a:gd name="T2" fmla="*/ 4 w 71"/>
              <a:gd name="T3" fmla="*/ 18 h 49"/>
              <a:gd name="T4" fmla="*/ 5 w 71"/>
              <a:gd name="T5" fmla="*/ 25 h 49"/>
              <a:gd name="T6" fmla="*/ 7 w 71"/>
              <a:gd name="T7" fmla="*/ 31 h 49"/>
              <a:gd name="T8" fmla="*/ 9 w 71"/>
              <a:gd name="T9" fmla="*/ 37 h 49"/>
              <a:gd name="T10" fmla="*/ 14 w 71"/>
              <a:gd name="T11" fmla="*/ 41 h 49"/>
              <a:gd name="T12" fmla="*/ 18 w 71"/>
              <a:gd name="T13" fmla="*/ 46 h 49"/>
              <a:gd name="T14" fmla="*/ 23 w 71"/>
              <a:gd name="T15" fmla="*/ 48 h 49"/>
              <a:gd name="T16" fmla="*/ 30 w 71"/>
              <a:gd name="T17" fmla="*/ 49 h 49"/>
              <a:gd name="T18" fmla="*/ 35 w 71"/>
              <a:gd name="T19" fmla="*/ 48 h 49"/>
              <a:gd name="T20" fmla="*/ 40 w 71"/>
              <a:gd name="T21" fmla="*/ 46 h 49"/>
              <a:gd name="T22" fmla="*/ 45 w 71"/>
              <a:gd name="T23" fmla="*/ 42 h 49"/>
              <a:gd name="T24" fmla="*/ 50 w 71"/>
              <a:gd name="T25" fmla="*/ 37 h 49"/>
              <a:gd name="T26" fmla="*/ 60 w 71"/>
              <a:gd name="T27" fmla="*/ 28 h 49"/>
              <a:gd name="T28" fmla="*/ 71 w 71"/>
              <a:gd name="T29" fmla="*/ 18 h 49"/>
              <a:gd name="T30" fmla="*/ 61 w 71"/>
              <a:gd name="T31" fmla="*/ 12 h 49"/>
              <a:gd name="T32" fmla="*/ 52 w 71"/>
              <a:gd name="T33" fmla="*/ 9 h 49"/>
              <a:gd name="T34" fmla="*/ 44 w 71"/>
              <a:gd name="T35" fmla="*/ 7 h 49"/>
              <a:gd name="T36" fmla="*/ 37 w 71"/>
              <a:gd name="T37" fmla="*/ 6 h 49"/>
              <a:gd name="T38" fmla="*/ 29 w 71"/>
              <a:gd name="T39" fmla="*/ 6 h 49"/>
              <a:gd name="T40" fmla="*/ 21 w 71"/>
              <a:gd name="T41" fmla="*/ 5 h 49"/>
              <a:gd name="T42" fmla="*/ 14 w 71"/>
              <a:gd name="T43" fmla="*/ 3 h 49"/>
              <a:gd name="T44" fmla="*/ 4 w 71"/>
              <a:gd name="T45" fmla="*/ 0 h 49"/>
              <a:gd name="T46" fmla="*/ 3 w 71"/>
              <a:gd name="T47" fmla="*/ 1 h 49"/>
              <a:gd name="T48" fmla="*/ 1 w 71"/>
              <a:gd name="T49" fmla="*/ 6 h 49"/>
              <a:gd name="T50" fmla="*/ 0 w 71"/>
              <a:gd name="T51" fmla="*/ 8 h 49"/>
              <a:gd name="T52" fmla="*/ 0 w 71"/>
              <a:gd name="T53" fmla="*/ 10 h 49"/>
              <a:gd name="T54" fmla="*/ 1 w 71"/>
              <a:gd name="T55" fmla="*/ 11 h 49"/>
              <a:gd name="T56" fmla="*/ 4 w 71"/>
              <a:gd name="T57" fmla="*/ 12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71" h="49">
                <a:moveTo>
                  <a:pt x="4" y="12"/>
                </a:moveTo>
                <a:lnTo>
                  <a:pt x="4" y="18"/>
                </a:lnTo>
                <a:lnTo>
                  <a:pt x="5" y="25"/>
                </a:lnTo>
                <a:lnTo>
                  <a:pt x="7" y="31"/>
                </a:lnTo>
                <a:lnTo>
                  <a:pt x="9" y="37"/>
                </a:lnTo>
                <a:lnTo>
                  <a:pt x="14" y="41"/>
                </a:lnTo>
                <a:lnTo>
                  <a:pt x="18" y="46"/>
                </a:lnTo>
                <a:lnTo>
                  <a:pt x="23" y="48"/>
                </a:lnTo>
                <a:lnTo>
                  <a:pt x="30" y="49"/>
                </a:lnTo>
                <a:lnTo>
                  <a:pt x="35" y="48"/>
                </a:lnTo>
                <a:lnTo>
                  <a:pt x="40" y="46"/>
                </a:lnTo>
                <a:lnTo>
                  <a:pt x="45" y="42"/>
                </a:lnTo>
                <a:lnTo>
                  <a:pt x="50" y="37"/>
                </a:lnTo>
                <a:lnTo>
                  <a:pt x="60" y="28"/>
                </a:lnTo>
                <a:lnTo>
                  <a:pt x="71" y="18"/>
                </a:lnTo>
                <a:lnTo>
                  <a:pt x="61" y="12"/>
                </a:lnTo>
                <a:lnTo>
                  <a:pt x="52" y="9"/>
                </a:lnTo>
                <a:lnTo>
                  <a:pt x="44" y="7"/>
                </a:lnTo>
                <a:lnTo>
                  <a:pt x="37" y="6"/>
                </a:lnTo>
                <a:lnTo>
                  <a:pt x="29" y="6"/>
                </a:lnTo>
                <a:lnTo>
                  <a:pt x="21" y="5"/>
                </a:lnTo>
                <a:lnTo>
                  <a:pt x="14" y="3"/>
                </a:lnTo>
                <a:lnTo>
                  <a:pt x="4" y="0"/>
                </a:lnTo>
                <a:lnTo>
                  <a:pt x="3" y="1"/>
                </a:lnTo>
                <a:lnTo>
                  <a:pt x="1" y="6"/>
                </a:lnTo>
                <a:lnTo>
                  <a:pt x="0" y="8"/>
                </a:lnTo>
                <a:lnTo>
                  <a:pt x="0" y="10"/>
                </a:lnTo>
                <a:lnTo>
                  <a:pt x="1" y="11"/>
                </a:lnTo>
                <a:lnTo>
                  <a:pt x="4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65" name="Freeform 317"/>
          <p:cNvSpPr>
            <a:spLocks/>
          </p:cNvSpPr>
          <p:nvPr>
            <p:custDataLst>
              <p:tags r:id="rId220"/>
            </p:custDataLst>
          </p:nvPr>
        </p:nvSpPr>
        <p:spPr bwMode="auto">
          <a:xfrm>
            <a:off x="8491539" y="3951289"/>
            <a:ext cx="46037" cy="58737"/>
          </a:xfrm>
          <a:custGeom>
            <a:avLst/>
            <a:gdLst>
              <a:gd name="T0" fmla="*/ 46 w 112"/>
              <a:gd name="T1" fmla="*/ 2 h 26"/>
              <a:gd name="T2" fmla="*/ 56 w 112"/>
              <a:gd name="T3" fmla="*/ 2 h 26"/>
              <a:gd name="T4" fmla="*/ 66 w 112"/>
              <a:gd name="T5" fmla="*/ 3 h 26"/>
              <a:gd name="T6" fmla="*/ 74 w 112"/>
              <a:gd name="T7" fmla="*/ 4 h 26"/>
              <a:gd name="T8" fmla="*/ 84 w 112"/>
              <a:gd name="T9" fmla="*/ 6 h 26"/>
              <a:gd name="T10" fmla="*/ 92 w 112"/>
              <a:gd name="T11" fmla="*/ 9 h 26"/>
              <a:gd name="T12" fmla="*/ 100 w 112"/>
              <a:gd name="T13" fmla="*/ 12 h 26"/>
              <a:gd name="T14" fmla="*/ 106 w 112"/>
              <a:gd name="T15" fmla="*/ 16 h 26"/>
              <a:gd name="T16" fmla="*/ 112 w 112"/>
              <a:gd name="T17" fmla="*/ 20 h 26"/>
              <a:gd name="T18" fmla="*/ 110 w 112"/>
              <a:gd name="T19" fmla="*/ 22 h 26"/>
              <a:gd name="T20" fmla="*/ 105 w 112"/>
              <a:gd name="T21" fmla="*/ 23 h 26"/>
              <a:gd name="T22" fmla="*/ 101 w 112"/>
              <a:gd name="T23" fmla="*/ 25 h 26"/>
              <a:gd name="T24" fmla="*/ 95 w 112"/>
              <a:gd name="T25" fmla="*/ 25 h 26"/>
              <a:gd name="T26" fmla="*/ 87 w 112"/>
              <a:gd name="T27" fmla="*/ 26 h 26"/>
              <a:gd name="T28" fmla="*/ 79 w 112"/>
              <a:gd name="T29" fmla="*/ 26 h 26"/>
              <a:gd name="T30" fmla="*/ 66 w 112"/>
              <a:gd name="T31" fmla="*/ 24 h 26"/>
              <a:gd name="T32" fmla="*/ 41 w 112"/>
              <a:gd name="T33" fmla="*/ 19 h 26"/>
              <a:gd name="T34" fmla="*/ 16 w 112"/>
              <a:gd name="T35" fmla="*/ 13 h 26"/>
              <a:gd name="T36" fmla="*/ 0 w 112"/>
              <a:gd name="T37" fmla="*/ 8 h 26"/>
              <a:gd name="T38" fmla="*/ 5 w 112"/>
              <a:gd name="T39" fmla="*/ 4 h 26"/>
              <a:gd name="T40" fmla="*/ 11 w 112"/>
              <a:gd name="T41" fmla="*/ 2 h 26"/>
              <a:gd name="T42" fmla="*/ 18 w 112"/>
              <a:gd name="T43" fmla="*/ 1 h 26"/>
              <a:gd name="T44" fmla="*/ 25 w 112"/>
              <a:gd name="T45" fmla="*/ 0 h 26"/>
              <a:gd name="T46" fmla="*/ 37 w 112"/>
              <a:gd name="T47" fmla="*/ 1 h 26"/>
              <a:gd name="T48" fmla="*/ 46 w 112"/>
              <a:gd name="T49" fmla="*/ 2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12" h="26">
                <a:moveTo>
                  <a:pt x="46" y="2"/>
                </a:moveTo>
                <a:lnTo>
                  <a:pt x="56" y="2"/>
                </a:lnTo>
                <a:lnTo>
                  <a:pt x="66" y="3"/>
                </a:lnTo>
                <a:lnTo>
                  <a:pt x="74" y="4"/>
                </a:lnTo>
                <a:lnTo>
                  <a:pt x="84" y="6"/>
                </a:lnTo>
                <a:lnTo>
                  <a:pt x="92" y="9"/>
                </a:lnTo>
                <a:lnTo>
                  <a:pt x="100" y="12"/>
                </a:lnTo>
                <a:lnTo>
                  <a:pt x="106" y="16"/>
                </a:lnTo>
                <a:lnTo>
                  <a:pt x="112" y="20"/>
                </a:lnTo>
                <a:lnTo>
                  <a:pt x="110" y="22"/>
                </a:lnTo>
                <a:lnTo>
                  <a:pt x="105" y="23"/>
                </a:lnTo>
                <a:lnTo>
                  <a:pt x="101" y="25"/>
                </a:lnTo>
                <a:lnTo>
                  <a:pt x="95" y="25"/>
                </a:lnTo>
                <a:lnTo>
                  <a:pt x="87" y="26"/>
                </a:lnTo>
                <a:lnTo>
                  <a:pt x="79" y="26"/>
                </a:lnTo>
                <a:lnTo>
                  <a:pt x="66" y="24"/>
                </a:lnTo>
                <a:lnTo>
                  <a:pt x="41" y="19"/>
                </a:lnTo>
                <a:lnTo>
                  <a:pt x="16" y="13"/>
                </a:lnTo>
                <a:lnTo>
                  <a:pt x="0" y="8"/>
                </a:lnTo>
                <a:lnTo>
                  <a:pt x="5" y="4"/>
                </a:lnTo>
                <a:lnTo>
                  <a:pt x="11" y="2"/>
                </a:lnTo>
                <a:lnTo>
                  <a:pt x="18" y="1"/>
                </a:lnTo>
                <a:lnTo>
                  <a:pt x="25" y="0"/>
                </a:lnTo>
                <a:lnTo>
                  <a:pt x="37" y="1"/>
                </a:lnTo>
                <a:lnTo>
                  <a:pt x="46" y="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66" name="Freeform 318"/>
          <p:cNvSpPr>
            <a:spLocks/>
          </p:cNvSpPr>
          <p:nvPr>
            <p:custDataLst>
              <p:tags r:id="rId221"/>
            </p:custDataLst>
          </p:nvPr>
        </p:nvSpPr>
        <p:spPr bwMode="auto">
          <a:xfrm>
            <a:off x="8589964" y="3989389"/>
            <a:ext cx="14287" cy="58737"/>
          </a:xfrm>
          <a:custGeom>
            <a:avLst/>
            <a:gdLst>
              <a:gd name="T0" fmla="*/ 0 w 41"/>
              <a:gd name="T1" fmla="*/ 0 h 25"/>
              <a:gd name="T2" fmla="*/ 41 w 41"/>
              <a:gd name="T3" fmla="*/ 0 h 25"/>
              <a:gd name="T4" fmla="*/ 28 w 41"/>
              <a:gd name="T5" fmla="*/ 8 h 25"/>
              <a:gd name="T6" fmla="*/ 18 w 41"/>
              <a:gd name="T7" fmla="*/ 15 h 25"/>
              <a:gd name="T8" fmla="*/ 9 w 41"/>
              <a:gd name="T9" fmla="*/ 20 h 25"/>
              <a:gd name="T10" fmla="*/ 0 w 41"/>
              <a:gd name="T11" fmla="*/ 25 h 25"/>
              <a:gd name="T12" fmla="*/ 0 w 41"/>
              <a:gd name="T13" fmla="*/ 0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1" h="25">
                <a:moveTo>
                  <a:pt x="0" y="0"/>
                </a:moveTo>
                <a:lnTo>
                  <a:pt x="41" y="0"/>
                </a:lnTo>
                <a:lnTo>
                  <a:pt x="28" y="8"/>
                </a:lnTo>
                <a:lnTo>
                  <a:pt x="18" y="15"/>
                </a:lnTo>
                <a:lnTo>
                  <a:pt x="9" y="20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67" name="Freeform 319"/>
          <p:cNvSpPr>
            <a:spLocks/>
          </p:cNvSpPr>
          <p:nvPr>
            <p:custDataLst>
              <p:tags r:id="rId222"/>
            </p:custDataLst>
          </p:nvPr>
        </p:nvSpPr>
        <p:spPr bwMode="auto">
          <a:xfrm>
            <a:off x="8423276" y="3921126"/>
            <a:ext cx="36513" cy="55563"/>
          </a:xfrm>
          <a:custGeom>
            <a:avLst/>
            <a:gdLst>
              <a:gd name="T0" fmla="*/ 0 w 81"/>
              <a:gd name="T1" fmla="*/ 31 h 31"/>
              <a:gd name="T2" fmla="*/ 0 w 81"/>
              <a:gd name="T3" fmla="*/ 22 h 31"/>
              <a:gd name="T4" fmla="*/ 0 w 81"/>
              <a:gd name="T5" fmla="*/ 13 h 31"/>
              <a:gd name="T6" fmla="*/ 0 w 81"/>
              <a:gd name="T7" fmla="*/ 10 h 31"/>
              <a:gd name="T8" fmla="*/ 2 w 81"/>
              <a:gd name="T9" fmla="*/ 8 h 31"/>
              <a:gd name="T10" fmla="*/ 3 w 81"/>
              <a:gd name="T11" fmla="*/ 6 h 31"/>
              <a:gd name="T12" fmla="*/ 4 w 81"/>
              <a:gd name="T13" fmla="*/ 4 h 31"/>
              <a:gd name="T14" fmla="*/ 8 w 81"/>
              <a:gd name="T15" fmla="*/ 2 h 31"/>
              <a:gd name="T16" fmla="*/ 14 w 81"/>
              <a:gd name="T17" fmla="*/ 0 h 31"/>
              <a:gd name="T18" fmla="*/ 26 w 81"/>
              <a:gd name="T19" fmla="*/ 1 h 31"/>
              <a:gd name="T20" fmla="*/ 41 w 81"/>
              <a:gd name="T21" fmla="*/ 1 h 31"/>
              <a:gd name="T22" fmla="*/ 56 w 81"/>
              <a:gd name="T23" fmla="*/ 1 h 31"/>
              <a:gd name="T24" fmla="*/ 65 w 81"/>
              <a:gd name="T25" fmla="*/ 1 h 31"/>
              <a:gd name="T26" fmla="*/ 73 w 81"/>
              <a:gd name="T27" fmla="*/ 1 h 31"/>
              <a:gd name="T28" fmla="*/ 81 w 81"/>
              <a:gd name="T29" fmla="*/ 1 h 31"/>
              <a:gd name="T30" fmla="*/ 73 w 81"/>
              <a:gd name="T31" fmla="*/ 6 h 31"/>
              <a:gd name="T32" fmla="*/ 67 w 81"/>
              <a:gd name="T33" fmla="*/ 10 h 31"/>
              <a:gd name="T34" fmla="*/ 64 w 81"/>
              <a:gd name="T35" fmla="*/ 14 h 31"/>
              <a:gd name="T36" fmla="*/ 62 w 81"/>
              <a:gd name="T37" fmla="*/ 18 h 31"/>
              <a:gd name="T38" fmla="*/ 59 w 81"/>
              <a:gd name="T39" fmla="*/ 21 h 31"/>
              <a:gd name="T40" fmla="*/ 54 w 81"/>
              <a:gd name="T41" fmla="*/ 23 h 31"/>
              <a:gd name="T42" fmla="*/ 47 w 81"/>
              <a:gd name="T43" fmla="*/ 25 h 31"/>
              <a:gd name="T44" fmla="*/ 34 w 81"/>
              <a:gd name="T45" fmla="*/ 25 h 31"/>
              <a:gd name="T46" fmla="*/ 0 w 81"/>
              <a:gd name="T47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81" h="31">
                <a:moveTo>
                  <a:pt x="0" y="31"/>
                </a:moveTo>
                <a:lnTo>
                  <a:pt x="0" y="22"/>
                </a:lnTo>
                <a:lnTo>
                  <a:pt x="0" y="13"/>
                </a:lnTo>
                <a:lnTo>
                  <a:pt x="0" y="10"/>
                </a:lnTo>
                <a:lnTo>
                  <a:pt x="2" y="8"/>
                </a:lnTo>
                <a:lnTo>
                  <a:pt x="3" y="6"/>
                </a:lnTo>
                <a:lnTo>
                  <a:pt x="4" y="4"/>
                </a:lnTo>
                <a:lnTo>
                  <a:pt x="8" y="2"/>
                </a:lnTo>
                <a:lnTo>
                  <a:pt x="14" y="0"/>
                </a:lnTo>
                <a:lnTo>
                  <a:pt x="26" y="1"/>
                </a:lnTo>
                <a:lnTo>
                  <a:pt x="41" y="1"/>
                </a:lnTo>
                <a:lnTo>
                  <a:pt x="56" y="1"/>
                </a:lnTo>
                <a:lnTo>
                  <a:pt x="65" y="1"/>
                </a:lnTo>
                <a:lnTo>
                  <a:pt x="73" y="1"/>
                </a:lnTo>
                <a:lnTo>
                  <a:pt x="81" y="1"/>
                </a:lnTo>
                <a:lnTo>
                  <a:pt x="73" y="6"/>
                </a:lnTo>
                <a:lnTo>
                  <a:pt x="67" y="10"/>
                </a:lnTo>
                <a:lnTo>
                  <a:pt x="64" y="14"/>
                </a:lnTo>
                <a:lnTo>
                  <a:pt x="62" y="18"/>
                </a:lnTo>
                <a:lnTo>
                  <a:pt x="59" y="21"/>
                </a:lnTo>
                <a:lnTo>
                  <a:pt x="54" y="23"/>
                </a:lnTo>
                <a:lnTo>
                  <a:pt x="47" y="25"/>
                </a:lnTo>
                <a:lnTo>
                  <a:pt x="34" y="25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68" name="Freeform 320"/>
          <p:cNvSpPr>
            <a:spLocks/>
          </p:cNvSpPr>
          <p:nvPr>
            <p:custDataLst>
              <p:tags r:id="rId223"/>
            </p:custDataLst>
          </p:nvPr>
        </p:nvSpPr>
        <p:spPr bwMode="auto">
          <a:xfrm>
            <a:off x="8467725" y="3906838"/>
            <a:ext cx="39688" cy="55562"/>
          </a:xfrm>
          <a:custGeom>
            <a:avLst/>
            <a:gdLst>
              <a:gd name="T0" fmla="*/ 2 w 89"/>
              <a:gd name="T1" fmla="*/ 49 h 49"/>
              <a:gd name="T2" fmla="*/ 89 w 89"/>
              <a:gd name="T3" fmla="*/ 49 h 49"/>
              <a:gd name="T4" fmla="*/ 78 w 89"/>
              <a:gd name="T5" fmla="*/ 41 h 49"/>
              <a:gd name="T6" fmla="*/ 68 w 89"/>
              <a:gd name="T7" fmla="*/ 35 h 49"/>
              <a:gd name="T8" fmla="*/ 57 w 89"/>
              <a:gd name="T9" fmla="*/ 30 h 49"/>
              <a:gd name="T10" fmla="*/ 46 w 89"/>
              <a:gd name="T11" fmla="*/ 25 h 49"/>
              <a:gd name="T12" fmla="*/ 36 w 89"/>
              <a:gd name="T13" fmla="*/ 21 h 49"/>
              <a:gd name="T14" fmla="*/ 26 w 89"/>
              <a:gd name="T15" fmla="*/ 14 h 49"/>
              <a:gd name="T16" fmla="*/ 16 w 89"/>
              <a:gd name="T17" fmla="*/ 8 h 49"/>
              <a:gd name="T18" fmla="*/ 9 w 89"/>
              <a:gd name="T19" fmla="*/ 0 h 49"/>
              <a:gd name="T20" fmla="*/ 4 w 89"/>
              <a:gd name="T21" fmla="*/ 10 h 49"/>
              <a:gd name="T22" fmla="*/ 1 w 89"/>
              <a:gd name="T23" fmla="*/ 23 h 49"/>
              <a:gd name="T24" fmla="*/ 0 w 89"/>
              <a:gd name="T25" fmla="*/ 29 h 49"/>
              <a:gd name="T26" fmla="*/ 0 w 89"/>
              <a:gd name="T27" fmla="*/ 36 h 49"/>
              <a:gd name="T28" fmla="*/ 0 w 89"/>
              <a:gd name="T29" fmla="*/ 43 h 49"/>
              <a:gd name="T30" fmla="*/ 2 w 89"/>
              <a:gd name="T31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9" h="49">
                <a:moveTo>
                  <a:pt x="2" y="49"/>
                </a:moveTo>
                <a:lnTo>
                  <a:pt x="89" y="49"/>
                </a:lnTo>
                <a:lnTo>
                  <a:pt x="78" y="41"/>
                </a:lnTo>
                <a:lnTo>
                  <a:pt x="68" y="35"/>
                </a:lnTo>
                <a:lnTo>
                  <a:pt x="57" y="30"/>
                </a:lnTo>
                <a:lnTo>
                  <a:pt x="46" y="25"/>
                </a:lnTo>
                <a:lnTo>
                  <a:pt x="36" y="21"/>
                </a:lnTo>
                <a:lnTo>
                  <a:pt x="26" y="14"/>
                </a:lnTo>
                <a:lnTo>
                  <a:pt x="16" y="8"/>
                </a:lnTo>
                <a:lnTo>
                  <a:pt x="9" y="0"/>
                </a:lnTo>
                <a:lnTo>
                  <a:pt x="4" y="10"/>
                </a:lnTo>
                <a:lnTo>
                  <a:pt x="1" y="23"/>
                </a:lnTo>
                <a:lnTo>
                  <a:pt x="0" y="29"/>
                </a:lnTo>
                <a:lnTo>
                  <a:pt x="0" y="36"/>
                </a:lnTo>
                <a:lnTo>
                  <a:pt x="0" y="43"/>
                </a:lnTo>
                <a:lnTo>
                  <a:pt x="2" y="4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69" name="Freeform 321"/>
          <p:cNvSpPr>
            <a:spLocks/>
          </p:cNvSpPr>
          <p:nvPr>
            <p:custDataLst>
              <p:tags r:id="rId224"/>
            </p:custDataLst>
          </p:nvPr>
        </p:nvSpPr>
        <p:spPr bwMode="auto">
          <a:xfrm>
            <a:off x="8520113" y="3916364"/>
            <a:ext cx="36512" cy="58737"/>
          </a:xfrm>
          <a:custGeom>
            <a:avLst/>
            <a:gdLst>
              <a:gd name="T0" fmla="*/ 0 w 86"/>
              <a:gd name="T1" fmla="*/ 21 h 46"/>
              <a:gd name="T2" fmla="*/ 14 w 86"/>
              <a:gd name="T3" fmla="*/ 26 h 46"/>
              <a:gd name="T4" fmla="*/ 25 w 86"/>
              <a:gd name="T5" fmla="*/ 29 h 46"/>
              <a:gd name="T6" fmla="*/ 30 w 86"/>
              <a:gd name="T7" fmla="*/ 30 h 46"/>
              <a:gd name="T8" fmla="*/ 36 w 86"/>
              <a:gd name="T9" fmla="*/ 30 h 46"/>
              <a:gd name="T10" fmla="*/ 41 w 86"/>
              <a:gd name="T11" fmla="*/ 29 h 46"/>
              <a:gd name="T12" fmla="*/ 46 w 86"/>
              <a:gd name="T13" fmla="*/ 27 h 46"/>
              <a:gd name="T14" fmla="*/ 46 w 86"/>
              <a:gd name="T15" fmla="*/ 36 h 46"/>
              <a:gd name="T16" fmla="*/ 46 w 86"/>
              <a:gd name="T17" fmla="*/ 46 h 46"/>
              <a:gd name="T18" fmla="*/ 56 w 86"/>
              <a:gd name="T19" fmla="*/ 45 h 46"/>
              <a:gd name="T20" fmla="*/ 67 w 86"/>
              <a:gd name="T21" fmla="*/ 43 h 46"/>
              <a:gd name="T22" fmla="*/ 77 w 86"/>
              <a:gd name="T23" fmla="*/ 40 h 46"/>
              <a:gd name="T24" fmla="*/ 86 w 86"/>
              <a:gd name="T25" fmla="*/ 40 h 46"/>
              <a:gd name="T26" fmla="*/ 83 w 86"/>
              <a:gd name="T27" fmla="*/ 32 h 46"/>
              <a:gd name="T28" fmla="*/ 80 w 86"/>
              <a:gd name="T29" fmla="*/ 25 h 46"/>
              <a:gd name="T30" fmla="*/ 74 w 86"/>
              <a:gd name="T31" fmla="*/ 19 h 46"/>
              <a:gd name="T32" fmla="*/ 70 w 86"/>
              <a:gd name="T33" fmla="*/ 14 h 46"/>
              <a:gd name="T34" fmla="*/ 64 w 86"/>
              <a:gd name="T35" fmla="*/ 9 h 46"/>
              <a:gd name="T36" fmla="*/ 58 w 86"/>
              <a:gd name="T37" fmla="*/ 6 h 46"/>
              <a:gd name="T38" fmla="*/ 51 w 86"/>
              <a:gd name="T39" fmla="*/ 3 h 46"/>
              <a:gd name="T40" fmla="*/ 46 w 86"/>
              <a:gd name="T41" fmla="*/ 1 h 46"/>
              <a:gd name="T42" fmla="*/ 39 w 86"/>
              <a:gd name="T43" fmla="*/ 0 h 46"/>
              <a:gd name="T44" fmla="*/ 33 w 86"/>
              <a:gd name="T45" fmla="*/ 0 h 46"/>
              <a:gd name="T46" fmla="*/ 26 w 86"/>
              <a:gd name="T47" fmla="*/ 1 h 46"/>
              <a:gd name="T48" fmla="*/ 19 w 86"/>
              <a:gd name="T49" fmla="*/ 3 h 46"/>
              <a:gd name="T50" fmla="*/ 14 w 86"/>
              <a:gd name="T51" fmla="*/ 6 h 46"/>
              <a:gd name="T52" fmla="*/ 8 w 86"/>
              <a:gd name="T53" fmla="*/ 10 h 46"/>
              <a:gd name="T54" fmla="*/ 4 w 86"/>
              <a:gd name="T55" fmla="*/ 15 h 46"/>
              <a:gd name="T56" fmla="*/ 0 w 86"/>
              <a:gd name="T57" fmla="*/ 21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" h="46">
                <a:moveTo>
                  <a:pt x="0" y="21"/>
                </a:moveTo>
                <a:lnTo>
                  <a:pt x="14" y="26"/>
                </a:lnTo>
                <a:lnTo>
                  <a:pt x="25" y="29"/>
                </a:lnTo>
                <a:lnTo>
                  <a:pt x="30" y="30"/>
                </a:lnTo>
                <a:lnTo>
                  <a:pt x="36" y="30"/>
                </a:lnTo>
                <a:lnTo>
                  <a:pt x="41" y="29"/>
                </a:lnTo>
                <a:lnTo>
                  <a:pt x="46" y="27"/>
                </a:lnTo>
                <a:lnTo>
                  <a:pt x="46" y="36"/>
                </a:lnTo>
                <a:lnTo>
                  <a:pt x="46" y="46"/>
                </a:lnTo>
                <a:lnTo>
                  <a:pt x="56" y="45"/>
                </a:lnTo>
                <a:lnTo>
                  <a:pt x="67" y="43"/>
                </a:lnTo>
                <a:lnTo>
                  <a:pt x="77" y="40"/>
                </a:lnTo>
                <a:lnTo>
                  <a:pt x="86" y="40"/>
                </a:lnTo>
                <a:lnTo>
                  <a:pt x="83" y="32"/>
                </a:lnTo>
                <a:lnTo>
                  <a:pt x="80" y="25"/>
                </a:lnTo>
                <a:lnTo>
                  <a:pt x="74" y="19"/>
                </a:lnTo>
                <a:lnTo>
                  <a:pt x="70" y="14"/>
                </a:lnTo>
                <a:lnTo>
                  <a:pt x="64" y="9"/>
                </a:lnTo>
                <a:lnTo>
                  <a:pt x="58" y="6"/>
                </a:lnTo>
                <a:lnTo>
                  <a:pt x="51" y="3"/>
                </a:lnTo>
                <a:lnTo>
                  <a:pt x="46" y="1"/>
                </a:lnTo>
                <a:lnTo>
                  <a:pt x="39" y="0"/>
                </a:lnTo>
                <a:lnTo>
                  <a:pt x="33" y="0"/>
                </a:lnTo>
                <a:lnTo>
                  <a:pt x="26" y="1"/>
                </a:lnTo>
                <a:lnTo>
                  <a:pt x="19" y="3"/>
                </a:lnTo>
                <a:lnTo>
                  <a:pt x="14" y="6"/>
                </a:lnTo>
                <a:lnTo>
                  <a:pt x="8" y="10"/>
                </a:lnTo>
                <a:lnTo>
                  <a:pt x="4" y="15"/>
                </a:lnTo>
                <a:lnTo>
                  <a:pt x="0" y="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70" name="Freeform 322"/>
          <p:cNvSpPr>
            <a:spLocks/>
          </p:cNvSpPr>
          <p:nvPr>
            <p:custDataLst>
              <p:tags r:id="rId225"/>
            </p:custDataLst>
          </p:nvPr>
        </p:nvSpPr>
        <p:spPr bwMode="auto">
          <a:xfrm>
            <a:off x="8572500" y="3921126"/>
            <a:ext cx="25400" cy="55563"/>
          </a:xfrm>
          <a:custGeom>
            <a:avLst/>
            <a:gdLst>
              <a:gd name="T0" fmla="*/ 0 w 59"/>
              <a:gd name="T1" fmla="*/ 0 h 18"/>
              <a:gd name="T2" fmla="*/ 0 w 59"/>
              <a:gd name="T3" fmla="*/ 18 h 18"/>
              <a:gd name="T4" fmla="*/ 39 w 59"/>
              <a:gd name="T5" fmla="*/ 18 h 18"/>
              <a:gd name="T6" fmla="*/ 59 w 59"/>
              <a:gd name="T7" fmla="*/ 6 h 18"/>
              <a:gd name="T8" fmla="*/ 51 w 59"/>
              <a:gd name="T9" fmla="*/ 5 h 18"/>
              <a:gd name="T10" fmla="*/ 45 w 59"/>
              <a:gd name="T11" fmla="*/ 4 h 18"/>
              <a:gd name="T12" fmla="*/ 37 w 59"/>
              <a:gd name="T13" fmla="*/ 5 h 18"/>
              <a:gd name="T14" fmla="*/ 29 w 59"/>
              <a:gd name="T15" fmla="*/ 6 h 18"/>
              <a:gd name="T16" fmla="*/ 22 w 59"/>
              <a:gd name="T17" fmla="*/ 6 h 18"/>
              <a:gd name="T18" fmla="*/ 14 w 59"/>
              <a:gd name="T19" fmla="*/ 5 h 18"/>
              <a:gd name="T20" fmla="*/ 7 w 59"/>
              <a:gd name="T21" fmla="*/ 4 h 18"/>
              <a:gd name="T22" fmla="*/ 0 w 59"/>
              <a:gd name="T23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59" h="18">
                <a:moveTo>
                  <a:pt x="0" y="0"/>
                </a:moveTo>
                <a:lnTo>
                  <a:pt x="0" y="18"/>
                </a:lnTo>
                <a:lnTo>
                  <a:pt x="39" y="18"/>
                </a:lnTo>
                <a:lnTo>
                  <a:pt x="59" y="6"/>
                </a:lnTo>
                <a:lnTo>
                  <a:pt x="51" y="5"/>
                </a:lnTo>
                <a:lnTo>
                  <a:pt x="45" y="4"/>
                </a:lnTo>
                <a:lnTo>
                  <a:pt x="37" y="5"/>
                </a:lnTo>
                <a:lnTo>
                  <a:pt x="29" y="6"/>
                </a:lnTo>
                <a:lnTo>
                  <a:pt x="22" y="6"/>
                </a:lnTo>
                <a:lnTo>
                  <a:pt x="14" y="5"/>
                </a:lnTo>
                <a:lnTo>
                  <a:pt x="7" y="4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71" name="Freeform 323"/>
          <p:cNvSpPr>
            <a:spLocks/>
          </p:cNvSpPr>
          <p:nvPr>
            <p:custDataLst>
              <p:tags r:id="rId226"/>
            </p:custDataLst>
          </p:nvPr>
        </p:nvSpPr>
        <p:spPr bwMode="auto">
          <a:xfrm>
            <a:off x="8645525" y="3913188"/>
            <a:ext cx="1588" cy="55562"/>
          </a:xfrm>
          <a:custGeom>
            <a:avLst/>
            <a:gdLst>
              <a:gd name="T0" fmla="*/ 4 w 4"/>
              <a:gd name="T1" fmla="*/ 19 h 19"/>
              <a:gd name="T2" fmla="*/ 4 w 4"/>
              <a:gd name="T3" fmla="*/ 0 h 19"/>
              <a:gd name="T4" fmla="*/ 2 w 4"/>
              <a:gd name="T5" fmla="*/ 1 h 19"/>
              <a:gd name="T6" fmla="*/ 1 w 4"/>
              <a:gd name="T7" fmla="*/ 3 h 19"/>
              <a:gd name="T8" fmla="*/ 0 w 4"/>
              <a:gd name="T9" fmla="*/ 6 h 19"/>
              <a:gd name="T10" fmla="*/ 0 w 4"/>
              <a:gd name="T11" fmla="*/ 10 h 19"/>
              <a:gd name="T12" fmla="*/ 0 w 4"/>
              <a:gd name="T13" fmla="*/ 14 h 19"/>
              <a:gd name="T14" fmla="*/ 1 w 4"/>
              <a:gd name="T15" fmla="*/ 16 h 19"/>
              <a:gd name="T16" fmla="*/ 2 w 4"/>
              <a:gd name="T17" fmla="*/ 19 h 19"/>
              <a:gd name="T18" fmla="*/ 4 w 4"/>
              <a:gd name="T19" fmla="*/ 19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" h="19">
                <a:moveTo>
                  <a:pt x="4" y="19"/>
                </a:moveTo>
                <a:lnTo>
                  <a:pt x="4" y="0"/>
                </a:lnTo>
                <a:lnTo>
                  <a:pt x="2" y="1"/>
                </a:lnTo>
                <a:lnTo>
                  <a:pt x="1" y="3"/>
                </a:lnTo>
                <a:lnTo>
                  <a:pt x="0" y="6"/>
                </a:lnTo>
                <a:lnTo>
                  <a:pt x="0" y="10"/>
                </a:lnTo>
                <a:lnTo>
                  <a:pt x="0" y="14"/>
                </a:lnTo>
                <a:lnTo>
                  <a:pt x="1" y="16"/>
                </a:lnTo>
                <a:lnTo>
                  <a:pt x="2" y="19"/>
                </a:lnTo>
                <a:lnTo>
                  <a:pt x="4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72" name="Freeform 324"/>
          <p:cNvSpPr>
            <a:spLocks/>
          </p:cNvSpPr>
          <p:nvPr>
            <p:custDataLst>
              <p:tags r:id="rId227"/>
            </p:custDataLst>
          </p:nvPr>
        </p:nvSpPr>
        <p:spPr bwMode="auto">
          <a:xfrm>
            <a:off x="8220075" y="3727450"/>
            <a:ext cx="20638" cy="58738"/>
          </a:xfrm>
          <a:custGeom>
            <a:avLst/>
            <a:gdLst>
              <a:gd name="T0" fmla="*/ 0 w 46"/>
              <a:gd name="T1" fmla="*/ 50 h 50"/>
              <a:gd name="T2" fmla="*/ 7 w 46"/>
              <a:gd name="T3" fmla="*/ 0 h 50"/>
              <a:gd name="T4" fmla="*/ 23 w 46"/>
              <a:gd name="T5" fmla="*/ 8 h 50"/>
              <a:gd name="T6" fmla="*/ 34 w 46"/>
              <a:gd name="T7" fmla="*/ 14 h 50"/>
              <a:gd name="T8" fmla="*/ 37 w 46"/>
              <a:gd name="T9" fmla="*/ 18 h 50"/>
              <a:gd name="T10" fmla="*/ 41 w 46"/>
              <a:gd name="T11" fmla="*/ 22 h 50"/>
              <a:gd name="T12" fmla="*/ 44 w 46"/>
              <a:gd name="T13" fmla="*/ 30 h 50"/>
              <a:gd name="T14" fmla="*/ 46 w 46"/>
              <a:gd name="T15" fmla="*/ 38 h 50"/>
              <a:gd name="T16" fmla="*/ 34 w 46"/>
              <a:gd name="T17" fmla="*/ 42 h 50"/>
              <a:gd name="T18" fmla="*/ 21 w 46"/>
              <a:gd name="T19" fmla="*/ 46 h 50"/>
              <a:gd name="T20" fmla="*/ 8 w 46"/>
              <a:gd name="T21" fmla="*/ 49 h 50"/>
              <a:gd name="T22" fmla="*/ 0 w 46"/>
              <a:gd name="T23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6" h="50">
                <a:moveTo>
                  <a:pt x="0" y="50"/>
                </a:moveTo>
                <a:lnTo>
                  <a:pt x="7" y="0"/>
                </a:lnTo>
                <a:lnTo>
                  <a:pt x="23" y="8"/>
                </a:lnTo>
                <a:lnTo>
                  <a:pt x="34" y="14"/>
                </a:lnTo>
                <a:lnTo>
                  <a:pt x="37" y="18"/>
                </a:lnTo>
                <a:lnTo>
                  <a:pt x="41" y="22"/>
                </a:lnTo>
                <a:lnTo>
                  <a:pt x="44" y="30"/>
                </a:lnTo>
                <a:lnTo>
                  <a:pt x="46" y="38"/>
                </a:lnTo>
                <a:lnTo>
                  <a:pt x="34" y="42"/>
                </a:lnTo>
                <a:lnTo>
                  <a:pt x="21" y="46"/>
                </a:lnTo>
                <a:lnTo>
                  <a:pt x="8" y="49"/>
                </a:lnTo>
                <a:lnTo>
                  <a:pt x="0" y="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73" name="Freeform 325"/>
          <p:cNvSpPr>
            <a:spLocks/>
          </p:cNvSpPr>
          <p:nvPr>
            <p:custDataLst>
              <p:tags r:id="rId228"/>
            </p:custDataLst>
          </p:nvPr>
        </p:nvSpPr>
        <p:spPr bwMode="auto">
          <a:xfrm>
            <a:off x="8166101" y="3700464"/>
            <a:ext cx="30163" cy="58737"/>
          </a:xfrm>
          <a:custGeom>
            <a:avLst/>
            <a:gdLst>
              <a:gd name="T0" fmla="*/ 0 w 66"/>
              <a:gd name="T1" fmla="*/ 0 h 80"/>
              <a:gd name="T2" fmla="*/ 10 w 66"/>
              <a:gd name="T3" fmla="*/ 0 h 80"/>
              <a:gd name="T4" fmla="*/ 18 w 66"/>
              <a:gd name="T5" fmla="*/ 0 h 80"/>
              <a:gd name="T6" fmla="*/ 26 w 66"/>
              <a:gd name="T7" fmla="*/ 0 h 80"/>
              <a:gd name="T8" fmla="*/ 33 w 66"/>
              <a:gd name="T9" fmla="*/ 0 h 80"/>
              <a:gd name="T10" fmla="*/ 33 w 66"/>
              <a:gd name="T11" fmla="*/ 7 h 80"/>
              <a:gd name="T12" fmla="*/ 34 w 66"/>
              <a:gd name="T13" fmla="*/ 14 h 80"/>
              <a:gd name="T14" fmla="*/ 36 w 66"/>
              <a:gd name="T15" fmla="*/ 21 h 80"/>
              <a:gd name="T16" fmla="*/ 38 w 66"/>
              <a:gd name="T17" fmla="*/ 27 h 80"/>
              <a:gd name="T18" fmla="*/ 44 w 66"/>
              <a:gd name="T19" fmla="*/ 36 h 80"/>
              <a:gd name="T20" fmla="*/ 49 w 66"/>
              <a:gd name="T21" fmla="*/ 45 h 80"/>
              <a:gd name="T22" fmla="*/ 56 w 66"/>
              <a:gd name="T23" fmla="*/ 52 h 80"/>
              <a:gd name="T24" fmla="*/ 61 w 66"/>
              <a:gd name="T25" fmla="*/ 60 h 80"/>
              <a:gd name="T26" fmla="*/ 62 w 66"/>
              <a:gd name="T27" fmla="*/ 65 h 80"/>
              <a:gd name="T28" fmla="*/ 65 w 66"/>
              <a:gd name="T29" fmla="*/ 69 h 80"/>
              <a:gd name="T30" fmla="*/ 66 w 66"/>
              <a:gd name="T31" fmla="*/ 75 h 80"/>
              <a:gd name="T32" fmla="*/ 66 w 66"/>
              <a:gd name="T33" fmla="*/ 80 h 80"/>
              <a:gd name="T34" fmla="*/ 0 w 66"/>
              <a:gd name="T35" fmla="*/ 18 h 80"/>
              <a:gd name="T36" fmla="*/ 0 w 66"/>
              <a:gd name="T37" fmla="*/ 0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6" h="80">
                <a:moveTo>
                  <a:pt x="0" y="0"/>
                </a:moveTo>
                <a:lnTo>
                  <a:pt x="10" y="0"/>
                </a:lnTo>
                <a:lnTo>
                  <a:pt x="18" y="0"/>
                </a:lnTo>
                <a:lnTo>
                  <a:pt x="26" y="0"/>
                </a:lnTo>
                <a:lnTo>
                  <a:pt x="33" y="0"/>
                </a:lnTo>
                <a:lnTo>
                  <a:pt x="33" y="7"/>
                </a:lnTo>
                <a:lnTo>
                  <a:pt x="34" y="14"/>
                </a:lnTo>
                <a:lnTo>
                  <a:pt x="36" y="21"/>
                </a:lnTo>
                <a:lnTo>
                  <a:pt x="38" y="27"/>
                </a:lnTo>
                <a:lnTo>
                  <a:pt x="44" y="36"/>
                </a:lnTo>
                <a:lnTo>
                  <a:pt x="49" y="45"/>
                </a:lnTo>
                <a:lnTo>
                  <a:pt x="56" y="52"/>
                </a:lnTo>
                <a:lnTo>
                  <a:pt x="61" y="60"/>
                </a:lnTo>
                <a:lnTo>
                  <a:pt x="62" y="65"/>
                </a:lnTo>
                <a:lnTo>
                  <a:pt x="65" y="69"/>
                </a:lnTo>
                <a:lnTo>
                  <a:pt x="66" y="75"/>
                </a:lnTo>
                <a:lnTo>
                  <a:pt x="66" y="80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74" name="Freeform 326"/>
          <p:cNvSpPr>
            <a:spLocks/>
          </p:cNvSpPr>
          <p:nvPr>
            <p:custDataLst>
              <p:tags r:id="rId229"/>
            </p:custDataLst>
          </p:nvPr>
        </p:nvSpPr>
        <p:spPr bwMode="auto">
          <a:xfrm>
            <a:off x="8001000" y="3684588"/>
            <a:ext cx="7938" cy="57150"/>
          </a:xfrm>
          <a:custGeom>
            <a:avLst/>
            <a:gdLst>
              <a:gd name="T0" fmla="*/ 20 w 20"/>
              <a:gd name="T1" fmla="*/ 48 h 48"/>
              <a:gd name="T2" fmla="*/ 20 w 20"/>
              <a:gd name="T3" fmla="*/ 39 h 48"/>
              <a:gd name="T4" fmla="*/ 19 w 20"/>
              <a:gd name="T5" fmla="*/ 32 h 48"/>
              <a:gd name="T6" fmla="*/ 16 w 20"/>
              <a:gd name="T7" fmla="*/ 25 h 48"/>
              <a:gd name="T8" fmla="*/ 14 w 20"/>
              <a:gd name="T9" fmla="*/ 19 h 48"/>
              <a:gd name="T10" fmla="*/ 12 w 20"/>
              <a:gd name="T11" fmla="*/ 14 h 48"/>
              <a:gd name="T12" fmla="*/ 9 w 20"/>
              <a:gd name="T13" fmla="*/ 9 h 48"/>
              <a:gd name="T14" fmla="*/ 4 w 20"/>
              <a:gd name="T15" fmla="*/ 4 h 48"/>
              <a:gd name="T16" fmla="*/ 0 w 20"/>
              <a:gd name="T17" fmla="*/ 0 h 48"/>
              <a:gd name="T18" fmla="*/ 0 w 20"/>
              <a:gd name="T19" fmla="*/ 8 h 48"/>
              <a:gd name="T20" fmla="*/ 2 w 20"/>
              <a:gd name="T21" fmla="*/ 17 h 48"/>
              <a:gd name="T22" fmla="*/ 4 w 20"/>
              <a:gd name="T23" fmla="*/ 24 h 48"/>
              <a:gd name="T24" fmla="*/ 8 w 20"/>
              <a:gd name="T25" fmla="*/ 31 h 48"/>
              <a:gd name="T26" fmla="*/ 14 w 20"/>
              <a:gd name="T27" fmla="*/ 41 h 48"/>
              <a:gd name="T28" fmla="*/ 20 w 20"/>
              <a:gd name="T29" fmla="*/ 48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0" h="48">
                <a:moveTo>
                  <a:pt x="20" y="48"/>
                </a:moveTo>
                <a:lnTo>
                  <a:pt x="20" y="39"/>
                </a:lnTo>
                <a:lnTo>
                  <a:pt x="19" y="32"/>
                </a:lnTo>
                <a:lnTo>
                  <a:pt x="16" y="25"/>
                </a:lnTo>
                <a:lnTo>
                  <a:pt x="14" y="19"/>
                </a:lnTo>
                <a:lnTo>
                  <a:pt x="12" y="14"/>
                </a:lnTo>
                <a:lnTo>
                  <a:pt x="9" y="9"/>
                </a:lnTo>
                <a:lnTo>
                  <a:pt x="4" y="4"/>
                </a:lnTo>
                <a:lnTo>
                  <a:pt x="0" y="0"/>
                </a:lnTo>
                <a:lnTo>
                  <a:pt x="0" y="8"/>
                </a:lnTo>
                <a:lnTo>
                  <a:pt x="2" y="17"/>
                </a:lnTo>
                <a:lnTo>
                  <a:pt x="4" y="24"/>
                </a:lnTo>
                <a:lnTo>
                  <a:pt x="8" y="31"/>
                </a:lnTo>
                <a:lnTo>
                  <a:pt x="14" y="41"/>
                </a:lnTo>
                <a:lnTo>
                  <a:pt x="20" y="4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75" name="Line 327" descr="Horizontal dunkel"/>
          <p:cNvSpPr>
            <a:spLocks noChangeShapeType="1"/>
          </p:cNvSpPr>
          <p:nvPr>
            <p:custDataLst>
              <p:tags r:id="rId230"/>
            </p:custDataLst>
          </p:nvPr>
        </p:nvSpPr>
        <p:spPr bwMode="auto">
          <a:xfrm>
            <a:off x="8026401" y="3721100"/>
            <a:ext cx="4763" cy="635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76" name="Freeform 328"/>
          <p:cNvSpPr>
            <a:spLocks/>
          </p:cNvSpPr>
          <p:nvPr>
            <p:custDataLst>
              <p:tags r:id="rId231"/>
            </p:custDataLst>
          </p:nvPr>
        </p:nvSpPr>
        <p:spPr bwMode="auto">
          <a:xfrm>
            <a:off x="8023225" y="3721100"/>
            <a:ext cx="7938" cy="57150"/>
          </a:xfrm>
          <a:custGeom>
            <a:avLst/>
            <a:gdLst>
              <a:gd name="T0" fmla="*/ 20 w 20"/>
              <a:gd name="T1" fmla="*/ 12 h 12"/>
              <a:gd name="T2" fmla="*/ 20 w 20"/>
              <a:gd name="T3" fmla="*/ 8 h 12"/>
              <a:gd name="T4" fmla="*/ 18 w 20"/>
              <a:gd name="T5" fmla="*/ 5 h 12"/>
              <a:gd name="T6" fmla="*/ 15 w 20"/>
              <a:gd name="T7" fmla="*/ 3 h 12"/>
              <a:gd name="T8" fmla="*/ 13 w 20"/>
              <a:gd name="T9" fmla="*/ 2 h 12"/>
              <a:gd name="T10" fmla="*/ 7 w 20"/>
              <a:gd name="T11" fmla="*/ 0 h 12"/>
              <a:gd name="T12" fmla="*/ 0 w 20"/>
              <a:gd name="T13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0" h="12">
                <a:moveTo>
                  <a:pt x="20" y="12"/>
                </a:moveTo>
                <a:lnTo>
                  <a:pt x="20" y="8"/>
                </a:lnTo>
                <a:lnTo>
                  <a:pt x="18" y="5"/>
                </a:lnTo>
                <a:lnTo>
                  <a:pt x="15" y="3"/>
                </a:lnTo>
                <a:lnTo>
                  <a:pt x="13" y="2"/>
                </a:ln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77" name="Freeform 329"/>
          <p:cNvSpPr>
            <a:spLocks/>
          </p:cNvSpPr>
          <p:nvPr>
            <p:custDataLst>
              <p:tags r:id="rId232"/>
            </p:custDataLst>
          </p:nvPr>
        </p:nvSpPr>
        <p:spPr bwMode="auto">
          <a:xfrm>
            <a:off x="7924801" y="3565525"/>
            <a:ext cx="22225" cy="57150"/>
          </a:xfrm>
          <a:custGeom>
            <a:avLst/>
            <a:gdLst>
              <a:gd name="T0" fmla="*/ 7 w 53"/>
              <a:gd name="T1" fmla="*/ 0 h 30"/>
              <a:gd name="T2" fmla="*/ 11 w 53"/>
              <a:gd name="T3" fmla="*/ 4 h 30"/>
              <a:gd name="T4" fmla="*/ 23 w 53"/>
              <a:gd name="T5" fmla="*/ 13 h 30"/>
              <a:gd name="T6" fmla="*/ 37 w 53"/>
              <a:gd name="T7" fmla="*/ 23 h 30"/>
              <a:gd name="T8" fmla="*/ 46 w 53"/>
              <a:gd name="T9" fmla="*/ 30 h 30"/>
              <a:gd name="T10" fmla="*/ 49 w 53"/>
              <a:gd name="T11" fmla="*/ 18 h 30"/>
              <a:gd name="T12" fmla="*/ 53 w 53"/>
              <a:gd name="T13" fmla="*/ 6 h 30"/>
              <a:gd name="T14" fmla="*/ 37 w 53"/>
              <a:gd name="T15" fmla="*/ 5 h 30"/>
              <a:gd name="T16" fmla="*/ 26 w 53"/>
              <a:gd name="T17" fmla="*/ 3 h 30"/>
              <a:gd name="T18" fmla="*/ 21 w 53"/>
              <a:gd name="T19" fmla="*/ 3 h 30"/>
              <a:gd name="T20" fmla="*/ 15 w 53"/>
              <a:gd name="T21" fmla="*/ 3 h 30"/>
              <a:gd name="T22" fmla="*/ 9 w 53"/>
              <a:gd name="T23" fmla="*/ 4 h 30"/>
              <a:gd name="T24" fmla="*/ 0 w 53"/>
              <a:gd name="T25" fmla="*/ 6 h 30"/>
              <a:gd name="T26" fmla="*/ 7 w 53"/>
              <a:gd name="T27" fmla="*/ 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3" h="30">
                <a:moveTo>
                  <a:pt x="7" y="0"/>
                </a:moveTo>
                <a:lnTo>
                  <a:pt x="11" y="4"/>
                </a:lnTo>
                <a:lnTo>
                  <a:pt x="23" y="13"/>
                </a:lnTo>
                <a:lnTo>
                  <a:pt x="37" y="23"/>
                </a:lnTo>
                <a:lnTo>
                  <a:pt x="46" y="30"/>
                </a:lnTo>
                <a:lnTo>
                  <a:pt x="49" y="18"/>
                </a:lnTo>
                <a:lnTo>
                  <a:pt x="53" y="6"/>
                </a:lnTo>
                <a:lnTo>
                  <a:pt x="37" y="5"/>
                </a:lnTo>
                <a:lnTo>
                  <a:pt x="26" y="3"/>
                </a:lnTo>
                <a:lnTo>
                  <a:pt x="21" y="3"/>
                </a:lnTo>
                <a:lnTo>
                  <a:pt x="15" y="3"/>
                </a:lnTo>
                <a:lnTo>
                  <a:pt x="9" y="4"/>
                </a:lnTo>
                <a:lnTo>
                  <a:pt x="0" y="6"/>
                </a:lnTo>
                <a:lnTo>
                  <a:pt x="7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78" name="Freeform 330"/>
          <p:cNvSpPr>
            <a:spLocks/>
          </p:cNvSpPr>
          <p:nvPr>
            <p:custDataLst>
              <p:tags r:id="rId233"/>
            </p:custDataLst>
          </p:nvPr>
        </p:nvSpPr>
        <p:spPr bwMode="auto">
          <a:xfrm>
            <a:off x="8453438" y="3929063"/>
            <a:ext cx="11112" cy="57150"/>
          </a:xfrm>
          <a:custGeom>
            <a:avLst/>
            <a:gdLst>
              <a:gd name="T0" fmla="*/ 0 w 33"/>
              <a:gd name="T1" fmla="*/ 6 h 31"/>
              <a:gd name="T2" fmla="*/ 4 w 33"/>
              <a:gd name="T3" fmla="*/ 21 h 31"/>
              <a:gd name="T4" fmla="*/ 7 w 33"/>
              <a:gd name="T5" fmla="*/ 31 h 31"/>
              <a:gd name="T6" fmla="*/ 22 w 33"/>
              <a:gd name="T7" fmla="*/ 31 h 31"/>
              <a:gd name="T8" fmla="*/ 33 w 33"/>
              <a:gd name="T9" fmla="*/ 31 h 31"/>
              <a:gd name="T10" fmla="*/ 33 w 33"/>
              <a:gd name="T11" fmla="*/ 0 h 31"/>
              <a:gd name="T12" fmla="*/ 27 w 33"/>
              <a:gd name="T13" fmla="*/ 0 h 31"/>
              <a:gd name="T14" fmla="*/ 19 w 33"/>
              <a:gd name="T15" fmla="*/ 0 h 31"/>
              <a:gd name="T16" fmla="*/ 10 w 33"/>
              <a:gd name="T17" fmla="*/ 0 h 31"/>
              <a:gd name="T18" fmla="*/ 0 w 33"/>
              <a:gd name="T19" fmla="*/ 0 h 31"/>
              <a:gd name="T20" fmla="*/ 0 w 33"/>
              <a:gd name="T21" fmla="*/ 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3" h="31">
                <a:moveTo>
                  <a:pt x="0" y="6"/>
                </a:moveTo>
                <a:lnTo>
                  <a:pt x="4" y="21"/>
                </a:lnTo>
                <a:lnTo>
                  <a:pt x="7" y="31"/>
                </a:lnTo>
                <a:lnTo>
                  <a:pt x="22" y="31"/>
                </a:lnTo>
                <a:lnTo>
                  <a:pt x="33" y="31"/>
                </a:lnTo>
                <a:lnTo>
                  <a:pt x="33" y="0"/>
                </a:lnTo>
                <a:lnTo>
                  <a:pt x="27" y="0"/>
                </a:lnTo>
                <a:lnTo>
                  <a:pt x="19" y="0"/>
                </a:lnTo>
                <a:lnTo>
                  <a:pt x="10" y="0"/>
                </a:lnTo>
                <a:lnTo>
                  <a:pt x="0" y="0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79" name="Freeform 331"/>
          <p:cNvSpPr>
            <a:spLocks/>
          </p:cNvSpPr>
          <p:nvPr>
            <p:custDataLst>
              <p:tags r:id="rId234"/>
            </p:custDataLst>
          </p:nvPr>
        </p:nvSpPr>
        <p:spPr bwMode="auto">
          <a:xfrm>
            <a:off x="8969376" y="3886201"/>
            <a:ext cx="28575" cy="55563"/>
          </a:xfrm>
          <a:custGeom>
            <a:avLst/>
            <a:gdLst>
              <a:gd name="T0" fmla="*/ 19 w 65"/>
              <a:gd name="T1" fmla="*/ 68 h 68"/>
              <a:gd name="T2" fmla="*/ 16 w 65"/>
              <a:gd name="T3" fmla="*/ 68 h 68"/>
              <a:gd name="T4" fmla="*/ 14 w 65"/>
              <a:gd name="T5" fmla="*/ 66 h 68"/>
              <a:gd name="T6" fmla="*/ 11 w 65"/>
              <a:gd name="T7" fmla="*/ 64 h 68"/>
              <a:gd name="T8" fmla="*/ 7 w 65"/>
              <a:gd name="T9" fmla="*/ 61 h 68"/>
              <a:gd name="T10" fmla="*/ 4 w 65"/>
              <a:gd name="T11" fmla="*/ 59 h 68"/>
              <a:gd name="T12" fmla="*/ 2 w 65"/>
              <a:gd name="T13" fmla="*/ 55 h 68"/>
              <a:gd name="T14" fmla="*/ 0 w 65"/>
              <a:gd name="T15" fmla="*/ 52 h 68"/>
              <a:gd name="T16" fmla="*/ 0 w 65"/>
              <a:gd name="T17" fmla="*/ 49 h 68"/>
              <a:gd name="T18" fmla="*/ 0 w 65"/>
              <a:gd name="T19" fmla="*/ 38 h 68"/>
              <a:gd name="T20" fmla="*/ 2 w 65"/>
              <a:gd name="T21" fmla="*/ 29 h 68"/>
              <a:gd name="T22" fmla="*/ 5 w 65"/>
              <a:gd name="T23" fmla="*/ 21 h 68"/>
              <a:gd name="T24" fmla="*/ 9 w 65"/>
              <a:gd name="T25" fmla="*/ 14 h 68"/>
              <a:gd name="T26" fmla="*/ 15 w 65"/>
              <a:gd name="T27" fmla="*/ 8 h 68"/>
              <a:gd name="T28" fmla="*/ 22 w 65"/>
              <a:gd name="T29" fmla="*/ 4 h 68"/>
              <a:gd name="T30" fmla="*/ 30 w 65"/>
              <a:gd name="T31" fmla="*/ 2 h 68"/>
              <a:gd name="T32" fmla="*/ 39 w 65"/>
              <a:gd name="T33" fmla="*/ 0 h 68"/>
              <a:gd name="T34" fmla="*/ 52 w 65"/>
              <a:gd name="T35" fmla="*/ 0 h 68"/>
              <a:gd name="T36" fmla="*/ 65 w 65"/>
              <a:gd name="T37" fmla="*/ 0 h 68"/>
              <a:gd name="T38" fmla="*/ 65 w 65"/>
              <a:gd name="T39" fmla="*/ 43 h 68"/>
              <a:gd name="T40" fmla="*/ 56 w 65"/>
              <a:gd name="T41" fmla="*/ 52 h 68"/>
              <a:gd name="T42" fmla="*/ 45 w 65"/>
              <a:gd name="T43" fmla="*/ 61 h 68"/>
              <a:gd name="T44" fmla="*/ 39 w 65"/>
              <a:gd name="T45" fmla="*/ 64 h 68"/>
              <a:gd name="T46" fmla="*/ 34 w 65"/>
              <a:gd name="T47" fmla="*/ 66 h 68"/>
              <a:gd name="T48" fmla="*/ 27 w 65"/>
              <a:gd name="T49" fmla="*/ 68 h 68"/>
              <a:gd name="T50" fmla="*/ 19 w 65"/>
              <a:gd name="T51" fmla="*/ 68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65" h="68">
                <a:moveTo>
                  <a:pt x="19" y="68"/>
                </a:moveTo>
                <a:lnTo>
                  <a:pt x="16" y="68"/>
                </a:lnTo>
                <a:lnTo>
                  <a:pt x="14" y="66"/>
                </a:lnTo>
                <a:lnTo>
                  <a:pt x="11" y="64"/>
                </a:lnTo>
                <a:lnTo>
                  <a:pt x="7" y="61"/>
                </a:lnTo>
                <a:lnTo>
                  <a:pt x="4" y="59"/>
                </a:lnTo>
                <a:lnTo>
                  <a:pt x="2" y="55"/>
                </a:lnTo>
                <a:lnTo>
                  <a:pt x="0" y="52"/>
                </a:lnTo>
                <a:lnTo>
                  <a:pt x="0" y="49"/>
                </a:lnTo>
                <a:lnTo>
                  <a:pt x="0" y="38"/>
                </a:lnTo>
                <a:lnTo>
                  <a:pt x="2" y="29"/>
                </a:lnTo>
                <a:lnTo>
                  <a:pt x="5" y="21"/>
                </a:lnTo>
                <a:lnTo>
                  <a:pt x="9" y="14"/>
                </a:lnTo>
                <a:lnTo>
                  <a:pt x="15" y="8"/>
                </a:lnTo>
                <a:lnTo>
                  <a:pt x="22" y="4"/>
                </a:lnTo>
                <a:lnTo>
                  <a:pt x="30" y="2"/>
                </a:lnTo>
                <a:lnTo>
                  <a:pt x="39" y="0"/>
                </a:lnTo>
                <a:lnTo>
                  <a:pt x="52" y="0"/>
                </a:lnTo>
                <a:lnTo>
                  <a:pt x="65" y="0"/>
                </a:lnTo>
                <a:lnTo>
                  <a:pt x="65" y="43"/>
                </a:lnTo>
                <a:lnTo>
                  <a:pt x="56" y="52"/>
                </a:lnTo>
                <a:lnTo>
                  <a:pt x="45" y="61"/>
                </a:lnTo>
                <a:lnTo>
                  <a:pt x="39" y="64"/>
                </a:lnTo>
                <a:lnTo>
                  <a:pt x="34" y="66"/>
                </a:lnTo>
                <a:lnTo>
                  <a:pt x="27" y="68"/>
                </a:lnTo>
                <a:lnTo>
                  <a:pt x="19" y="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80" name="Freeform 332"/>
          <p:cNvSpPr>
            <a:spLocks/>
          </p:cNvSpPr>
          <p:nvPr>
            <p:custDataLst>
              <p:tags r:id="rId235"/>
            </p:custDataLst>
          </p:nvPr>
        </p:nvSpPr>
        <p:spPr bwMode="auto">
          <a:xfrm>
            <a:off x="7907339" y="3468688"/>
            <a:ext cx="274637" cy="368300"/>
          </a:xfrm>
          <a:custGeom>
            <a:avLst/>
            <a:gdLst>
              <a:gd name="T0" fmla="*/ 502 w 625"/>
              <a:gd name="T1" fmla="*/ 337 h 694"/>
              <a:gd name="T2" fmla="*/ 484 w 625"/>
              <a:gd name="T3" fmla="*/ 341 h 694"/>
              <a:gd name="T4" fmla="*/ 479 w 625"/>
              <a:gd name="T5" fmla="*/ 382 h 694"/>
              <a:gd name="T6" fmla="*/ 515 w 625"/>
              <a:gd name="T7" fmla="*/ 404 h 694"/>
              <a:gd name="T8" fmla="*/ 534 w 625"/>
              <a:gd name="T9" fmla="*/ 405 h 694"/>
              <a:gd name="T10" fmla="*/ 550 w 625"/>
              <a:gd name="T11" fmla="*/ 424 h 694"/>
              <a:gd name="T12" fmla="*/ 560 w 625"/>
              <a:gd name="T13" fmla="*/ 459 h 694"/>
              <a:gd name="T14" fmla="*/ 572 w 625"/>
              <a:gd name="T15" fmla="*/ 474 h 694"/>
              <a:gd name="T16" fmla="*/ 588 w 625"/>
              <a:gd name="T17" fmla="*/ 483 h 694"/>
              <a:gd name="T18" fmla="*/ 614 w 625"/>
              <a:gd name="T19" fmla="*/ 487 h 694"/>
              <a:gd name="T20" fmla="*/ 625 w 625"/>
              <a:gd name="T21" fmla="*/ 505 h 694"/>
              <a:gd name="T22" fmla="*/ 625 w 625"/>
              <a:gd name="T23" fmla="*/ 539 h 694"/>
              <a:gd name="T24" fmla="*/ 618 w 625"/>
              <a:gd name="T25" fmla="*/ 603 h 694"/>
              <a:gd name="T26" fmla="*/ 611 w 625"/>
              <a:gd name="T27" fmla="*/ 672 h 694"/>
              <a:gd name="T28" fmla="*/ 562 w 625"/>
              <a:gd name="T29" fmla="*/ 693 h 694"/>
              <a:gd name="T30" fmla="*/ 539 w 625"/>
              <a:gd name="T31" fmla="*/ 693 h 694"/>
              <a:gd name="T32" fmla="*/ 394 w 625"/>
              <a:gd name="T33" fmla="*/ 564 h 694"/>
              <a:gd name="T34" fmla="*/ 397 w 625"/>
              <a:gd name="T35" fmla="*/ 552 h 694"/>
              <a:gd name="T36" fmla="*/ 394 w 625"/>
              <a:gd name="T37" fmla="*/ 539 h 694"/>
              <a:gd name="T38" fmla="*/ 338 w 625"/>
              <a:gd name="T39" fmla="*/ 488 h 694"/>
              <a:gd name="T40" fmla="*/ 305 w 625"/>
              <a:gd name="T41" fmla="*/ 453 h 694"/>
              <a:gd name="T42" fmla="*/ 293 w 625"/>
              <a:gd name="T43" fmla="*/ 419 h 694"/>
              <a:gd name="T44" fmla="*/ 291 w 625"/>
              <a:gd name="T45" fmla="*/ 381 h 694"/>
              <a:gd name="T46" fmla="*/ 285 w 625"/>
              <a:gd name="T47" fmla="*/ 360 h 694"/>
              <a:gd name="T48" fmla="*/ 268 w 625"/>
              <a:gd name="T49" fmla="*/ 342 h 694"/>
              <a:gd name="T50" fmla="*/ 241 w 625"/>
              <a:gd name="T51" fmla="*/ 310 h 694"/>
              <a:gd name="T52" fmla="*/ 224 w 625"/>
              <a:gd name="T53" fmla="*/ 269 h 694"/>
              <a:gd name="T54" fmla="*/ 213 w 625"/>
              <a:gd name="T55" fmla="*/ 238 h 694"/>
              <a:gd name="T56" fmla="*/ 190 w 625"/>
              <a:gd name="T57" fmla="*/ 212 h 694"/>
              <a:gd name="T58" fmla="*/ 150 w 625"/>
              <a:gd name="T59" fmla="*/ 171 h 694"/>
              <a:gd name="T60" fmla="*/ 136 w 625"/>
              <a:gd name="T61" fmla="*/ 146 h 694"/>
              <a:gd name="T62" fmla="*/ 112 w 625"/>
              <a:gd name="T63" fmla="*/ 132 h 694"/>
              <a:gd name="T64" fmla="*/ 80 w 625"/>
              <a:gd name="T65" fmla="*/ 113 h 694"/>
              <a:gd name="T66" fmla="*/ 49 w 625"/>
              <a:gd name="T67" fmla="*/ 85 h 694"/>
              <a:gd name="T68" fmla="*/ 23 w 625"/>
              <a:gd name="T69" fmla="*/ 51 h 694"/>
              <a:gd name="T70" fmla="*/ 5 w 625"/>
              <a:gd name="T71" fmla="*/ 19 h 694"/>
              <a:gd name="T72" fmla="*/ 10 w 625"/>
              <a:gd name="T73" fmla="*/ 4 h 694"/>
              <a:gd name="T74" fmla="*/ 37 w 625"/>
              <a:gd name="T75" fmla="*/ 13 h 694"/>
              <a:gd name="T76" fmla="*/ 84 w 625"/>
              <a:gd name="T77" fmla="*/ 16 h 694"/>
              <a:gd name="T78" fmla="*/ 116 w 625"/>
              <a:gd name="T79" fmla="*/ 20 h 694"/>
              <a:gd name="T80" fmla="*/ 138 w 625"/>
              <a:gd name="T81" fmla="*/ 27 h 694"/>
              <a:gd name="T82" fmla="*/ 156 w 625"/>
              <a:gd name="T83" fmla="*/ 42 h 694"/>
              <a:gd name="T84" fmla="*/ 204 w 625"/>
              <a:gd name="T85" fmla="*/ 109 h 694"/>
              <a:gd name="T86" fmla="*/ 254 w 625"/>
              <a:gd name="T87" fmla="*/ 163 h 694"/>
              <a:gd name="T88" fmla="*/ 299 w 625"/>
              <a:gd name="T89" fmla="*/ 202 h 694"/>
              <a:gd name="T90" fmla="*/ 329 w 625"/>
              <a:gd name="T91" fmla="*/ 219 h 694"/>
              <a:gd name="T92" fmla="*/ 366 w 625"/>
              <a:gd name="T93" fmla="*/ 227 h 694"/>
              <a:gd name="T94" fmla="*/ 388 w 625"/>
              <a:gd name="T95" fmla="*/ 230 h 694"/>
              <a:gd name="T96" fmla="*/ 401 w 625"/>
              <a:gd name="T97" fmla="*/ 241 h 694"/>
              <a:gd name="T98" fmla="*/ 416 w 625"/>
              <a:gd name="T99" fmla="*/ 260 h 694"/>
              <a:gd name="T100" fmla="*/ 427 w 625"/>
              <a:gd name="T101" fmla="*/ 265 h 6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625" h="694">
                <a:moveTo>
                  <a:pt x="433" y="265"/>
                </a:moveTo>
                <a:lnTo>
                  <a:pt x="512" y="333"/>
                </a:lnTo>
                <a:lnTo>
                  <a:pt x="502" y="337"/>
                </a:lnTo>
                <a:lnTo>
                  <a:pt x="493" y="341"/>
                </a:lnTo>
                <a:lnTo>
                  <a:pt x="489" y="341"/>
                </a:lnTo>
                <a:lnTo>
                  <a:pt x="484" y="341"/>
                </a:lnTo>
                <a:lnTo>
                  <a:pt x="481" y="341"/>
                </a:lnTo>
                <a:lnTo>
                  <a:pt x="479" y="339"/>
                </a:lnTo>
                <a:lnTo>
                  <a:pt x="479" y="382"/>
                </a:lnTo>
                <a:lnTo>
                  <a:pt x="493" y="392"/>
                </a:lnTo>
                <a:lnTo>
                  <a:pt x="507" y="402"/>
                </a:lnTo>
                <a:lnTo>
                  <a:pt x="515" y="404"/>
                </a:lnTo>
                <a:lnTo>
                  <a:pt x="524" y="406"/>
                </a:lnTo>
                <a:lnTo>
                  <a:pt x="528" y="405"/>
                </a:lnTo>
                <a:lnTo>
                  <a:pt x="534" y="405"/>
                </a:lnTo>
                <a:lnTo>
                  <a:pt x="539" y="403"/>
                </a:lnTo>
                <a:lnTo>
                  <a:pt x="545" y="402"/>
                </a:lnTo>
                <a:lnTo>
                  <a:pt x="550" y="424"/>
                </a:lnTo>
                <a:lnTo>
                  <a:pt x="554" y="443"/>
                </a:lnTo>
                <a:lnTo>
                  <a:pt x="558" y="451"/>
                </a:lnTo>
                <a:lnTo>
                  <a:pt x="560" y="459"/>
                </a:lnTo>
                <a:lnTo>
                  <a:pt x="563" y="465"/>
                </a:lnTo>
                <a:lnTo>
                  <a:pt x="568" y="470"/>
                </a:lnTo>
                <a:lnTo>
                  <a:pt x="572" y="474"/>
                </a:lnTo>
                <a:lnTo>
                  <a:pt x="576" y="478"/>
                </a:lnTo>
                <a:lnTo>
                  <a:pt x="582" y="481"/>
                </a:lnTo>
                <a:lnTo>
                  <a:pt x="588" y="483"/>
                </a:lnTo>
                <a:lnTo>
                  <a:pt x="596" y="485"/>
                </a:lnTo>
                <a:lnTo>
                  <a:pt x="605" y="486"/>
                </a:lnTo>
                <a:lnTo>
                  <a:pt x="614" y="487"/>
                </a:lnTo>
                <a:lnTo>
                  <a:pt x="625" y="487"/>
                </a:lnTo>
                <a:lnTo>
                  <a:pt x="625" y="496"/>
                </a:lnTo>
                <a:lnTo>
                  <a:pt x="625" y="505"/>
                </a:lnTo>
                <a:lnTo>
                  <a:pt x="625" y="515"/>
                </a:lnTo>
                <a:lnTo>
                  <a:pt x="625" y="525"/>
                </a:lnTo>
                <a:lnTo>
                  <a:pt x="625" y="539"/>
                </a:lnTo>
                <a:lnTo>
                  <a:pt x="622" y="557"/>
                </a:lnTo>
                <a:lnTo>
                  <a:pt x="620" y="579"/>
                </a:lnTo>
                <a:lnTo>
                  <a:pt x="618" y="603"/>
                </a:lnTo>
                <a:lnTo>
                  <a:pt x="616" y="628"/>
                </a:lnTo>
                <a:lnTo>
                  <a:pt x="614" y="651"/>
                </a:lnTo>
                <a:lnTo>
                  <a:pt x="611" y="672"/>
                </a:lnTo>
                <a:lnTo>
                  <a:pt x="611" y="691"/>
                </a:lnTo>
                <a:lnTo>
                  <a:pt x="582" y="692"/>
                </a:lnTo>
                <a:lnTo>
                  <a:pt x="562" y="693"/>
                </a:lnTo>
                <a:lnTo>
                  <a:pt x="553" y="694"/>
                </a:lnTo>
                <a:lnTo>
                  <a:pt x="546" y="693"/>
                </a:lnTo>
                <a:lnTo>
                  <a:pt x="539" y="693"/>
                </a:lnTo>
                <a:lnTo>
                  <a:pt x="531" y="691"/>
                </a:lnTo>
                <a:lnTo>
                  <a:pt x="392" y="567"/>
                </a:lnTo>
                <a:lnTo>
                  <a:pt x="394" y="564"/>
                </a:lnTo>
                <a:lnTo>
                  <a:pt x="396" y="560"/>
                </a:lnTo>
                <a:lnTo>
                  <a:pt x="397" y="556"/>
                </a:lnTo>
                <a:lnTo>
                  <a:pt x="397" y="552"/>
                </a:lnTo>
                <a:lnTo>
                  <a:pt x="397" y="547"/>
                </a:lnTo>
                <a:lnTo>
                  <a:pt x="396" y="543"/>
                </a:lnTo>
                <a:lnTo>
                  <a:pt x="394" y="539"/>
                </a:lnTo>
                <a:lnTo>
                  <a:pt x="392" y="537"/>
                </a:lnTo>
                <a:lnTo>
                  <a:pt x="366" y="513"/>
                </a:lnTo>
                <a:lnTo>
                  <a:pt x="338" y="488"/>
                </a:lnTo>
                <a:lnTo>
                  <a:pt x="326" y="476"/>
                </a:lnTo>
                <a:lnTo>
                  <a:pt x="315" y="465"/>
                </a:lnTo>
                <a:lnTo>
                  <a:pt x="305" y="453"/>
                </a:lnTo>
                <a:lnTo>
                  <a:pt x="300" y="444"/>
                </a:lnTo>
                <a:lnTo>
                  <a:pt x="295" y="432"/>
                </a:lnTo>
                <a:lnTo>
                  <a:pt x="293" y="419"/>
                </a:lnTo>
                <a:lnTo>
                  <a:pt x="292" y="407"/>
                </a:lnTo>
                <a:lnTo>
                  <a:pt x="292" y="393"/>
                </a:lnTo>
                <a:lnTo>
                  <a:pt x="291" y="381"/>
                </a:lnTo>
                <a:lnTo>
                  <a:pt x="289" y="370"/>
                </a:lnTo>
                <a:lnTo>
                  <a:pt x="288" y="365"/>
                </a:lnTo>
                <a:lnTo>
                  <a:pt x="285" y="360"/>
                </a:lnTo>
                <a:lnTo>
                  <a:pt x="282" y="356"/>
                </a:lnTo>
                <a:lnTo>
                  <a:pt x="279" y="352"/>
                </a:lnTo>
                <a:lnTo>
                  <a:pt x="268" y="342"/>
                </a:lnTo>
                <a:lnTo>
                  <a:pt x="258" y="332"/>
                </a:lnTo>
                <a:lnTo>
                  <a:pt x="249" y="321"/>
                </a:lnTo>
                <a:lnTo>
                  <a:pt x="241" y="310"/>
                </a:lnTo>
                <a:lnTo>
                  <a:pt x="235" y="297"/>
                </a:lnTo>
                <a:lnTo>
                  <a:pt x="229" y="283"/>
                </a:lnTo>
                <a:lnTo>
                  <a:pt x="224" y="269"/>
                </a:lnTo>
                <a:lnTo>
                  <a:pt x="220" y="253"/>
                </a:lnTo>
                <a:lnTo>
                  <a:pt x="216" y="246"/>
                </a:lnTo>
                <a:lnTo>
                  <a:pt x="213" y="238"/>
                </a:lnTo>
                <a:lnTo>
                  <a:pt x="207" y="231"/>
                </a:lnTo>
                <a:lnTo>
                  <a:pt x="202" y="224"/>
                </a:lnTo>
                <a:lnTo>
                  <a:pt x="190" y="212"/>
                </a:lnTo>
                <a:lnTo>
                  <a:pt x="177" y="199"/>
                </a:lnTo>
                <a:lnTo>
                  <a:pt x="162" y="187"/>
                </a:lnTo>
                <a:lnTo>
                  <a:pt x="150" y="171"/>
                </a:lnTo>
                <a:lnTo>
                  <a:pt x="145" y="164"/>
                </a:lnTo>
                <a:lnTo>
                  <a:pt x="140" y="155"/>
                </a:lnTo>
                <a:lnTo>
                  <a:pt x="136" y="146"/>
                </a:lnTo>
                <a:lnTo>
                  <a:pt x="133" y="136"/>
                </a:lnTo>
                <a:lnTo>
                  <a:pt x="123" y="135"/>
                </a:lnTo>
                <a:lnTo>
                  <a:pt x="112" y="132"/>
                </a:lnTo>
                <a:lnTo>
                  <a:pt x="102" y="128"/>
                </a:lnTo>
                <a:lnTo>
                  <a:pt x="91" y="121"/>
                </a:lnTo>
                <a:lnTo>
                  <a:pt x="80" y="113"/>
                </a:lnTo>
                <a:lnTo>
                  <a:pt x="69" y="104"/>
                </a:lnTo>
                <a:lnTo>
                  <a:pt x="59" y="95"/>
                </a:lnTo>
                <a:lnTo>
                  <a:pt x="49" y="85"/>
                </a:lnTo>
                <a:lnTo>
                  <a:pt x="39" y="74"/>
                </a:lnTo>
                <a:lnTo>
                  <a:pt x="31" y="62"/>
                </a:lnTo>
                <a:lnTo>
                  <a:pt x="23" y="51"/>
                </a:lnTo>
                <a:lnTo>
                  <a:pt x="16" y="40"/>
                </a:lnTo>
                <a:lnTo>
                  <a:pt x="10" y="29"/>
                </a:lnTo>
                <a:lnTo>
                  <a:pt x="5" y="19"/>
                </a:lnTo>
                <a:lnTo>
                  <a:pt x="2" y="9"/>
                </a:lnTo>
                <a:lnTo>
                  <a:pt x="0" y="0"/>
                </a:lnTo>
                <a:lnTo>
                  <a:pt x="10" y="4"/>
                </a:lnTo>
                <a:lnTo>
                  <a:pt x="20" y="7"/>
                </a:lnTo>
                <a:lnTo>
                  <a:pt x="28" y="10"/>
                </a:lnTo>
                <a:lnTo>
                  <a:pt x="37" y="13"/>
                </a:lnTo>
                <a:lnTo>
                  <a:pt x="54" y="15"/>
                </a:lnTo>
                <a:lnTo>
                  <a:pt x="69" y="16"/>
                </a:lnTo>
                <a:lnTo>
                  <a:pt x="84" y="16"/>
                </a:lnTo>
                <a:lnTo>
                  <a:pt x="100" y="17"/>
                </a:lnTo>
                <a:lnTo>
                  <a:pt x="108" y="19"/>
                </a:lnTo>
                <a:lnTo>
                  <a:pt x="116" y="20"/>
                </a:lnTo>
                <a:lnTo>
                  <a:pt x="124" y="22"/>
                </a:lnTo>
                <a:lnTo>
                  <a:pt x="133" y="25"/>
                </a:lnTo>
                <a:lnTo>
                  <a:pt x="138" y="27"/>
                </a:lnTo>
                <a:lnTo>
                  <a:pt x="144" y="31"/>
                </a:lnTo>
                <a:lnTo>
                  <a:pt x="149" y="36"/>
                </a:lnTo>
                <a:lnTo>
                  <a:pt x="156" y="42"/>
                </a:lnTo>
                <a:lnTo>
                  <a:pt x="169" y="57"/>
                </a:lnTo>
                <a:lnTo>
                  <a:pt x="181" y="76"/>
                </a:lnTo>
                <a:lnTo>
                  <a:pt x="204" y="109"/>
                </a:lnTo>
                <a:lnTo>
                  <a:pt x="220" y="130"/>
                </a:lnTo>
                <a:lnTo>
                  <a:pt x="237" y="147"/>
                </a:lnTo>
                <a:lnTo>
                  <a:pt x="254" y="163"/>
                </a:lnTo>
                <a:lnTo>
                  <a:pt x="271" y="181"/>
                </a:lnTo>
                <a:lnTo>
                  <a:pt x="289" y="196"/>
                </a:lnTo>
                <a:lnTo>
                  <a:pt x="299" y="202"/>
                </a:lnTo>
                <a:lnTo>
                  <a:pt x="308" y="209"/>
                </a:lnTo>
                <a:lnTo>
                  <a:pt x="318" y="214"/>
                </a:lnTo>
                <a:lnTo>
                  <a:pt x="329" y="219"/>
                </a:lnTo>
                <a:lnTo>
                  <a:pt x="341" y="223"/>
                </a:lnTo>
                <a:lnTo>
                  <a:pt x="353" y="226"/>
                </a:lnTo>
                <a:lnTo>
                  <a:pt x="366" y="227"/>
                </a:lnTo>
                <a:lnTo>
                  <a:pt x="379" y="228"/>
                </a:lnTo>
                <a:lnTo>
                  <a:pt x="383" y="229"/>
                </a:lnTo>
                <a:lnTo>
                  <a:pt x="388" y="230"/>
                </a:lnTo>
                <a:lnTo>
                  <a:pt x="392" y="231"/>
                </a:lnTo>
                <a:lnTo>
                  <a:pt x="395" y="235"/>
                </a:lnTo>
                <a:lnTo>
                  <a:pt x="401" y="241"/>
                </a:lnTo>
                <a:lnTo>
                  <a:pt x="405" y="247"/>
                </a:lnTo>
                <a:lnTo>
                  <a:pt x="411" y="254"/>
                </a:lnTo>
                <a:lnTo>
                  <a:pt x="416" y="260"/>
                </a:lnTo>
                <a:lnTo>
                  <a:pt x="419" y="262"/>
                </a:lnTo>
                <a:lnTo>
                  <a:pt x="423" y="264"/>
                </a:lnTo>
                <a:lnTo>
                  <a:pt x="427" y="265"/>
                </a:lnTo>
                <a:lnTo>
                  <a:pt x="433" y="26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81" name="Freeform 333"/>
          <p:cNvSpPr>
            <a:spLocks/>
          </p:cNvSpPr>
          <p:nvPr>
            <p:custDataLst>
              <p:tags r:id="rId236"/>
            </p:custDataLst>
          </p:nvPr>
        </p:nvSpPr>
        <p:spPr bwMode="auto">
          <a:xfrm>
            <a:off x="8248650" y="3517901"/>
            <a:ext cx="254000" cy="257175"/>
          </a:xfrm>
          <a:custGeom>
            <a:avLst/>
            <a:gdLst>
              <a:gd name="T0" fmla="*/ 516 w 585"/>
              <a:gd name="T1" fmla="*/ 28 h 493"/>
              <a:gd name="T2" fmla="*/ 495 w 585"/>
              <a:gd name="T3" fmla="*/ 55 h 493"/>
              <a:gd name="T4" fmla="*/ 512 w 585"/>
              <a:gd name="T5" fmla="*/ 93 h 493"/>
              <a:gd name="T6" fmla="*/ 534 w 585"/>
              <a:gd name="T7" fmla="*/ 130 h 493"/>
              <a:gd name="T8" fmla="*/ 573 w 585"/>
              <a:gd name="T9" fmla="*/ 177 h 493"/>
              <a:gd name="T10" fmla="*/ 580 w 585"/>
              <a:gd name="T11" fmla="*/ 205 h 493"/>
              <a:gd name="T12" fmla="*/ 547 w 585"/>
              <a:gd name="T13" fmla="*/ 204 h 493"/>
              <a:gd name="T14" fmla="*/ 516 w 585"/>
              <a:gd name="T15" fmla="*/ 233 h 493"/>
              <a:gd name="T16" fmla="*/ 506 w 585"/>
              <a:gd name="T17" fmla="*/ 246 h 493"/>
              <a:gd name="T18" fmla="*/ 518 w 585"/>
              <a:gd name="T19" fmla="*/ 271 h 493"/>
              <a:gd name="T20" fmla="*/ 525 w 585"/>
              <a:gd name="T21" fmla="*/ 294 h 493"/>
              <a:gd name="T22" fmla="*/ 505 w 585"/>
              <a:gd name="T23" fmla="*/ 308 h 493"/>
              <a:gd name="T24" fmla="*/ 459 w 585"/>
              <a:gd name="T25" fmla="*/ 323 h 493"/>
              <a:gd name="T26" fmla="*/ 443 w 585"/>
              <a:gd name="T27" fmla="*/ 354 h 493"/>
              <a:gd name="T28" fmla="*/ 445 w 585"/>
              <a:gd name="T29" fmla="*/ 415 h 493"/>
              <a:gd name="T30" fmla="*/ 430 w 585"/>
              <a:gd name="T31" fmla="*/ 454 h 493"/>
              <a:gd name="T32" fmla="*/ 400 w 585"/>
              <a:gd name="T33" fmla="*/ 472 h 493"/>
              <a:gd name="T34" fmla="*/ 370 w 585"/>
              <a:gd name="T35" fmla="*/ 488 h 493"/>
              <a:gd name="T36" fmla="*/ 341 w 585"/>
              <a:gd name="T37" fmla="*/ 493 h 493"/>
              <a:gd name="T38" fmla="*/ 329 w 585"/>
              <a:gd name="T39" fmla="*/ 487 h 493"/>
              <a:gd name="T40" fmla="*/ 327 w 585"/>
              <a:gd name="T41" fmla="*/ 471 h 493"/>
              <a:gd name="T42" fmla="*/ 304 w 585"/>
              <a:gd name="T43" fmla="*/ 451 h 493"/>
              <a:gd name="T44" fmla="*/ 251 w 585"/>
              <a:gd name="T45" fmla="*/ 454 h 493"/>
              <a:gd name="T46" fmla="*/ 219 w 585"/>
              <a:gd name="T47" fmla="*/ 462 h 493"/>
              <a:gd name="T48" fmla="*/ 176 w 585"/>
              <a:gd name="T49" fmla="*/ 440 h 493"/>
              <a:gd name="T50" fmla="*/ 122 w 585"/>
              <a:gd name="T51" fmla="*/ 436 h 493"/>
              <a:gd name="T52" fmla="*/ 95 w 585"/>
              <a:gd name="T53" fmla="*/ 429 h 493"/>
              <a:gd name="T54" fmla="*/ 81 w 585"/>
              <a:gd name="T55" fmla="*/ 366 h 493"/>
              <a:gd name="T56" fmla="*/ 58 w 585"/>
              <a:gd name="T57" fmla="*/ 310 h 493"/>
              <a:gd name="T58" fmla="*/ 35 w 585"/>
              <a:gd name="T59" fmla="*/ 292 h 493"/>
              <a:gd name="T60" fmla="*/ 12 w 585"/>
              <a:gd name="T61" fmla="*/ 260 h 493"/>
              <a:gd name="T62" fmla="*/ 5 w 585"/>
              <a:gd name="T63" fmla="*/ 204 h 493"/>
              <a:gd name="T64" fmla="*/ 31 w 585"/>
              <a:gd name="T65" fmla="*/ 153 h 493"/>
              <a:gd name="T66" fmla="*/ 54 w 585"/>
              <a:gd name="T67" fmla="*/ 141 h 493"/>
              <a:gd name="T68" fmla="*/ 75 w 585"/>
              <a:gd name="T69" fmla="*/ 152 h 493"/>
              <a:gd name="T70" fmla="*/ 97 w 585"/>
              <a:gd name="T71" fmla="*/ 187 h 493"/>
              <a:gd name="T72" fmla="*/ 129 w 585"/>
              <a:gd name="T73" fmla="*/ 214 h 493"/>
              <a:gd name="T74" fmla="*/ 170 w 585"/>
              <a:gd name="T75" fmla="*/ 213 h 493"/>
              <a:gd name="T76" fmla="*/ 221 w 585"/>
              <a:gd name="T77" fmla="*/ 189 h 493"/>
              <a:gd name="T78" fmla="*/ 233 w 585"/>
              <a:gd name="T79" fmla="*/ 172 h 493"/>
              <a:gd name="T80" fmla="*/ 288 w 585"/>
              <a:gd name="T81" fmla="*/ 178 h 493"/>
              <a:gd name="T82" fmla="*/ 326 w 585"/>
              <a:gd name="T83" fmla="*/ 181 h 493"/>
              <a:gd name="T84" fmla="*/ 337 w 585"/>
              <a:gd name="T85" fmla="*/ 170 h 493"/>
              <a:gd name="T86" fmla="*/ 362 w 585"/>
              <a:gd name="T87" fmla="*/ 158 h 493"/>
              <a:gd name="T88" fmla="*/ 383 w 585"/>
              <a:gd name="T89" fmla="*/ 136 h 493"/>
              <a:gd name="T90" fmla="*/ 415 w 585"/>
              <a:gd name="T91" fmla="*/ 79 h 493"/>
              <a:gd name="T92" fmla="*/ 427 w 585"/>
              <a:gd name="T93" fmla="*/ 25 h 493"/>
              <a:gd name="T94" fmla="*/ 447 w 585"/>
              <a:gd name="T95" fmla="*/ 6 h 493"/>
              <a:gd name="T96" fmla="*/ 479 w 585"/>
              <a:gd name="T97" fmla="*/ 2 h 4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85" h="493">
                <a:moveTo>
                  <a:pt x="525" y="12"/>
                </a:moveTo>
                <a:lnTo>
                  <a:pt x="524" y="17"/>
                </a:lnTo>
                <a:lnTo>
                  <a:pt x="520" y="22"/>
                </a:lnTo>
                <a:lnTo>
                  <a:pt x="516" y="28"/>
                </a:lnTo>
                <a:lnTo>
                  <a:pt x="510" y="33"/>
                </a:lnTo>
                <a:lnTo>
                  <a:pt x="497" y="45"/>
                </a:lnTo>
                <a:lnTo>
                  <a:pt x="485" y="55"/>
                </a:lnTo>
                <a:lnTo>
                  <a:pt x="495" y="55"/>
                </a:lnTo>
                <a:lnTo>
                  <a:pt x="505" y="55"/>
                </a:lnTo>
                <a:lnTo>
                  <a:pt x="506" y="68"/>
                </a:lnTo>
                <a:lnTo>
                  <a:pt x="508" y="81"/>
                </a:lnTo>
                <a:lnTo>
                  <a:pt x="512" y="93"/>
                </a:lnTo>
                <a:lnTo>
                  <a:pt x="516" y="103"/>
                </a:lnTo>
                <a:lnTo>
                  <a:pt x="520" y="112"/>
                </a:lnTo>
                <a:lnTo>
                  <a:pt x="527" y="121"/>
                </a:lnTo>
                <a:lnTo>
                  <a:pt x="534" y="130"/>
                </a:lnTo>
                <a:lnTo>
                  <a:pt x="540" y="138"/>
                </a:lnTo>
                <a:lnTo>
                  <a:pt x="553" y="155"/>
                </a:lnTo>
                <a:lnTo>
                  <a:pt x="566" y="170"/>
                </a:lnTo>
                <a:lnTo>
                  <a:pt x="573" y="177"/>
                </a:lnTo>
                <a:lnTo>
                  <a:pt x="577" y="185"/>
                </a:lnTo>
                <a:lnTo>
                  <a:pt x="582" y="194"/>
                </a:lnTo>
                <a:lnTo>
                  <a:pt x="585" y="204"/>
                </a:lnTo>
                <a:lnTo>
                  <a:pt x="580" y="205"/>
                </a:lnTo>
                <a:lnTo>
                  <a:pt x="574" y="206"/>
                </a:lnTo>
                <a:lnTo>
                  <a:pt x="568" y="206"/>
                </a:lnTo>
                <a:lnTo>
                  <a:pt x="561" y="206"/>
                </a:lnTo>
                <a:lnTo>
                  <a:pt x="547" y="204"/>
                </a:lnTo>
                <a:lnTo>
                  <a:pt x="531" y="204"/>
                </a:lnTo>
                <a:lnTo>
                  <a:pt x="524" y="217"/>
                </a:lnTo>
                <a:lnTo>
                  <a:pt x="518" y="229"/>
                </a:lnTo>
                <a:lnTo>
                  <a:pt x="516" y="233"/>
                </a:lnTo>
                <a:lnTo>
                  <a:pt x="513" y="237"/>
                </a:lnTo>
                <a:lnTo>
                  <a:pt x="509" y="239"/>
                </a:lnTo>
                <a:lnTo>
                  <a:pt x="505" y="240"/>
                </a:lnTo>
                <a:lnTo>
                  <a:pt x="506" y="246"/>
                </a:lnTo>
                <a:lnTo>
                  <a:pt x="508" y="253"/>
                </a:lnTo>
                <a:lnTo>
                  <a:pt x="512" y="259"/>
                </a:lnTo>
                <a:lnTo>
                  <a:pt x="515" y="265"/>
                </a:lnTo>
                <a:lnTo>
                  <a:pt x="518" y="271"/>
                </a:lnTo>
                <a:lnTo>
                  <a:pt x="521" y="277"/>
                </a:lnTo>
                <a:lnTo>
                  <a:pt x="524" y="283"/>
                </a:lnTo>
                <a:lnTo>
                  <a:pt x="525" y="289"/>
                </a:lnTo>
                <a:lnTo>
                  <a:pt x="525" y="294"/>
                </a:lnTo>
                <a:lnTo>
                  <a:pt x="523" y="297"/>
                </a:lnTo>
                <a:lnTo>
                  <a:pt x="519" y="301"/>
                </a:lnTo>
                <a:lnTo>
                  <a:pt x="516" y="304"/>
                </a:lnTo>
                <a:lnTo>
                  <a:pt x="505" y="308"/>
                </a:lnTo>
                <a:lnTo>
                  <a:pt x="494" y="312"/>
                </a:lnTo>
                <a:lnTo>
                  <a:pt x="481" y="316"/>
                </a:lnTo>
                <a:lnTo>
                  <a:pt x="469" y="319"/>
                </a:lnTo>
                <a:lnTo>
                  <a:pt x="459" y="323"/>
                </a:lnTo>
                <a:lnTo>
                  <a:pt x="452" y="327"/>
                </a:lnTo>
                <a:lnTo>
                  <a:pt x="448" y="334"/>
                </a:lnTo>
                <a:lnTo>
                  <a:pt x="446" y="344"/>
                </a:lnTo>
                <a:lnTo>
                  <a:pt x="443" y="354"/>
                </a:lnTo>
                <a:lnTo>
                  <a:pt x="443" y="365"/>
                </a:lnTo>
                <a:lnTo>
                  <a:pt x="445" y="386"/>
                </a:lnTo>
                <a:lnTo>
                  <a:pt x="446" y="400"/>
                </a:lnTo>
                <a:lnTo>
                  <a:pt x="445" y="415"/>
                </a:lnTo>
                <a:lnTo>
                  <a:pt x="442" y="428"/>
                </a:lnTo>
                <a:lnTo>
                  <a:pt x="439" y="439"/>
                </a:lnTo>
                <a:lnTo>
                  <a:pt x="436" y="447"/>
                </a:lnTo>
                <a:lnTo>
                  <a:pt x="430" y="454"/>
                </a:lnTo>
                <a:lnTo>
                  <a:pt x="425" y="459"/>
                </a:lnTo>
                <a:lnTo>
                  <a:pt x="419" y="464"/>
                </a:lnTo>
                <a:lnTo>
                  <a:pt x="413" y="467"/>
                </a:lnTo>
                <a:lnTo>
                  <a:pt x="400" y="472"/>
                </a:lnTo>
                <a:lnTo>
                  <a:pt x="386" y="477"/>
                </a:lnTo>
                <a:lnTo>
                  <a:pt x="380" y="480"/>
                </a:lnTo>
                <a:lnTo>
                  <a:pt x="374" y="484"/>
                </a:lnTo>
                <a:lnTo>
                  <a:pt x="370" y="488"/>
                </a:lnTo>
                <a:lnTo>
                  <a:pt x="366" y="493"/>
                </a:lnTo>
                <a:lnTo>
                  <a:pt x="356" y="493"/>
                </a:lnTo>
                <a:lnTo>
                  <a:pt x="346" y="493"/>
                </a:lnTo>
                <a:lnTo>
                  <a:pt x="341" y="493"/>
                </a:lnTo>
                <a:lnTo>
                  <a:pt x="337" y="492"/>
                </a:lnTo>
                <a:lnTo>
                  <a:pt x="334" y="491"/>
                </a:lnTo>
                <a:lnTo>
                  <a:pt x="331" y="489"/>
                </a:lnTo>
                <a:lnTo>
                  <a:pt x="329" y="487"/>
                </a:lnTo>
                <a:lnTo>
                  <a:pt x="328" y="484"/>
                </a:lnTo>
                <a:lnTo>
                  <a:pt x="327" y="482"/>
                </a:lnTo>
                <a:lnTo>
                  <a:pt x="326" y="478"/>
                </a:lnTo>
                <a:lnTo>
                  <a:pt x="327" y="471"/>
                </a:lnTo>
                <a:lnTo>
                  <a:pt x="328" y="464"/>
                </a:lnTo>
                <a:lnTo>
                  <a:pt x="330" y="457"/>
                </a:lnTo>
                <a:lnTo>
                  <a:pt x="333" y="450"/>
                </a:lnTo>
                <a:lnTo>
                  <a:pt x="304" y="451"/>
                </a:lnTo>
                <a:lnTo>
                  <a:pt x="279" y="454"/>
                </a:lnTo>
                <a:lnTo>
                  <a:pt x="267" y="455"/>
                </a:lnTo>
                <a:lnTo>
                  <a:pt x="257" y="455"/>
                </a:lnTo>
                <a:lnTo>
                  <a:pt x="251" y="454"/>
                </a:lnTo>
                <a:lnTo>
                  <a:pt x="247" y="453"/>
                </a:lnTo>
                <a:lnTo>
                  <a:pt x="244" y="452"/>
                </a:lnTo>
                <a:lnTo>
                  <a:pt x="239" y="450"/>
                </a:lnTo>
                <a:lnTo>
                  <a:pt x="219" y="462"/>
                </a:lnTo>
                <a:lnTo>
                  <a:pt x="207" y="455"/>
                </a:lnTo>
                <a:lnTo>
                  <a:pt x="192" y="447"/>
                </a:lnTo>
                <a:lnTo>
                  <a:pt x="183" y="444"/>
                </a:lnTo>
                <a:lnTo>
                  <a:pt x="176" y="440"/>
                </a:lnTo>
                <a:lnTo>
                  <a:pt x="168" y="438"/>
                </a:lnTo>
                <a:lnTo>
                  <a:pt x="159" y="438"/>
                </a:lnTo>
                <a:lnTo>
                  <a:pt x="144" y="437"/>
                </a:lnTo>
                <a:lnTo>
                  <a:pt x="122" y="436"/>
                </a:lnTo>
                <a:lnTo>
                  <a:pt x="111" y="435"/>
                </a:lnTo>
                <a:lnTo>
                  <a:pt x="102" y="432"/>
                </a:lnTo>
                <a:lnTo>
                  <a:pt x="98" y="431"/>
                </a:lnTo>
                <a:lnTo>
                  <a:pt x="95" y="429"/>
                </a:lnTo>
                <a:lnTo>
                  <a:pt x="93" y="428"/>
                </a:lnTo>
                <a:lnTo>
                  <a:pt x="93" y="424"/>
                </a:lnTo>
                <a:lnTo>
                  <a:pt x="87" y="393"/>
                </a:lnTo>
                <a:lnTo>
                  <a:pt x="81" y="366"/>
                </a:lnTo>
                <a:lnTo>
                  <a:pt x="75" y="346"/>
                </a:lnTo>
                <a:lnTo>
                  <a:pt x="69" y="331"/>
                </a:lnTo>
                <a:lnTo>
                  <a:pt x="64" y="320"/>
                </a:lnTo>
                <a:lnTo>
                  <a:pt x="58" y="310"/>
                </a:lnTo>
                <a:lnTo>
                  <a:pt x="53" y="304"/>
                </a:lnTo>
                <a:lnTo>
                  <a:pt x="47" y="300"/>
                </a:lnTo>
                <a:lnTo>
                  <a:pt x="41" y="296"/>
                </a:lnTo>
                <a:lnTo>
                  <a:pt x="35" y="292"/>
                </a:lnTo>
                <a:lnTo>
                  <a:pt x="30" y="288"/>
                </a:lnTo>
                <a:lnTo>
                  <a:pt x="24" y="281"/>
                </a:lnTo>
                <a:lnTo>
                  <a:pt x="19" y="272"/>
                </a:lnTo>
                <a:lnTo>
                  <a:pt x="12" y="260"/>
                </a:lnTo>
                <a:lnTo>
                  <a:pt x="6" y="243"/>
                </a:lnTo>
                <a:lnTo>
                  <a:pt x="0" y="222"/>
                </a:lnTo>
                <a:lnTo>
                  <a:pt x="2" y="215"/>
                </a:lnTo>
                <a:lnTo>
                  <a:pt x="5" y="204"/>
                </a:lnTo>
                <a:lnTo>
                  <a:pt x="11" y="191"/>
                </a:lnTo>
                <a:lnTo>
                  <a:pt x="17" y="177"/>
                </a:lnTo>
                <a:lnTo>
                  <a:pt x="24" y="164"/>
                </a:lnTo>
                <a:lnTo>
                  <a:pt x="31" y="153"/>
                </a:lnTo>
                <a:lnTo>
                  <a:pt x="36" y="144"/>
                </a:lnTo>
                <a:lnTo>
                  <a:pt x="41" y="141"/>
                </a:lnTo>
                <a:lnTo>
                  <a:pt x="46" y="141"/>
                </a:lnTo>
                <a:lnTo>
                  <a:pt x="54" y="141"/>
                </a:lnTo>
                <a:lnTo>
                  <a:pt x="64" y="141"/>
                </a:lnTo>
                <a:lnTo>
                  <a:pt x="73" y="141"/>
                </a:lnTo>
                <a:lnTo>
                  <a:pt x="73" y="146"/>
                </a:lnTo>
                <a:lnTo>
                  <a:pt x="75" y="152"/>
                </a:lnTo>
                <a:lnTo>
                  <a:pt x="77" y="158"/>
                </a:lnTo>
                <a:lnTo>
                  <a:pt x="80" y="164"/>
                </a:lnTo>
                <a:lnTo>
                  <a:pt x="88" y="176"/>
                </a:lnTo>
                <a:lnTo>
                  <a:pt x="97" y="187"/>
                </a:lnTo>
                <a:lnTo>
                  <a:pt x="107" y="198"/>
                </a:lnTo>
                <a:lnTo>
                  <a:pt x="118" y="208"/>
                </a:lnTo>
                <a:lnTo>
                  <a:pt x="124" y="211"/>
                </a:lnTo>
                <a:lnTo>
                  <a:pt x="129" y="214"/>
                </a:lnTo>
                <a:lnTo>
                  <a:pt x="135" y="215"/>
                </a:lnTo>
                <a:lnTo>
                  <a:pt x="139" y="216"/>
                </a:lnTo>
                <a:lnTo>
                  <a:pt x="155" y="215"/>
                </a:lnTo>
                <a:lnTo>
                  <a:pt x="170" y="213"/>
                </a:lnTo>
                <a:lnTo>
                  <a:pt x="184" y="209"/>
                </a:lnTo>
                <a:lnTo>
                  <a:pt x="199" y="204"/>
                </a:lnTo>
                <a:lnTo>
                  <a:pt x="211" y="196"/>
                </a:lnTo>
                <a:lnTo>
                  <a:pt x="221" y="189"/>
                </a:lnTo>
                <a:lnTo>
                  <a:pt x="225" y="185"/>
                </a:lnTo>
                <a:lnTo>
                  <a:pt x="228" y="181"/>
                </a:lnTo>
                <a:lnTo>
                  <a:pt x="230" y="177"/>
                </a:lnTo>
                <a:lnTo>
                  <a:pt x="233" y="172"/>
                </a:lnTo>
                <a:lnTo>
                  <a:pt x="256" y="175"/>
                </a:lnTo>
                <a:lnTo>
                  <a:pt x="273" y="176"/>
                </a:lnTo>
                <a:lnTo>
                  <a:pt x="281" y="177"/>
                </a:lnTo>
                <a:lnTo>
                  <a:pt x="288" y="178"/>
                </a:lnTo>
                <a:lnTo>
                  <a:pt x="294" y="181"/>
                </a:lnTo>
                <a:lnTo>
                  <a:pt x="300" y="184"/>
                </a:lnTo>
                <a:lnTo>
                  <a:pt x="326" y="184"/>
                </a:lnTo>
                <a:lnTo>
                  <a:pt x="326" y="181"/>
                </a:lnTo>
                <a:lnTo>
                  <a:pt x="327" y="178"/>
                </a:lnTo>
                <a:lnTo>
                  <a:pt x="329" y="176"/>
                </a:lnTo>
                <a:lnTo>
                  <a:pt x="331" y="174"/>
                </a:lnTo>
                <a:lnTo>
                  <a:pt x="337" y="170"/>
                </a:lnTo>
                <a:lnTo>
                  <a:pt x="344" y="167"/>
                </a:lnTo>
                <a:lnTo>
                  <a:pt x="350" y="164"/>
                </a:lnTo>
                <a:lnTo>
                  <a:pt x="357" y="162"/>
                </a:lnTo>
                <a:lnTo>
                  <a:pt x="362" y="158"/>
                </a:lnTo>
                <a:lnTo>
                  <a:pt x="366" y="154"/>
                </a:lnTo>
                <a:lnTo>
                  <a:pt x="372" y="149"/>
                </a:lnTo>
                <a:lnTo>
                  <a:pt x="378" y="143"/>
                </a:lnTo>
                <a:lnTo>
                  <a:pt x="383" y="136"/>
                </a:lnTo>
                <a:lnTo>
                  <a:pt x="389" y="129"/>
                </a:lnTo>
                <a:lnTo>
                  <a:pt x="400" y="114"/>
                </a:lnTo>
                <a:lnTo>
                  <a:pt x="408" y="97"/>
                </a:lnTo>
                <a:lnTo>
                  <a:pt x="415" y="79"/>
                </a:lnTo>
                <a:lnTo>
                  <a:pt x="420" y="62"/>
                </a:lnTo>
                <a:lnTo>
                  <a:pt x="424" y="46"/>
                </a:lnTo>
                <a:lnTo>
                  <a:pt x="426" y="30"/>
                </a:lnTo>
                <a:lnTo>
                  <a:pt x="427" y="25"/>
                </a:lnTo>
                <a:lnTo>
                  <a:pt x="429" y="20"/>
                </a:lnTo>
                <a:lnTo>
                  <a:pt x="435" y="15"/>
                </a:lnTo>
                <a:lnTo>
                  <a:pt x="440" y="11"/>
                </a:lnTo>
                <a:lnTo>
                  <a:pt x="447" y="6"/>
                </a:lnTo>
                <a:lnTo>
                  <a:pt x="453" y="3"/>
                </a:lnTo>
                <a:lnTo>
                  <a:pt x="460" y="1"/>
                </a:lnTo>
                <a:lnTo>
                  <a:pt x="465" y="0"/>
                </a:lnTo>
                <a:lnTo>
                  <a:pt x="479" y="2"/>
                </a:lnTo>
                <a:lnTo>
                  <a:pt x="495" y="6"/>
                </a:lnTo>
                <a:lnTo>
                  <a:pt x="512" y="10"/>
                </a:lnTo>
                <a:lnTo>
                  <a:pt x="525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82" name="Freeform 334"/>
          <p:cNvSpPr>
            <a:spLocks/>
          </p:cNvSpPr>
          <p:nvPr>
            <p:custDataLst>
              <p:tags r:id="rId237"/>
            </p:custDataLst>
          </p:nvPr>
        </p:nvSpPr>
        <p:spPr bwMode="auto">
          <a:xfrm>
            <a:off x="8604251" y="3924300"/>
            <a:ext cx="92075" cy="57150"/>
          </a:xfrm>
          <a:custGeom>
            <a:avLst/>
            <a:gdLst>
              <a:gd name="T0" fmla="*/ 0 w 212"/>
              <a:gd name="T1" fmla="*/ 105 h 105"/>
              <a:gd name="T2" fmla="*/ 16 w 212"/>
              <a:gd name="T3" fmla="*/ 85 h 105"/>
              <a:gd name="T4" fmla="*/ 35 w 212"/>
              <a:gd name="T5" fmla="*/ 68 h 105"/>
              <a:gd name="T6" fmla="*/ 44 w 212"/>
              <a:gd name="T7" fmla="*/ 60 h 105"/>
              <a:gd name="T8" fmla="*/ 54 w 212"/>
              <a:gd name="T9" fmla="*/ 53 h 105"/>
              <a:gd name="T10" fmla="*/ 64 w 212"/>
              <a:gd name="T11" fmla="*/ 46 h 105"/>
              <a:gd name="T12" fmla="*/ 73 w 212"/>
              <a:gd name="T13" fmla="*/ 38 h 105"/>
              <a:gd name="T14" fmla="*/ 83 w 212"/>
              <a:gd name="T15" fmla="*/ 32 h 105"/>
              <a:gd name="T16" fmla="*/ 94 w 212"/>
              <a:gd name="T17" fmla="*/ 27 h 105"/>
              <a:gd name="T18" fmla="*/ 106 w 212"/>
              <a:gd name="T19" fmla="*/ 21 h 105"/>
              <a:gd name="T20" fmla="*/ 118 w 212"/>
              <a:gd name="T21" fmla="*/ 16 h 105"/>
              <a:gd name="T22" fmla="*/ 144 w 212"/>
              <a:gd name="T23" fmla="*/ 8 h 105"/>
              <a:gd name="T24" fmla="*/ 172 w 212"/>
              <a:gd name="T25" fmla="*/ 0 h 105"/>
              <a:gd name="T26" fmla="*/ 212 w 212"/>
              <a:gd name="T27" fmla="*/ 0 h 105"/>
              <a:gd name="T28" fmla="*/ 202 w 212"/>
              <a:gd name="T29" fmla="*/ 9 h 105"/>
              <a:gd name="T30" fmla="*/ 190 w 212"/>
              <a:gd name="T31" fmla="*/ 18 h 105"/>
              <a:gd name="T32" fmla="*/ 178 w 212"/>
              <a:gd name="T33" fmla="*/ 27 h 105"/>
              <a:gd name="T34" fmla="*/ 165 w 212"/>
              <a:gd name="T35" fmla="*/ 35 h 105"/>
              <a:gd name="T36" fmla="*/ 137 w 212"/>
              <a:gd name="T37" fmla="*/ 52 h 105"/>
              <a:gd name="T38" fmla="*/ 109 w 212"/>
              <a:gd name="T39" fmla="*/ 66 h 105"/>
              <a:gd name="T40" fmla="*/ 79 w 212"/>
              <a:gd name="T41" fmla="*/ 79 h 105"/>
              <a:gd name="T42" fmla="*/ 50 w 212"/>
              <a:gd name="T43" fmla="*/ 90 h 105"/>
              <a:gd name="T44" fmla="*/ 23 w 212"/>
              <a:gd name="T45" fmla="*/ 99 h 105"/>
              <a:gd name="T46" fmla="*/ 0 w 212"/>
              <a:gd name="T47" fmla="*/ 105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212" h="105">
                <a:moveTo>
                  <a:pt x="0" y="105"/>
                </a:moveTo>
                <a:lnTo>
                  <a:pt x="16" y="85"/>
                </a:lnTo>
                <a:lnTo>
                  <a:pt x="35" y="68"/>
                </a:lnTo>
                <a:lnTo>
                  <a:pt x="44" y="60"/>
                </a:lnTo>
                <a:lnTo>
                  <a:pt x="54" y="53"/>
                </a:lnTo>
                <a:lnTo>
                  <a:pt x="64" y="46"/>
                </a:lnTo>
                <a:lnTo>
                  <a:pt x="73" y="38"/>
                </a:lnTo>
                <a:lnTo>
                  <a:pt x="83" y="32"/>
                </a:lnTo>
                <a:lnTo>
                  <a:pt x="94" y="27"/>
                </a:lnTo>
                <a:lnTo>
                  <a:pt x="106" y="21"/>
                </a:lnTo>
                <a:lnTo>
                  <a:pt x="118" y="16"/>
                </a:lnTo>
                <a:lnTo>
                  <a:pt x="144" y="8"/>
                </a:lnTo>
                <a:lnTo>
                  <a:pt x="172" y="0"/>
                </a:lnTo>
                <a:lnTo>
                  <a:pt x="212" y="0"/>
                </a:lnTo>
                <a:lnTo>
                  <a:pt x="202" y="9"/>
                </a:lnTo>
                <a:lnTo>
                  <a:pt x="190" y="18"/>
                </a:lnTo>
                <a:lnTo>
                  <a:pt x="178" y="27"/>
                </a:lnTo>
                <a:lnTo>
                  <a:pt x="165" y="35"/>
                </a:lnTo>
                <a:lnTo>
                  <a:pt x="137" y="52"/>
                </a:lnTo>
                <a:lnTo>
                  <a:pt x="109" y="66"/>
                </a:lnTo>
                <a:lnTo>
                  <a:pt x="79" y="79"/>
                </a:lnTo>
                <a:lnTo>
                  <a:pt x="50" y="90"/>
                </a:lnTo>
                <a:lnTo>
                  <a:pt x="23" y="99"/>
                </a:lnTo>
                <a:lnTo>
                  <a:pt x="0" y="10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83" name="Freeform 335"/>
          <p:cNvSpPr>
            <a:spLocks/>
          </p:cNvSpPr>
          <p:nvPr>
            <p:custDataLst>
              <p:tags r:id="rId238"/>
            </p:custDataLst>
          </p:nvPr>
        </p:nvSpPr>
        <p:spPr bwMode="auto">
          <a:xfrm>
            <a:off x="8720138" y="3590925"/>
            <a:ext cx="42862" cy="88900"/>
          </a:xfrm>
          <a:custGeom>
            <a:avLst/>
            <a:gdLst>
              <a:gd name="T0" fmla="*/ 0 w 92"/>
              <a:gd name="T1" fmla="*/ 81 h 166"/>
              <a:gd name="T2" fmla="*/ 0 w 92"/>
              <a:gd name="T3" fmla="*/ 148 h 166"/>
              <a:gd name="T4" fmla="*/ 5 w 92"/>
              <a:gd name="T5" fmla="*/ 144 h 166"/>
              <a:gd name="T6" fmla="*/ 12 w 92"/>
              <a:gd name="T7" fmla="*/ 139 h 166"/>
              <a:gd name="T8" fmla="*/ 14 w 92"/>
              <a:gd name="T9" fmla="*/ 137 h 166"/>
              <a:gd name="T10" fmla="*/ 17 w 92"/>
              <a:gd name="T11" fmla="*/ 135 h 166"/>
              <a:gd name="T12" fmla="*/ 18 w 92"/>
              <a:gd name="T13" fmla="*/ 132 h 166"/>
              <a:gd name="T14" fmla="*/ 19 w 92"/>
              <a:gd name="T15" fmla="*/ 130 h 166"/>
              <a:gd name="T16" fmla="*/ 20 w 92"/>
              <a:gd name="T17" fmla="*/ 138 h 166"/>
              <a:gd name="T18" fmla="*/ 24 w 92"/>
              <a:gd name="T19" fmla="*/ 148 h 166"/>
              <a:gd name="T20" fmla="*/ 27 w 92"/>
              <a:gd name="T21" fmla="*/ 154 h 166"/>
              <a:gd name="T22" fmla="*/ 30 w 92"/>
              <a:gd name="T23" fmla="*/ 159 h 166"/>
              <a:gd name="T24" fmla="*/ 35 w 92"/>
              <a:gd name="T25" fmla="*/ 163 h 166"/>
              <a:gd name="T26" fmla="*/ 39 w 92"/>
              <a:gd name="T27" fmla="*/ 166 h 166"/>
              <a:gd name="T28" fmla="*/ 41 w 92"/>
              <a:gd name="T29" fmla="*/ 158 h 166"/>
              <a:gd name="T30" fmla="*/ 41 w 92"/>
              <a:gd name="T31" fmla="*/ 148 h 166"/>
              <a:gd name="T32" fmla="*/ 41 w 92"/>
              <a:gd name="T33" fmla="*/ 137 h 166"/>
              <a:gd name="T34" fmla="*/ 41 w 92"/>
              <a:gd name="T35" fmla="*/ 126 h 166"/>
              <a:gd name="T36" fmla="*/ 40 w 92"/>
              <a:gd name="T37" fmla="*/ 107 h 166"/>
              <a:gd name="T38" fmla="*/ 39 w 92"/>
              <a:gd name="T39" fmla="*/ 99 h 166"/>
              <a:gd name="T40" fmla="*/ 48 w 92"/>
              <a:gd name="T41" fmla="*/ 100 h 166"/>
              <a:gd name="T42" fmla="*/ 57 w 92"/>
              <a:gd name="T43" fmla="*/ 102 h 166"/>
              <a:gd name="T44" fmla="*/ 64 w 92"/>
              <a:gd name="T45" fmla="*/ 105 h 166"/>
              <a:gd name="T46" fmla="*/ 71 w 92"/>
              <a:gd name="T47" fmla="*/ 108 h 166"/>
              <a:gd name="T48" fmla="*/ 76 w 92"/>
              <a:gd name="T49" fmla="*/ 111 h 166"/>
              <a:gd name="T50" fmla="*/ 82 w 92"/>
              <a:gd name="T51" fmla="*/ 114 h 166"/>
              <a:gd name="T52" fmla="*/ 87 w 92"/>
              <a:gd name="T53" fmla="*/ 116 h 166"/>
              <a:gd name="T54" fmla="*/ 92 w 92"/>
              <a:gd name="T55" fmla="*/ 118 h 166"/>
              <a:gd name="T56" fmla="*/ 85 w 92"/>
              <a:gd name="T57" fmla="*/ 103 h 166"/>
              <a:gd name="T58" fmla="*/ 81 w 92"/>
              <a:gd name="T59" fmla="*/ 89 h 166"/>
              <a:gd name="T60" fmla="*/ 76 w 92"/>
              <a:gd name="T61" fmla="*/ 75 h 166"/>
              <a:gd name="T62" fmla="*/ 73 w 92"/>
              <a:gd name="T63" fmla="*/ 60 h 166"/>
              <a:gd name="T64" fmla="*/ 70 w 92"/>
              <a:gd name="T65" fmla="*/ 47 h 166"/>
              <a:gd name="T66" fmla="*/ 67 w 92"/>
              <a:gd name="T67" fmla="*/ 34 h 166"/>
              <a:gd name="T68" fmla="*/ 63 w 92"/>
              <a:gd name="T69" fmla="*/ 23 h 166"/>
              <a:gd name="T70" fmla="*/ 59 w 92"/>
              <a:gd name="T71" fmla="*/ 13 h 166"/>
              <a:gd name="T72" fmla="*/ 59 w 92"/>
              <a:gd name="T73" fmla="*/ 19 h 166"/>
              <a:gd name="T74" fmla="*/ 59 w 92"/>
              <a:gd name="T75" fmla="*/ 25 h 166"/>
              <a:gd name="T76" fmla="*/ 50 w 92"/>
              <a:gd name="T77" fmla="*/ 23 h 166"/>
              <a:gd name="T78" fmla="*/ 42 w 92"/>
              <a:gd name="T79" fmla="*/ 19 h 166"/>
              <a:gd name="T80" fmla="*/ 35 w 92"/>
              <a:gd name="T81" fmla="*/ 15 h 166"/>
              <a:gd name="T82" fmla="*/ 29 w 92"/>
              <a:gd name="T83" fmla="*/ 11 h 166"/>
              <a:gd name="T84" fmla="*/ 23 w 92"/>
              <a:gd name="T85" fmla="*/ 7 h 166"/>
              <a:gd name="T86" fmla="*/ 16 w 92"/>
              <a:gd name="T87" fmla="*/ 3 h 166"/>
              <a:gd name="T88" fmla="*/ 8 w 92"/>
              <a:gd name="T89" fmla="*/ 1 h 166"/>
              <a:gd name="T90" fmla="*/ 0 w 92"/>
              <a:gd name="T91" fmla="*/ 0 h 166"/>
              <a:gd name="T92" fmla="*/ 0 w 92"/>
              <a:gd name="T93" fmla="*/ 10 h 166"/>
              <a:gd name="T94" fmla="*/ 0 w 92"/>
              <a:gd name="T95" fmla="*/ 19 h 166"/>
              <a:gd name="T96" fmla="*/ 0 w 92"/>
              <a:gd name="T97" fmla="*/ 33 h 166"/>
              <a:gd name="T98" fmla="*/ 0 w 92"/>
              <a:gd name="T99" fmla="*/ 52 h 166"/>
              <a:gd name="T100" fmla="*/ 0 w 92"/>
              <a:gd name="T101" fmla="*/ 70 h 166"/>
              <a:gd name="T102" fmla="*/ 0 w 92"/>
              <a:gd name="T103" fmla="*/ 81 h 1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92" h="166">
                <a:moveTo>
                  <a:pt x="0" y="81"/>
                </a:moveTo>
                <a:lnTo>
                  <a:pt x="0" y="148"/>
                </a:lnTo>
                <a:lnTo>
                  <a:pt x="5" y="144"/>
                </a:lnTo>
                <a:lnTo>
                  <a:pt x="12" y="139"/>
                </a:lnTo>
                <a:lnTo>
                  <a:pt x="14" y="137"/>
                </a:lnTo>
                <a:lnTo>
                  <a:pt x="17" y="135"/>
                </a:lnTo>
                <a:lnTo>
                  <a:pt x="18" y="132"/>
                </a:lnTo>
                <a:lnTo>
                  <a:pt x="19" y="130"/>
                </a:lnTo>
                <a:lnTo>
                  <a:pt x="20" y="138"/>
                </a:lnTo>
                <a:lnTo>
                  <a:pt x="24" y="148"/>
                </a:lnTo>
                <a:lnTo>
                  <a:pt x="27" y="154"/>
                </a:lnTo>
                <a:lnTo>
                  <a:pt x="30" y="159"/>
                </a:lnTo>
                <a:lnTo>
                  <a:pt x="35" y="163"/>
                </a:lnTo>
                <a:lnTo>
                  <a:pt x="39" y="166"/>
                </a:lnTo>
                <a:lnTo>
                  <a:pt x="41" y="158"/>
                </a:lnTo>
                <a:lnTo>
                  <a:pt x="41" y="148"/>
                </a:lnTo>
                <a:lnTo>
                  <a:pt x="41" y="137"/>
                </a:lnTo>
                <a:lnTo>
                  <a:pt x="41" y="126"/>
                </a:lnTo>
                <a:lnTo>
                  <a:pt x="40" y="107"/>
                </a:lnTo>
                <a:lnTo>
                  <a:pt x="39" y="99"/>
                </a:lnTo>
                <a:lnTo>
                  <a:pt x="48" y="100"/>
                </a:lnTo>
                <a:lnTo>
                  <a:pt x="57" y="102"/>
                </a:lnTo>
                <a:lnTo>
                  <a:pt x="64" y="105"/>
                </a:lnTo>
                <a:lnTo>
                  <a:pt x="71" y="108"/>
                </a:lnTo>
                <a:lnTo>
                  <a:pt x="76" y="111"/>
                </a:lnTo>
                <a:lnTo>
                  <a:pt x="82" y="114"/>
                </a:lnTo>
                <a:lnTo>
                  <a:pt x="87" y="116"/>
                </a:lnTo>
                <a:lnTo>
                  <a:pt x="92" y="118"/>
                </a:lnTo>
                <a:lnTo>
                  <a:pt x="85" y="103"/>
                </a:lnTo>
                <a:lnTo>
                  <a:pt x="81" y="89"/>
                </a:lnTo>
                <a:lnTo>
                  <a:pt x="76" y="75"/>
                </a:lnTo>
                <a:lnTo>
                  <a:pt x="73" y="60"/>
                </a:lnTo>
                <a:lnTo>
                  <a:pt x="70" y="47"/>
                </a:lnTo>
                <a:lnTo>
                  <a:pt x="67" y="34"/>
                </a:lnTo>
                <a:lnTo>
                  <a:pt x="63" y="23"/>
                </a:lnTo>
                <a:lnTo>
                  <a:pt x="59" y="13"/>
                </a:lnTo>
                <a:lnTo>
                  <a:pt x="59" y="19"/>
                </a:lnTo>
                <a:lnTo>
                  <a:pt x="59" y="25"/>
                </a:lnTo>
                <a:lnTo>
                  <a:pt x="50" y="23"/>
                </a:lnTo>
                <a:lnTo>
                  <a:pt x="42" y="19"/>
                </a:lnTo>
                <a:lnTo>
                  <a:pt x="35" y="15"/>
                </a:lnTo>
                <a:lnTo>
                  <a:pt x="29" y="11"/>
                </a:lnTo>
                <a:lnTo>
                  <a:pt x="23" y="7"/>
                </a:lnTo>
                <a:lnTo>
                  <a:pt x="16" y="3"/>
                </a:lnTo>
                <a:lnTo>
                  <a:pt x="8" y="1"/>
                </a:lnTo>
                <a:lnTo>
                  <a:pt x="0" y="0"/>
                </a:lnTo>
                <a:lnTo>
                  <a:pt x="0" y="10"/>
                </a:lnTo>
                <a:lnTo>
                  <a:pt x="0" y="19"/>
                </a:lnTo>
                <a:lnTo>
                  <a:pt x="0" y="33"/>
                </a:lnTo>
                <a:lnTo>
                  <a:pt x="0" y="52"/>
                </a:lnTo>
                <a:lnTo>
                  <a:pt x="0" y="70"/>
                </a:lnTo>
                <a:lnTo>
                  <a:pt x="0" y="8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84" name="Freeform 336"/>
          <p:cNvSpPr>
            <a:spLocks/>
          </p:cNvSpPr>
          <p:nvPr>
            <p:custDataLst>
              <p:tags r:id="rId239"/>
            </p:custDataLst>
          </p:nvPr>
        </p:nvSpPr>
        <p:spPr bwMode="auto">
          <a:xfrm>
            <a:off x="8732839" y="3735388"/>
            <a:ext cx="71437" cy="55562"/>
          </a:xfrm>
          <a:custGeom>
            <a:avLst/>
            <a:gdLst>
              <a:gd name="T0" fmla="*/ 7 w 166"/>
              <a:gd name="T1" fmla="*/ 0 h 62"/>
              <a:gd name="T2" fmla="*/ 14 w 166"/>
              <a:gd name="T3" fmla="*/ 3 h 62"/>
              <a:gd name="T4" fmla="*/ 22 w 166"/>
              <a:gd name="T5" fmla="*/ 6 h 62"/>
              <a:gd name="T6" fmla="*/ 30 w 166"/>
              <a:gd name="T7" fmla="*/ 7 h 62"/>
              <a:gd name="T8" fmla="*/ 36 w 166"/>
              <a:gd name="T9" fmla="*/ 8 h 62"/>
              <a:gd name="T10" fmla="*/ 48 w 166"/>
              <a:gd name="T11" fmla="*/ 8 h 62"/>
              <a:gd name="T12" fmla="*/ 58 w 166"/>
              <a:gd name="T13" fmla="*/ 7 h 62"/>
              <a:gd name="T14" fmla="*/ 69 w 166"/>
              <a:gd name="T15" fmla="*/ 5 h 62"/>
              <a:gd name="T16" fmla="*/ 80 w 166"/>
              <a:gd name="T17" fmla="*/ 3 h 62"/>
              <a:gd name="T18" fmla="*/ 92 w 166"/>
              <a:gd name="T19" fmla="*/ 1 h 62"/>
              <a:gd name="T20" fmla="*/ 106 w 166"/>
              <a:gd name="T21" fmla="*/ 0 h 62"/>
              <a:gd name="T22" fmla="*/ 111 w 166"/>
              <a:gd name="T23" fmla="*/ 1 h 62"/>
              <a:gd name="T24" fmla="*/ 115 w 166"/>
              <a:gd name="T25" fmla="*/ 2 h 62"/>
              <a:gd name="T26" fmla="*/ 120 w 166"/>
              <a:gd name="T27" fmla="*/ 5 h 62"/>
              <a:gd name="T28" fmla="*/ 124 w 166"/>
              <a:gd name="T29" fmla="*/ 8 h 62"/>
              <a:gd name="T30" fmla="*/ 132 w 166"/>
              <a:gd name="T31" fmla="*/ 17 h 62"/>
              <a:gd name="T32" fmla="*/ 138 w 166"/>
              <a:gd name="T33" fmla="*/ 26 h 62"/>
              <a:gd name="T34" fmla="*/ 145 w 166"/>
              <a:gd name="T35" fmla="*/ 36 h 62"/>
              <a:gd name="T36" fmla="*/ 151 w 166"/>
              <a:gd name="T37" fmla="*/ 45 h 62"/>
              <a:gd name="T38" fmla="*/ 155 w 166"/>
              <a:gd name="T39" fmla="*/ 49 h 62"/>
              <a:gd name="T40" fmla="*/ 158 w 166"/>
              <a:gd name="T41" fmla="*/ 52 h 62"/>
              <a:gd name="T42" fmla="*/ 162 w 166"/>
              <a:gd name="T43" fmla="*/ 54 h 62"/>
              <a:gd name="T44" fmla="*/ 166 w 166"/>
              <a:gd name="T45" fmla="*/ 56 h 62"/>
              <a:gd name="T46" fmla="*/ 159 w 166"/>
              <a:gd name="T47" fmla="*/ 57 h 62"/>
              <a:gd name="T48" fmla="*/ 151 w 166"/>
              <a:gd name="T49" fmla="*/ 59 h 62"/>
              <a:gd name="T50" fmla="*/ 143 w 166"/>
              <a:gd name="T51" fmla="*/ 61 h 62"/>
              <a:gd name="T52" fmla="*/ 133 w 166"/>
              <a:gd name="T53" fmla="*/ 62 h 62"/>
              <a:gd name="T54" fmla="*/ 125 w 166"/>
              <a:gd name="T55" fmla="*/ 61 h 62"/>
              <a:gd name="T56" fmla="*/ 119 w 166"/>
              <a:gd name="T57" fmla="*/ 58 h 62"/>
              <a:gd name="T58" fmla="*/ 112 w 166"/>
              <a:gd name="T59" fmla="*/ 54 h 62"/>
              <a:gd name="T60" fmla="*/ 106 w 166"/>
              <a:gd name="T61" fmla="*/ 50 h 62"/>
              <a:gd name="T62" fmla="*/ 100 w 166"/>
              <a:gd name="T63" fmla="*/ 45 h 62"/>
              <a:gd name="T64" fmla="*/ 93 w 166"/>
              <a:gd name="T65" fmla="*/ 41 h 62"/>
              <a:gd name="T66" fmla="*/ 87 w 166"/>
              <a:gd name="T67" fmla="*/ 39 h 62"/>
              <a:gd name="T68" fmla="*/ 79 w 166"/>
              <a:gd name="T69" fmla="*/ 38 h 62"/>
              <a:gd name="T70" fmla="*/ 56 w 166"/>
              <a:gd name="T71" fmla="*/ 38 h 62"/>
              <a:gd name="T72" fmla="*/ 35 w 166"/>
              <a:gd name="T73" fmla="*/ 39 h 62"/>
              <a:gd name="T74" fmla="*/ 26 w 166"/>
              <a:gd name="T75" fmla="*/ 41 h 62"/>
              <a:gd name="T76" fmla="*/ 19 w 166"/>
              <a:gd name="T77" fmla="*/ 43 h 62"/>
              <a:gd name="T78" fmla="*/ 12 w 166"/>
              <a:gd name="T79" fmla="*/ 46 h 62"/>
              <a:gd name="T80" fmla="*/ 7 w 166"/>
              <a:gd name="T81" fmla="*/ 50 h 62"/>
              <a:gd name="T82" fmla="*/ 2 w 166"/>
              <a:gd name="T83" fmla="*/ 45 h 62"/>
              <a:gd name="T84" fmla="*/ 1 w 166"/>
              <a:gd name="T85" fmla="*/ 40 h 62"/>
              <a:gd name="T86" fmla="*/ 0 w 166"/>
              <a:gd name="T87" fmla="*/ 34 h 62"/>
              <a:gd name="T88" fmla="*/ 1 w 166"/>
              <a:gd name="T89" fmla="*/ 28 h 62"/>
              <a:gd name="T90" fmla="*/ 4 w 166"/>
              <a:gd name="T91" fmla="*/ 15 h 62"/>
              <a:gd name="T92" fmla="*/ 7 w 166"/>
              <a:gd name="T93" fmla="*/ 0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66" h="62">
                <a:moveTo>
                  <a:pt x="7" y="0"/>
                </a:moveTo>
                <a:lnTo>
                  <a:pt x="14" y="3"/>
                </a:lnTo>
                <a:lnTo>
                  <a:pt x="22" y="6"/>
                </a:lnTo>
                <a:lnTo>
                  <a:pt x="30" y="7"/>
                </a:lnTo>
                <a:lnTo>
                  <a:pt x="36" y="8"/>
                </a:lnTo>
                <a:lnTo>
                  <a:pt x="48" y="8"/>
                </a:lnTo>
                <a:lnTo>
                  <a:pt x="58" y="7"/>
                </a:lnTo>
                <a:lnTo>
                  <a:pt x="69" y="5"/>
                </a:lnTo>
                <a:lnTo>
                  <a:pt x="80" y="3"/>
                </a:lnTo>
                <a:lnTo>
                  <a:pt x="92" y="1"/>
                </a:lnTo>
                <a:lnTo>
                  <a:pt x="106" y="0"/>
                </a:lnTo>
                <a:lnTo>
                  <a:pt x="111" y="1"/>
                </a:lnTo>
                <a:lnTo>
                  <a:pt x="115" y="2"/>
                </a:lnTo>
                <a:lnTo>
                  <a:pt x="120" y="5"/>
                </a:lnTo>
                <a:lnTo>
                  <a:pt x="124" y="8"/>
                </a:lnTo>
                <a:lnTo>
                  <a:pt x="132" y="17"/>
                </a:lnTo>
                <a:lnTo>
                  <a:pt x="138" y="26"/>
                </a:lnTo>
                <a:lnTo>
                  <a:pt x="145" y="36"/>
                </a:lnTo>
                <a:lnTo>
                  <a:pt x="151" y="45"/>
                </a:lnTo>
                <a:lnTo>
                  <a:pt x="155" y="49"/>
                </a:lnTo>
                <a:lnTo>
                  <a:pt x="158" y="52"/>
                </a:lnTo>
                <a:lnTo>
                  <a:pt x="162" y="54"/>
                </a:lnTo>
                <a:lnTo>
                  <a:pt x="166" y="56"/>
                </a:lnTo>
                <a:lnTo>
                  <a:pt x="159" y="57"/>
                </a:lnTo>
                <a:lnTo>
                  <a:pt x="151" y="59"/>
                </a:lnTo>
                <a:lnTo>
                  <a:pt x="143" y="61"/>
                </a:lnTo>
                <a:lnTo>
                  <a:pt x="133" y="62"/>
                </a:lnTo>
                <a:lnTo>
                  <a:pt x="125" y="61"/>
                </a:lnTo>
                <a:lnTo>
                  <a:pt x="119" y="58"/>
                </a:lnTo>
                <a:lnTo>
                  <a:pt x="112" y="54"/>
                </a:lnTo>
                <a:lnTo>
                  <a:pt x="106" y="50"/>
                </a:lnTo>
                <a:lnTo>
                  <a:pt x="100" y="45"/>
                </a:lnTo>
                <a:lnTo>
                  <a:pt x="93" y="41"/>
                </a:lnTo>
                <a:lnTo>
                  <a:pt x="87" y="39"/>
                </a:lnTo>
                <a:lnTo>
                  <a:pt x="79" y="38"/>
                </a:lnTo>
                <a:lnTo>
                  <a:pt x="56" y="38"/>
                </a:lnTo>
                <a:lnTo>
                  <a:pt x="35" y="39"/>
                </a:lnTo>
                <a:lnTo>
                  <a:pt x="26" y="41"/>
                </a:lnTo>
                <a:lnTo>
                  <a:pt x="19" y="43"/>
                </a:lnTo>
                <a:lnTo>
                  <a:pt x="12" y="46"/>
                </a:lnTo>
                <a:lnTo>
                  <a:pt x="7" y="50"/>
                </a:lnTo>
                <a:lnTo>
                  <a:pt x="2" y="45"/>
                </a:lnTo>
                <a:lnTo>
                  <a:pt x="1" y="40"/>
                </a:lnTo>
                <a:lnTo>
                  <a:pt x="0" y="34"/>
                </a:lnTo>
                <a:lnTo>
                  <a:pt x="1" y="28"/>
                </a:lnTo>
                <a:lnTo>
                  <a:pt x="4" y="15"/>
                </a:lnTo>
                <a:lnTo>
                  <a:pt x="7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85" name="Freeform 337"/>
          <p:cNvSpPr>
            <a:spLocks/>
          </p:cNvSpPr>
          <p:nvPr>
            <p:custDataLst>
              <p:tags r:id="rId240"/>
            </p:custDataLst>
          </p:nvPr>
        </p:nvSpPr>
        <p:spPr bwMode="auto">
          <a:xfrm>
            <a:off x="8809039" y="3659188"/>
            <a:ext cx="85725" cy="63500"/>
          </a:xfrm>
          <a:custGeom>
            <a:avLst/>
            <a:gdLst>
              <a:gd name="T0" fmla="*/ 33 w 193"/>
              <a:gd name="T1" fmla="*/ 35 h 121"/>
              <a:gd name="T2" fmla="*/ 48 w 193"/>
              <a:gd name="T3" fmla="*/ 25 h 121"/>
              <a:gd name="T4" fmla="*/ 68 w 193"/>
              <a:gd name="T5" fmla="*/ 12 h 121"/>
              <a:gd name="T6" fmla="*/ 84 w 193"/>
              <a:gd name="T7" fmla="*/ 4 h 121"/>
              <a:gd name="T8" fmla="*/ 94 w 193"/>
              <a:gd name="T9" fmla="*/ 1 h 121"/>
              <a:gd name="T10" fmla="*/ 105 w 193"/>
              <a:gd name="T11" fmla="*/ 1 h 121"/>
              <a:gd name="T12" fmla="*/ 116 w 193"/>
              <a:gd name="T13" fmla="*/ 3 h 121"/>
              <a:gd name="T14" fmla="*/ 131 w 193"/>
              <a:gd name="T15" fmla="*/ 10 h 121"/>
              <a:gd name="T16" fmla="*/ 148 w 193"/>
              <a:gd name="T17" fmla="*/ 21 h 121"/>
              <a:gd name="T18" fmla="*/ 162 w 193"/>
              <a:gd name="T19" fmla="*/ 28 h 121"/>
              <a:gd name="T20" fmla="*/ 173 w 193"/>
              <a:gd name="T21" fmla="*/ 30 h 121"/>
              <a:gd name="T22" fmla="*/ 179 w 193"/>
              <a:gd name="T23" fmla="*/ 48 h 121"/>
              <a:gd name="T24" fmla="*/ 178 w 193"/>
              <a:gd name="T25" fmla="*/ 66 h 121"/>
              <a:gd name="T26" fmla="*/ 182 w 193"/>
              <a:gd name="T27" fmla="*/ 75 h 121"/>
              <a:gd name="T28" fmla="*/ 187 w 193"/>
              <a:gd name="T29" fmla="*/ 89 h 121"/>
              <a:gd name="T30" fmla="*/ 188 w 193"/>
              <a:gd name="T31" fmla="*/ 102 h 121"/>
              <a:gd name="T32" fmla="*/ 191 w 193"/>
              <a:gd name="T33" fmla="*/ 109 h 121"/>
              <a:gd name="T34" fmla="*/ 188 w 193"/>
              <a:gd name="T35" fmla="*/ 114 h 121"/>
              <a:gd name="T36" fmla="*/ 177 w 193"/>
              <a:gd name="T37" fmla="*/ 118 h 121"/>
              <a:gd name="T38" fmla="*/ 159 w 193"/>
              <a:gd name="T39" fmla="*/ 121 h 121"/>
              <a:gd name="T40" fmla="*/ 116 w 193"/>
              <a:gd name="T41" fmla="*/ 119 h 121"/>
              <a:gd name="T42" fmla="*/ 72 w 193"/>
              <a:gd name="T43" fmla="*/ 116 h 121"/>
              <a:gd name="T44" fmla="*/ 63 w 193"/>
              <a:gd name="T45" fmla="*/ 110 h 121"/>
              <a:gd name="T46" fmla="*/ 56 w 193"/>
              <a:gd name="T47" fmla="*/ 100 h 121"/>
              <a:gd name="T48" fmla="*/ 54 w 193"/>
              <a:gd name="T49" fmla="*/ 87 h 121"/>
              <a:gd name="T50" fmla="*/ 47 w 193"/>
              <a:gd name="T51" fmla="*/ 79 h 121"/>
              <a:gd name="T52" fmla="*/ 31 w 193"/>
              <a:gd name="T53" fmla="*/ 75 h 121"/>
              <a:gd name="T54" fmla="*/ 13 w 193"/>
              <a:gd name="T55" fmla="*/ 69 h 121"/>
              <a:gd name="T56" fmla="*/ 3 w 193"/>
              <a:gd name="T57" fmla="*/ 62 h 121"/>
              <a:gd name="T58" fmla="*/ 0 w 193"/>
              <a:gd name="T59" fmla="*/ 58 h 121"/>
              <a:gd name="T60" fmla="*/ 1 w 193"/>
              <a:gd name="T61" fmla="*/ 51 h 121"/>
              <a:gd name="T62" fmla="*/ 7 w 193"/>
              <a:gd name="T63" fmla="*/ 45 h 121"/>
              <a:gd name="T64" fmla="*/ 20 w 193"/>
              <a:gd name="T65" fmla="*/ 38 h 1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93" h="121">
                <a:moveTo>
                  <a:pt x="26" y="36"/>
                </a:moveTo>
                <a:lnTo>
                  <a:pt x="33" y="35"/>
                </a:lnTo>
                <a:lnTo>
                  <a:pt x="39" y="31"/>
                </a:lnTo>
                <a:lnTo>
                  <a:pt x="48" y="25"/>
                </a:lnTo>
                <a:lnTo>
                  <a:pt x="58" y="18"/>
                </a:lnTo>
                <a:lnTo>
                  <a:pt x="68" y="12"/>
                </a:lnTo>
                <a:lnTo>
                  <a:pt x="79" y="6"/>
                </a:lnTo>
                <a:lnTo>
                  <a:pt x="84" y="4"/>
                </a:lnTo>
                <a:lnTo>
                  <a:pt x="90" y="2"/>
                </a:lnTo>
                <a:lnTo>
                  <a:pt x="94" y="1"/>
                </a:lnTo>
                <a:lnTo>
                  <a:pt x="100" y="0"/>
                </a:lnTo>
                <a:lnTo>
                  <a:pt x="105" y="1"/>
                </a:lnTo>
                <a:lnTo>
                  <a:pt x="111" y="1"/>
                </a:lnTo>
                <a:lnTo>
                  <a:pt x="116" y="3"/>
                </a:lnTo>
                <a:lnTo>
                  <a:pt x="122" y="5"/>
                </a:lnTo>
                <a:lnTo>
                  <a:pt x="131" y="10"/>
                </a:lnTo>
                <a:lnTo>
                  <a:pt x="139" y="15"/>
                </a:lnTo>
                <a:lnTo>
                  <a:pt x="148" y="21"/>
                </a:lnTo>
                <a:lnTo>
                  <a:pt x="158" y="26"/>
                </a:lnTo>
                <a:lnTo>
                  <a:pt x="162" y="28"/>
                </a:lnTo>
                <a:lnTo>
                  <a:pt x="168" y="29"/>
                </a:lnTo>
                <a:lnTo>
                  <a:pt x="173" y="30"/>
                </a:lnTo>
                <a:lnTo>
                  <a:pt x="179" y="30"/>
                </a:lnTo>
                <a:lnTo>
                  <a:pt x="179" y="48"/>
                </a:lnTo>
                <a:lnTo>
                  <a:pt x="178" y="60"/>
                </a:lnTo>
                <a:lnTo>
                  <a:pt x="178" y="66"/>
                </a:lnTo>
                <a:lnTo>
                  <a:pt x="179" y="71"/>
                </a:lnTo>
                <a:lnTo>
                  <a:pt x="182" y="75"/>
                </a:lnTo>
                <a:lnTo>
                  <a:pt x="187" y="80"/>
                </a:lnTo>
                <a:lnTo>
                  <a:pt x="187" y="89"/>
                </a:lnTo>
                <a:lnTo>
                  <a:pt x="187" y="97"/>
                </a:lnTo>
                <a:lnTo>
                  <a:pt x="188" y="102"/>
                </a:lnTo>
                <a:lnTo>
                  <a:pt x="189" y="106"/>
                </a:lnTo>
                <a:lnTo>
                  <a:pt x="191" y="109"/>
                </a:lnTo>
                <a:lnTo>
                  <a:pt x="193" y="111"/>
                </a:lnTo>
                <a:lnTo>
                  <a:pt x="188" y="114"/>
                </a:lnTo>
                <a:lnTo>
                  <a:pt x="182" y="117"/>
                </a:lnTo>
                <a:lnTo>
                  <a:pt x="177" y="118"/>
                </a:lnTo>
                <a:lnTo>
                  <a:pt x="171" y="120"/>
                </a:lnTo>
                <a:lnTo>
                  <a:pt x="159" y="121"/>
                </a:lnTo>
                <a:lnTo>
                  <a:pt x="146" y="121"/>
                </a:lnTo>
                <a:lnTo>
                  <a:pt x="116" y="119"/>
                </a:lnTo>
                <a:lnTo>
                  <a:pt x="80" y="117"/>
                </a:lnTo>
                <a:lnTo>
                  <a:pt x="72" y="116"/>
                </a:lnTo>
                <a:lnTo>
                  <a:pt x="67" y="114"/>
                </a:lnTo>
                <a:lnTo>
                  <a:pt x="63" y="110"/>
                </a:lnTo>
                <a:lnTo>
                  <a:pt x="59" y="106"/>
                </a:lnTo>
                <a:lnTo>
                  <a:pt x="56" y="100"/>
                </a:lnTo>
                <a:lnTo>
                  <a:pt x="55" y="93"/>
                </a:lnTo>
                <a:lnTo>
                  <a:pt x="54" y="87"/>
                </a:lnTo>
                <a:lnTo>
                  <a:pt x="54" y="80"/>
                </a:lnTo>
                <a:lnTo>
                  <a:pt x="47" y="79"/>
                </a:lnTo>
                <a:lnTo>
                  <a:pt x="39" y="78"/>
                </a:lnTo>
                <a:lnTo>
                  <a:pt x="31" y="75"/>
                </a:lnTo>
                <a:lnTo>
                  <a:pt x="22" y="72"/>
                </a:lnTo>
                <a:lnTo>
                  <a:pt x="13" y="69"/>
                </a:lnTo>
                <a:lnTo>
                  <a:pt x="7" y="65"/>
                </a:lnTo>
                <a:lnTo>
                  <a:pt x="3" y="62"/>
                </a:lnTo>
                <a:lnTo>
                  <a:pt x="2" y="60"/>
                </a:lnTo>
                <a:lnTo>
                  <a:pt x="0" y="58"/>
                </a:lnTo>
                <a:lnTo>
                  <a:pt x="0" y="56"/>
                </a:lnTo>
                <a:lnTo>
                  <a:pt x="1" y="51"/>
                </a:lnTo>
                <a:lnTo>
                  <a:pt x="3" y="48"/>
                </a:lnTo>
                <a:lnTo>
                  <a:pt x="7" y="45"/>
                </a:lnTo>
                <a:lnTo>
                  <a:pt x="11" y="41"/>
                </a:lnTo>
                <a:lnTo>
                  <a:pt x="20" y="38"/>
                </a:lnTo>
                <a:lnTo>
                  <a:pt x="26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86" name="Freeform 338"/>
          <p:cNvSpPr>
            <a:spLocks/>
          </p:cNvSpPr>
          <p:nvPr>
            <p:custDataLst>
              <p:tags r:id="rId241"/>
            </p:custDataLst>
          </p:nvPr>
        </p:nvSpPr>
        <p:spPr bwMode="auto">
          <a:xfrm>
            <a:off x="8497889" y="3597275"/>
            <a:ext cx="166687" cy="230188"/>
          </a:xfrm>
          <a:custGeom>
            <a:avLst/>
            <a:gdLst>
              <a:gd name="T0" fmla="*/ 37 w 379"/>
              <a:gd name="T1" fmla="*/ 419 h 437"/>
              <a:gd name="T2" fmla="*/ 46 w 379"/>
              <a:gd name="T3" fmla="*/ 407 h 437"/>
              <a:gd name="T4" fmla="*/ 24 w 379"/>
              <a:gd name="T5" fmla="*/ 311 h 437"/>
              <a:gd name="T6" fmla="*/ 2 w 379"/>
              <a:gd name="T7" fmla="*/ 294 h 437"/>
              <a:gd name="T8" fmla="*/ 15 w 379"/>
              <a:gd name="T9" fmla="*/ 270 h 437"/>
              <a:gd name="T10" fmla="*/ 31 w 379"/>
              <a:gd name="T11" fmla="*/ 221 h 437"/>
              <a:gd name="T12" fmla="*/ 39 w 379"/>
              <a:gd name="T13" fmla="*/ 172 h 437"/>
              <a:gd name="T14" fmla="*/ 57 w 379"/>
              <a:gd name="T15" fmla="*/ 159 h 437"/>
              <a:gd name="T16" fmla="*/ 65 w 379"/>
              <a:gd name="T17" fmla="*/ 130 h 437"/>
              <a:gd name="T18" fmla="*/ 76 w 379"/>
              <a:gd name="T19" fmla="*/ 78 h 437"/>
              <a:gd name="T20" fmla="*/ 90 w 379"/>
              <a:gd name="T21" fmla="*/ 51 h 437"/>
              <a:gd name="T22" fmla="*/ 115 w 379"/>
              <a:gd name="T23" fmla="*/ 31 h 437"/>
              <a:gd name="T24" fmla="*/ 153 w 379"/>
              <a:gd name="T25" fmla="*/ 25 h 437"/>
              <a:gd name="T26" fmla="*/ 217 w 379"/>
              <a:gd name="T27" fmla="*/ 38 h 437"/>
              <a:gd name="T28" fmla="*/ 262 w 379"/>
              <a:gd name="T29" fmla="*/ 48 h 437"/>
              <a:gd name="T30" fmla="*/ 303 w 379"/>
              <a:gd name="T31" fmla="*/ 45 h 437"/>
              <a:gd name="T32" fmla="*/ 329 w 379"/>
              <a:gd name="T33" fmla="*/ 31 h 437"/>
              <a:gd name="T34" fmla="*/ 356 w 379"/>
              <a:gd name="T35" fmla="*/ 7 h 437"/>
              <a:gd name="T36" fmla="*/ 374 w 379"/>
              <a:gd name="T37" fmla="*/ 9 h 437"/>
              <a:gd name="T38" fmla="*/ 372 w 379"/>
              <a:gd name="T39" fmla="*/ 35 h 437"/>
              <a:gd name="T40" fmla="*/ 329 w 379"/>
              <a:gd name="T41" fmla="*/ 80 h 437"/>
              <a:gd name="T42" fmla="*/ 292 w 379"/>
              <a:gd name="T43" fmla="*/ 97 h 437"/>
              <a:gd name="T44" fmla="*/ 271 w 379"/>
              <a:gd name="T45" fmla="*/ 94 h 437"/>
              <a:gd name="T46" fmla="*/ 238 w 379"/>
              <a:gd name="T47" fmla="*/ 69 h 437"/>
              <a:gd name="T48" fmla="*/ 212 w 379"/>
              <a:gd name="T49" fmla="*/ 56 h 437"/>
              <a:gd name="T50" fmla="*/ 177 w 379"/>
              <a:gd name="T51" fmla="*/ 56 h 437"/>
              <a:gd name="T52" fmla="*/ 138 w 379"/>
              <a:gd name="T53" fmla="*/ 61 h 437"/>
              <a:gd name="T54" fmla="*/ 114 w 379"/>
              <a:gd name="T55" fmla="*/ 79 h 437"/>
              <a:gd name="T56" fmla="*/ 79 w 379"/>
              <a:gd name="T57" fmla="*/ 161 h 437"/>
              <a:gd name="T58" fmla="*/ 119 w 379"/>
              <a:gd name="T59" fmla="*/ 169 h 437"/>
              <a:gd name="T60" fmla="*/ 133 w 379"/>
              <a:gd name="T61" fmla="*/ 191 h 437"/>
              <a:gd name="T62" fmla="*/ 155 w 379"/>
              <a:gd name="T63" fmla="*/ 168 h 437"/>
              <a:gd name="T64" fmla="*/ 172 w 379"/>
              <a:gd name="T65" fmla="*/ 153 h 437"/>
              <a:gd name="T66" fmla="*/ 221 w 379"/>
              <a:gd name="T67" fmla="*/ 150 h 437"/>
              <a:gd name="T68" fmla="*/ 250 w 379"/>
              <a:gd name="T69" fmla="*/ 147 h 437"/>
              <a:gd name="T70" fmla="*/ 273 w 379"/>
              <a:gd name="T71" fmla="*/ 173 h 437"/>
              <a:gd name="T72" fmla="*/ 279 w 379"/>
              <a:gd name="T73" fmla="*/ 203 h 437"/>
              <a:gd name="T74" fmla="*/ 246 w 379"/>
              <a:gd name="T75" fmla="*/ 192 h 437"/>
              <a:gd name="T76" fmla="*/ 218 w 379"/>
              <a:gd name="T77" fmla="*/ 185 h 437"/>
              <a:gd name="T78" fmla="*/ 192 w 379"/>
              <a:gd name="T79" fmla="*/ 195 h 437"/>
              <a:gd name="T80" fmla="*/ 186 w 379"/>
              <a:gd name="T81" fmla="*/ 209 h 437"/>
              <a:gd name="T82" fmla="*/ 192 w 379"/>
              <a:gd name="T83" fmla="*/ 233 h 437"/>
              <a:gd name="T84" fmla="*/ 220 w 379"/>
              <a:gd name="T85" fmla="*/ 272 h 437"/>
              <a:gd name="T86" fmla="*/ 225 w 379"/>
              <a:gd name="T87" fmla="*/ 296 h 437"/>
              <a:gd name="T88" fmla="*/ 215 w 379"/>
              <a:gd name="T89" fmla="*/ 322 h 437"/>
              <a:gd name="T90" fmla="*/ 205 w 379"/>
              <a:gd name="T91" fmla="*/ 345 h 437"/>
              <a:gd name="T92" fmla="*/ 210 w 379"/>
              <a:gd name="T93" fmla="*/ 356 h 437"/>
              <a:gd name="T94" fmla="*/ 236 w 379"/>
              <a:gd name="T95" fmla="*/ 368 h 437"/>
              <a:gd name="T96" fmla="*/ 252 w 379"/>
              <a:gd name="T97" fmla="*/ 400 h 437"/>
              <a:gd name="T98" fmla="*/ 239 w 379"/>
              <a:gd name="T99" fmla="*/ 429 h 437"/>
              <a:gd name="T100" fmla="*/ 221 w 379"/>
              <a:gd name="T101" fmla="*/ 421 h 437"/>
              <a:gd name="T102" fmla="*/ 202 w 379"/>
              <a:gd name="T103" fmla="*/ 417 h 437"/>
              <a:gd name="T104" fmla="*/ 177 w 379"/>
              <a:gd name="T105" fmla="*/ 400 h 437"/>
              <a:gd name="T106" fmla="*/ 153 w 379"/>
              <a:gd name="T107" fmla="*/ 356 h 437"/>
              <a:gd name="T108" fmla="*/ 137 w 379"/>
              <a:gd name="T109" fmla="*/ 304 h 437"/>
              <a:gd name="T110" fmla="*/ 114 w 379"/>
              <a:gd name="T111" fmla="*/ 263 h 437"/>
              <a:gd name="T112" fmla="*/ 97 w 379"/>
              <a:gd name="T113" fmla="*/ 259 h 437"/>
              <a:gd name="T114" fmla="*/ 105 w 379"/>
              <a:gd name="T115" fmla="*/ 381 h 437"/>
              <a:gd name="T116" fmla="*/ 93 w 379"/>
              <a:gd name="T117" fmla="*/ 404 h 437"/>
              <a:gd name="T118" fmla="*/ 57 w 379"/>
              <a:gd name="T119" fmla="*/ 426 h 437"/>
              <a:gd name="T120" fmla="*/ 59 w 379"/>
              <a:gd name="T121" fmla="*/ 437 h 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79" h="437">
                <a:moveTo>
                  <a:pt x="59" y="437"/>
                </a:moveTo>
                <a:lnTo>
                  <a:pt x="33" y="437"/>
                </a:lnTo>
                <a:lnTo>
                  <a:pt x="34" y="430"/>
                </a:lnTo>
                <a:lnTo>
                  <a:pt x="37" y="419"/>
                </a:lnTo>
                <a:lnTo>
                  <a:pt x="38" y="415"/>
                </a:lnTo>
                <a:lnTo>
                  <a:pt x="41" y="410"/>
                </a:lnTo>
                <a:lnTo>
                  <a:pt x="44" y="408"/>
                </a:lnTo>
                <a:lnTo>
                  <a:pt x="46" y="407"/>
                </a:lnTo>
                <a:lnTo>
                  <a:pt x="46" y="320"/>
                </a:lnTo>
                <a:lnTo>
                  <a:pt x="38" y="317"/>
                </a:lnTo>
                <a:lnTo>
                  <a:pt x="32" y="314"/>
                </a:lnTo>
                <a:lnTo>
                  <a:pt x="24" y="311"/>
                </a:lnTo>
                <a:lnTo>
                  <a:pt x="18" y="307"/>
                </a:lnTo>
                <a:lnTo>
                  <a:pt x="12" y="303"/>
                </a:lnTo>
                <a:lnTo>
                  <a:pt x="7" y="299"/>
                </a:lnTo>
                <a:lnTo>
                  <a:pt x="2" y="294"/>
                </a:lnTo>
                <a:lnTo>
                  <a:pt x="0" y="290"/>
                </a:lnTo>
                <a:lnTo>
                  <a:pt x="5" y="284"/>
                </a:lnTo>
                <a:lnTo>
                  <a:pt x="11" y="278"/>
                </a:lnTo>
                <a:lnTo>
                  <a:pt x="15" y="270"/>
                </a:lnTo>
                <a:lnTo>
                  <a:pt x="19" y="264"/>
                </a:lnTo>
                <a:lnTo>
                  <a:pt x="24" y="250"/>
                </a:lnTo>
                <a:lnTo>
                  <a:pt x="28" y="236"/>
                </a:lnTo>
                <a:lnTo>
                  <a:pt x="31" y="221"/>
                </a:lnTo>
                <a:lnTo>
                  <a:pt x="32" y="204"/>
                </a:lnTo>
                <a:lnTo>
                  <a:pt x="33" y="189"/>
                </a:lnTo>
                <a:lnTo>
                  <a:pt x="33" y="173"/>
                </a:lnTo>
                <a:lnTo>
                  <a:pt x="39" y="172"/>
                </a:lnTo>
                <a:lnTo>
                  <a:pt x="45" y="170"/>
                </a:lnTo>
                <a:lnTo>
                  <a:pt x="50" y="168"/>
                </a:lnTo>
                <a:lnTo>
                  <a:pt x="54" y="164"/>
                </a:lnTo>
                <a:lnTo>
                  <a:pt x="57" y="159"/>
                </a:lnTo>
                <a:lnTo>
                  <a:pt x="59" y="154"/>
                </a:lnTo>
                <a:lnTo>
                  <a:pt x="61" y="149"/>
                </a:lnTo>
                <a:lnTo>
                  <a:pt x="63" y="143"/>
                </a:lnTo>
                <a:lnTo>
                  <a:pt x="65" y="130"/>
                </a:lnTo>
                <a:lnTo>
                  <a:pt x="66" y="115"/>
                </a:lnTo>
                <a:lnTo>
                  <a:pt x="69" y="100"/>
                </a:lnTo>
                <a:lnTo>
                  <a:pt x="72" y="86"/>
                </a:lnTo>
                <a:lnTo>
                  <a:pt x="76" y="78"/>
                </a:lnTo>
                <a:lnTo>
                  <a:pt x="78" y="71"/>
                </a:lnTo>
                <a:lnTo>
                  <a:pt x="81" y="64"/>
                </a:lnTo>
                <a:lnTo>
                  <a:pt x="86" y="57"/>
                </a:lnTo>
                <a:lnTo>
                  <a:pt x="90" y="51"/>
                </a:lnTo>
                <a:lnTo>
                  <a:pt x="95" y="44"/>
                </a:lnTo>
                <a:lnTo>
                  <a:pt x="101" y="39"/>
                </a:lnTo>
                <a:lnTo>
                  <a:pt x="108" y="35"/>
                </a:lnTo>
                <a:lnTo>
                  <a:pt x="115" y="31"/>
                </a:lnTo>
                <a:lnTo>
                  <a:pt x="123" y="29"/>
                </a:lnTo>
                <a:lnTo>
                  <a:pt x="132" y="27"/>
                </a:lnTo>
                <a:lnTo>
                  <a:pt x="142" y="25"/>
                </a:lnTo>
                <a:lnTo>
                  <a:pt x="153" y="25"/>
                </a:lnTo>
                <a:lnTo>
                  <a:pt x="165" y="26"/>
                </a:lnTo>
                <a:lnTo>
                  <a:pt x="178" y="28"/>
                </a:lnTo>
                <a:lnTo>
                  <a:pt x="192" y="30"/>
                </a:lnTo>
                <a:lnTo>
                  <a:pt x="217" y="38"/>
                </a:lnTo>
                <a:lnTo>
                  <a:pt x="237" y="44"/>
                </a:lnTo>
                <a:lnTo>
                  <a:pt x="246" y="46"/>
                </a:lnTo>
                <a:lnTo>
                  <a:pt x="254" y="47"/>
                </a:lnTo>
                <a:lnTo>
                  <a:pt x="262" y="48"/>
                </a:lnTo>
                <a:lnTo>
                  <a:pt x="272" y="50"/>
                </a:lnTo>
                <a:lnTo>
                  <a:pt x="283" y="48"/>
                </a:lnTo>
                <a:lnTo>
                  <a:pt x="294" y="47"/>
                </a:lnTo>
                <a:lnTo>
                  <a:pt x="303" y="45"/>
                </a:lnTo>
                <a:lnTo>
                  <a:pt x="311" y="42"/>
                </a:lnTo>
                <a:lnTo>
                  <a:pt x="317" y="39"/>
                </a:lnTo>
                <a:lnTo>
                  <a:pt x="324" y="35"/>
                </a:lnTo>
                <a:lnTo>
                  <a:pt x="329" y="31"/>
                </a:lnTo>
                <a:lnTo>
                  <a:pt x="334" y="27"/>
                </a:lnTo>
                <a:lnTo>
                  <a:pt x="343" y="18"/>
                </a:lnTo>
                <a:lnTo>
                  <a:pt x="351" y="10"/>
                </a:lnTo>
                <a:lnTo>
                  <a:pt x="356" y="7"/>
                </a:lnTo>
                <a:lnTo>
                  <a:pt x="360" y="4"/>
                </a:lnTo>
                <a:lnTo>
                  <a:pt x="366" y="2"/>
                </a:lnTo>
                <a:lnTo>
                  <a:pt x="371" y="0"/>
                </a:lnTo>
                <a:lnTo>
                  <a:pt x="374" y="9"/>
                </a:lnTo>
                <a:lnTo>
                  <a:pt x="379" y="18"/>
                </a:lnTo>
                <a:lnTo>
                  <a:pt x="378" y="23"/>
                </a:lnTo>
                <a:lnTo>
                  <a:pt x="375" y="29"/>
                </a:lnTo>
                <a:lnTo>
                  <a:pt x="372" y="35"/>
                </a:lnTo>
                <a:lnTo>
                  <a:pt x="369" y="41"/>
                </a:lnTo>
                <a:lnTo>
                  <a:pt x="358" y="55"/>
                </a:lnTo>
                <a:lnTo>
                  <a:pt x="344" y="68"/>
                </a:lnTo>
                <a:lnTo>
                  <a:pt x="329" y="80"/>
                </a:lnTo>
                <a:lnTo>
                  <a:pt x="314" y="89"/>
                </a:lnTo>
                <a:lnTo>
                  <a:pt x="306" y="93"/>
                </a:lnTo>
                <a:lnTo>
                  <a:pt x="299" y="96"/>
                </a:lnTo>
                <a:lnTo>
                  <a:pt x="292" y="97"/>
                </a:lnTo>
                <a:lnTo>
                  <a:pt x="285" y="98"/>
                </a:lnTo>
                <a:lnTo>
                  <a:pt x="280" y="98"/>
                </a:lnTo>
                <a:lnTo>
                  <a:pt x="276" y="96"/>
                </a:lnTo>
                <a:lnTo>
                  <a:pt x="271" y="94"/>
                </a:lnTo>
                <a:lnTo>
                  <a:pt x="266" y="91"/>
                </a:lnTo>
                <a:lnTo>
                  <a:pt x="257" y="85"/>
                </a:lnTo>
                <a:lnTo>
                  <a:pt x="248" y="77"/>
                </a:lnTo>
                <a:lnTo>
                  <a:pt x="238" y="69"/>
                </a:lnTo>
                <a:lnTo>
                  <a:pt x="228" y="62"/>
                </a:lnTo>
                <a:lnTo>
                  <a:pt x="223" y="60"/>
                </a:lnTo>
                <a:lnTo>
                  <a:pt x="217" y="57"/>
                </a:lnTo>
                <a:lnTo>
                  <a:pt x="212" y="56"/>
                </a:lnTo>
                <a:lnTo>
                  <a:pt x="205" y="56"/>
                </a:lnTo>
                <a:lnTo>
                  <a:pt x="199" y="56"/>
                </a:lnTo>
                <a:lnTo>
                  <a:pt x="190" y="56"/>
                </a:lnTo>
                <a:lnTo>
                  <a:pt x="177" y="56"/>
                </a:lnTo>
                <a:lnTo>
                  <a:pt x="159" y="56"/>
                </a:lnTo>
                <a:lnTo>
                  <a:pt x="151" y="56"/>
                </a:lnTo>
                <a:lnTo>
                  <a:pt x="145" y="58"/>
                </a:lnTo>
                <a:lnTo>
                  <a:pt x="138" y="61"/>
                </a:lnTo>
                <a:lnTo>
                  <a:pt x="132" y="64"/>
                </a:lnTo>
                <a:lnTo>
                  <a:pt x="125" y="69"/>
                </a:lnTo>
                <a:lnTo>
                  <a:pt x="120" y="74"/>
                </a:lnTo>
                <a:lnTo>
                  <a:pt x="114" y="79"/>
                </a:lnTo>
                <a:lnTo>
                  <a:pt x="109" y="85"/>
                </a:lnTo>
                <a:lnTo>
                  <a:pt x="92" y="110"/>
                </a:lnTo>
                <a:lnTo>
                  <a:pt x="79" y="129"/>
                </a:lnTo>
                <a:lnTo>
                  <a:pt x="79" y="161"/>
                </a:lnTo>
                <a:lnTo>
                  <a:pt x="91" y="161"/>
                </a:lnTo>
                <a:lnTo>
                  <a:pt x="102" y="163"/>
                </a:lnTo>
                <a:lnTo>
                  <a:pt x="111" y="165"/>
                </a:lnTo>
                <a:lnTo>
                  <a:pt x="119" y="169"/>
                </a:lnTo>
                <a:lnTo>
                  <a:pt x="124" y="173"/>
                </a:lnTo>
                <a:lnTo>
                  <a:pt x="128" y="178"/>
                </a:lnTo>
                <a:lnTo>
                  <a:pt x="132" y="184"/>
                </a:lnTo>
                <a:lnTo>
                  <a:pt x="133" y="191"/>
                </a:lnTo>
                <a:lnTo>
                  <a:pt x="139" y="186"/>
                </a:lnTo>
                <a:lnTo>
                  <a:pt x="145" y="180"/>
                </a:lnTo>
                <a:lnTo>
                  <a:pt x="150" y="174"/>
                </a:lnTo>
                <a:lnTo>
                  <a:pt x="155" y="168"/>
                </a:lnTo>
                <a:lnTo>
                  <a:pt x="159" y="163"/>
                </a:lnTo>
                <a:lnTo>
                  <a:pt x="164" y="157"/>
                </a:lnTo>
                <a:lnTo>
                  <a:pt x="168" y="155"/>
                </a:lnTo>
                <a:lnTo>
                  <a:pt x="172" y="153"/>
                </a:lnTo>
                <a:lnTo>
                  <a:pt x="184" y="150"/>
                </a:lnTo>
                <a:lnTo>
                  <a:pt x="196" y="149"/>
                </a:lnTo>
                <a:lnTo>
                  <a:pt x="209" y="149"/>
                </a:lnTo>
                <a:lnTo>
                  <a:pt x="221" y="150"/>
                </a:lnTo>
                <a:lnTo>
                  <a:pt x="232" y="150"/>
                </a:lnTo>
                <a:lnTo>
                  <a:pt x="242" y="149"/>
                </a:lnTo>
                <a:lnTo>
                  <a:pt x="246" y="148"/>
                </a:lnTo>
                <a:lnTo>
                  <a:pt x="250" y="147"/>
                </a:lnTo>
                <a:lnTo>
                  <a:pt x="255" y="144"/>
                </a:lnTo>
                <a:lnTo>
                  <a:pt x="259" y="141"/>
                </a:lnTo>
                <a:lnTo>
                  <a:pt x="268" y="158"/>
                </a:lnTo>
                <a:lnTo>
                  <a:pt x="273" y="173"/>
                </a:lnTo>
                <a:lnTo>
                  <a:pt x="276" y="179"/>
                </a:lnTo>
                <a:lnTo>
                  <a:pt x="278" y="187"/>
                </a:lnTo>
                <a:lnTo>
                  <a:pt x="278" y="194"/>
                </a:lnTo>
                <a:lnTo>
                  <a:pt x="279" y="203"/>
                </a:lnTo>
                <a:lnTo>
                  <a:pt x="268" y="200"/>
                </a:lnTo>
                <a:lnTo>
                  <a:pt x="259" y="198"/>
                </a:lnTo>
                <a:lnTo>
                  <a:pt x="252" y="195"/>
                </a:lnTo>
                <a:lnTo>
                  <a:pt x="246" y="192"/>
                </a:lnTo>
                <a:lnTo>
                  <a:pt x="240" y="189"/>
                </a:lnTo>
                <a:lnTo>
                  <a:pt x="235" y="187"/>
                </a:lnTo>
                <a:lnTo>
                  <a:pt x="227" y="185"/>
                </a:lnTo>
                <a:lnTo>
                  <a:pt x="218" y="185"/>
                </a:lnTo>
                <a:lnTo>
                  <a:pt x="210" y="186"/>
                </a:lnTo>
                <a:lnTo>
                  <a:pt x="202" y="188"/>
                </a:lnTo>
                <a:lnTo>
                  <a:pt x="196" y="191"/>
                </a:lnTo>
                <a:lnTo>
                  <a:pt x="192" y="195"/>
                </a:lnTo>
                <a:lnTo>
                  <a:pt x="189" y="199"/>
                </a:lnTo>
                <a:lnTo>
                  <a:pt x="187" y="203"/>
                </a:lnTo>
                <a:lnTo>
                  <a:pt x="186" y="206"/>
                </a:lnTo>
                <a:lnTo>
                  <a:pt x="186" y="209"/>
                </a:lnTo>
                <a:lnTo>
                  <a:pt x="186" y="215"/>
                </a:lnTo>
                <a:lnTo>
                  <a:pt x="188" y="223"/>
                </a:lnTo>
                <a:lnTo>
                  <a:pt x="189" y="228"/>
                </a:lnTo>
                <a:lnTo>
                  <a:pt x="192" y="233"/>
                </a:lnTo>
                <a:lnTo>
                  <a:pt x="198" y="243"/>
                </a:lnTo>
                <a:lnTo>
                  <a:pt x="205" y="252"/>
                </a:lnTo>
                <a:lnTo>
                  <a:pt x="213" y="261"/>
                </a:lnTo>
                <a:lnTo>
                  <a:pt x="220" y="272"/>
                </a:lnTo>
                <a:lnTo>
                  <a:pt x="222" y="277"/>
                </a:lnTo>
                <a:lnTo>
                  <a:pt x="224" y="283"/>
                </a:lnTo>
                <a:lnTo>
                  <a:pt x="225" y="289"/>
                </a:lnTo>
                <a:lnTo>
                  <a:pt x="225" y="296"/>
                </a:lnTo>
                <a:lnTo>
                  <a:pt x="225" y="302"/>
                </a:lnTo>
                <a:lnTo>
                  <a:pt x="222" y="309"/>
                </a:lnTo>
                <a:lnTo>
                  <a:pt x="220" y="316"/>
                </a:lnTo>
                <a:lnTo>
                  <a:pt x="215" y="322"/>
                </a:lnTo>
                <a:lnTo>
                  <a:pt x="212" y="329"/>
                </a:lnTo>
                <a:lnTo>
                  <a:pt x="209" y="335"/>
                </a:lnTo>
                <a:lnTo>
                  <a:pt x="206" y="340"/>
                </a:lnTo>
                <a:lnTo>
                  <a:pt x="205" y="345"/>
                </a:lnTo>
                <a:lnTo>
                  <a:pt x="205" y="348"/>
                </a:lnTo>
                <a:lnTo>
                  <a:pt x="206" y="351"/>
                </a:lnTo>
                <a:lnTo>
                  <a:pt x="209" y="354"/>
                </a:lnTo>
                <a:lnTo>
                  <a:pt x="210" y="356"/>
                </a:lnTo>
                <a:lnTo>
                  <a:pt x="215" y="361"/>
                </a:lnTo>
                <a:lnTo>
                  <a:pt x="222" y="364"/>
                </a:lnTo>
                <a:lnTo>
                  <a:pt x="228" y="366"/>
                </a:lnTo>
                <a:lnTo>
                  <a:pt x="236" y="368"/>
                </a:lnTo>
                <a:lnTo>
                  <a:pt x="244" y="369"/>
                </a:lnTo>
                <a:lnTo>
                  <a:pt x="252" y="369"/>
                </a:lnTo>
                <a:lnTo>
                  <a:pt x="252" y="390"/>
                </a:lnTo>
                <a:lnTo>
                  <a:pt x="252" y="400"/>
                </a:lnTo>
                <a:lnTo>
                  <a:pt x="252" y="411"/>
                </a:lnTo>
                <a:lnTo>
                  <a:pt x="252" y="431"/>
                </a:lnTo>
                <a:lnTo>
                  <a:pt x="245" y="430"/>
                </a:lnTo>
                <a:lnTo>
                  <a:pt x="239" y="429"/>
                </a:lnTo>
                <a:lnTo>
                  <a:pt x="234" y="427"/>
                </a:lnTo>
                <a:lnTo>
                  <a:pt x="229" y="425"/>
                </a:lnTo>
                <a:lnTo>
                  <a:pt x="225" y="423"/>
                </a:lnTo>
                <a:lnTo>
                  <a:pt x="221" y="421"/>
                </a:lnTo>
                <a:lnTo>
                  <a:pt x="217" y="419"/>
                </a:lnTo>
                <a:lnTo>
                  <a:pt x="212" y="419"/>
                </a:lnTo>
                <a:lnTo>
                  <a:pt x="207" y="418"/>
                </a:lnTo>
                <a:lnTo>
                  <a:pt x="202" y="417"/>
                </a:lnTo>
                <a:lnTo>
                  <a:pt x="198" y="416"/>
                </a:lnTo>
                <a:lnTo>
                  <a:pt x="193" y="414"/>
                </a:lnTo>
                <a:lnTo>
                  <a:pt x="186" y="408"/>
                </a:lnTo>
                <a:lnTo>
                  <a:pt x="177" y="400"/>
                </a:lnTo>
                <a:lnTo>
                  <a:pt x="170" y="391"/>
                </a:lnTo>
                <a:lnTo>
                  <a:pt x="164" y="379"/>
                </a:lnTo>
                <a:lnTo>
                  <a:pt x="158" y="368"/>
                </a:lnTo>
                <a:lnTo>
                  <a:pt x="153" y="356"/>
                </a:lnTo>
                <a:lnTo>
                  <a:pt x="148" y="343"/>
                </a:lnTo>
                <a:lnTo>
                  <a:pt x="144" y="330"/>
                </a:lnTo>
                <a:lnTo>
                  <a:pt x="140" y="317"/>
                </a:lnTo>
                <a:lnTo>
                  <a:pt x="137" y="304"/>
                </a:lnTo>
                <a:lnTo>
                  <a:pt x="134" y="282"/>
                </a:lnTo>
                <a:lnTo>
                  <a:pt x="133" y="264"/>
                </a:lnTo>
                <a:lnTo>
                  <a:pt x="122" y="264"/>
                </a:lnTo>
                <a:lnTo>
                  <a:pt x="114" y="263"/>
                </a:lnTo>
                <a:lnTo>
                  <a:pt x="109" y="261"/>
                </a:lnTo>
                <a:lnTo>
                  <a:pt x="104" y="260"/>
                </a:lnTo>
                <a:lnTo>
                  <a:pt x="101" y="259"/>
                </a:lnTo>
                <a:lnTo>
                  <a:pt x="97" y="259"/>
                </a:lnTo>
                <a:lnTo>
                  <a:pt x="92" y="261"/>
                </a:lnTo>
                <a:lnTo>
                  <a:pt x="86" y="264"/>
                </a:lnTo>
                <a:lnTo>
                  <a:pt x="86" y="296"/>
                </a:lnTo>
                <a:lnTo>
                  <a:pt x="105" y="381"/>
                </a:lnTo>
                <a:lnTo>
                  <a:pt x="104" y="389"/>
                </a:lnTo>
                <a:lnTo>
                  <a:pt x="101" y="394"/>
                </a:lnTo>
                <a:lnTo>
                  <a:pt x="98" y="399"/>
                </a:lnTo>
                <a:lnTo>
                  <a:pt x="93" y="404"/>
                </a:lnTo>
                <a:lnTo>
                  <a:pt x="83" y="411"/>
                </a:lnTo>
                <a:lnTo>
                  <a:pt x="72" y="416"/>
                </a:lnTo>
                <a:lnTo>
                  <a:pt x="64" y="421"/>
                </a:lnTo>
                <a:lnTo>
                  <a:pt x="57" y="426"/>
                </a:lnTo>
                <a:lnTo>
                  <a:pt x="56" y="428"/>
                </a:lnTo>
                <a:lnTo>
                  <a:pt x="55" y="431"/>
                </a:lnTo>
                <a:lnTo>
                  <a:pt x="56" y="434"/>
                </a:lnTo>
                <a:lnTo>
                  <a:pt x="59" y="4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87" name="Freeform 339"/>
          <p:cNvSpPr>
            <a:spLocks/>
          </p:cNvSpPr>
          <p:nvPr>
            <p:custDataLst>
              <p:tags r:id="rId242"/>
            </p:custDataLst>
          </p:nvPr>
        </p:nvSpPr>
        <p:spPr bwMode="auto">
          <a:xfrm>
            <a:off x="8162926" y="3838575"/>
            <a:ext cx="250825" cy="95250"/>
          </a:xfrm>
          <a:custGeom>
            <a:avLst/>
            <a:gdLst>
              <a:gd name="T0" fmla="*/ 11 w 578"/>
              <a:gd name="T1" fmla="*/ 50 h 184"/>
              <a:gd name="T2" fmla="*/ 24 w 578"/>
              <a:gd name="T3" fmla="*/ 32 h 184"/>
              <a:gd name="T4" fmla="*/ 41 w 578"/>
              <a:gd name="T5" fmla="*/ 7 h 184"/>
              <a:gd name="T6" fmla="*/ 54 w 578"/>
              <a:gd name="T7" fmla="*/ 0 h 184"/>
              <a:gd name="T8" fmla="*/ 79 w 578"/>
              <a:gd name="T9" fmla="*/ 2 h 184"/>
              <a:gd name="T10" fmla="*/ 95 w 578"/>
              <a:gd name="T11" fmla="*/ 2 h 184"/>
              <a:gd name="T12" fmla="*/ 101 w 578"/>
              <a:gd name="T13" fmla="*/ 5 h 184"/>
              <a:gd name="T14" fmla="*/ 115 w 578"/>
              <a:gd name="T15" fmla="*/ 15 h 184"/>
              <a:gd name="T16" fmla="*/ 147 w 578"/>
              <a:gd name="T17" fmla="*/ 27 h 184"/>
              <a:gd name="T18" fmla="*/ 168 w 578"/>
              <a:gd name="T19" fmla="*/ 37 h 184"/>
              <a:gd name="T20" fmla="*/ 178 w 578"/>
              <a:gd name="T21" fmla="*/ 53 h 184"/>
              <a:gd name="T22" fmla="*/ 192 w 578"/>
              <a:gd name="T23" fmla="*/ 61 h 184"/>
              <a:gd name="T24" fmla="*/ 231 w 578"/>
              <a:gd name="T25" fmla="*/ 60 h 184"/>
              <a:gd name="T26" fmla="*/ 277 w 578"/>
              <a:gd name="T27" fmla="*/ 51 h 184"/>
              <a:gd name="T28" fmla="*/ 299 w 578"/>
              <a:gd name="T29" fmla="*/ 39 h 184"/>
              <a:gd name="T30" fmla="*/ 314 w 578"/>
              <a:gd name="T31" fmla="*/ 34 h 184"/>
              <a:gd name="T32" fmla="*/ 327 w 578"/>
              <a:gd name="T33" fmla="*/ 35 h 184"/>
              <a:gd name="T34" fmla="*/ 339 w 578"/>
              <a:gd name="T35" fmla="*/ 31 h 184"/>
              <a:gd name="T36" fmla="*/ 366 w 578"/>
              <a:gd name="T37" fmla="*/ 34 h 184"/>
              <a:gd name="T38" fmla="*/ 399 w 578"/>
              <a:gd name="T39" fmla="*/ 59 h 184"/>
              <a:gd name="T40" fmla="*/ 428 w 578"/>
              <a:gd name="T41" fmla="*/ 89 h 184"/>
              <a:gd name="T42" fmla="*/ 456 w 578"/>
              <a:gd name="T43" fmla="*/ 105 h 184"/>
              <a:gd name="T44" fmla="*/ 479 w 578"/>
              <a:gd name="T45" fmla="*/ 107 h 184"/>
              <a:gd name="T46" fmla="*/ 493 w 578"/>
              <a:gd name="T47" fmla="*/ 108 h 184"/>
              <a:gd name="T48" fmla="*/ 505 w 578"/>
              <a:gd name="T49" fmla="*/ 125 h 184"/>
              <a:gd name="T50" fmla="*/ 522 w 578"/>
              <a:gd name="T51" fmla="*/ 140 h 184"/>
              <a:gd name="T52" fmla="*/ 534 w 578"/>
              <a:gd name="T53" fmla="*/ 139 h 184"/>
              <a:gd name="T54" fmla="*/ 546 w 578"/>
              <a:gd name="T55" fmla="*/ 128 h 184"/>
              <a:gd name="T56" fmla="*/ 558 w 578"/>
              <a:gd name="T57" fmla="*/ 134 h 184"/>
              <a:gd name="T58" fmla="*/ 571 w 578"/>
              <a:gd name="T59" fmla="*/ 145 h 184"/>
              <a:gd name="T60" fmla="*/ 578 w 578"/>
              <a:gd name="T61" fmla="*/ 160 h 184"/>
              <a:gd name="T62" fmla="*/ 575 w 578"/>
              <a:gd name="T63" fmla="*/ 173 h 184"/>
              <a:gd name="T64" fmla="*/ 567 w 578"/>
              <a:gd name="T65" fmla="*/ 182 h 184"/>
              <a:gd name="T66" fmla="*/ 551 w 578"/>
              <a:gd name="T67" fmla="*/ 178 h 184"/>
              <a:gd name="T68" fmla="*/ 526 w 578"/>
              <a:gd name="T69" fmla="*/ 170 h 184"/>
              <a:gd name="T70" fmla="*/ 491 w 578"/>
              <a:gd name="T71" fmla="*/ 172 h 184"/>
              <a:gd name="T72" fmla="*/ 462 w 578"/>
              <a:gd name="T73" fmla="*/ 170 h 184"/>
              <a:gd name="T74" fmla="*/ 451 w 578"/>
              <a:gd name="T75" fmla="*/ 160 h 184"/>
              <a:gd name="T76" fmla="*/ 438 w 578"/>
              <a:gd name="T77" fmla="*/ 154 h 184"/>
              <a:gd name="T78" fmla="*/ 426 w 578"/>
              <a:gd name="T79" fmla="*/ 160 h 184"/>
              <a:gd name="T80" fmla="*/ 416 w 578"/>
              <a:gd name="T81" fmla="*/ 170 h 184"/>
              <a:gd name="T82" fmla="*/ 398 w 578"/>
              <a:gd name="T83" fmla="*/ 171 h 184"/>
              <a:gd name="T84" fmla="*/ 328 w 578"/>
              <a:gd name="T85" fmla="*/ 153 h 184"/>
              <a:gd name="T86" fmla="*/ 277 w 578"/>
              <a:gd name="T87" fmla="*/ 132 h 184"/>
              <a:gd name="T88" fmla="*/ 266 w 578"/>
              <a:gd name="T89" fmla="*/ 123 h 184"/>
              <a:gd name="T90" fmla="*/ 230 w 578"/>
              <a:gd name="T91" fmla="*/ 119 h 184"/>
              <a:gd name="T92" fmla="*/ 201 w 578"/>
              <a:gd name="T93" fmla="*/ 113 h 184"/>
              <a:gd name="T94" fmla="*/ 168 w 578"/>
              <a:gd name="T95" fmla="*/ 111 h 184"/>
              <a:gd name="T96" fmla="*/ 146 w 578"/>
              <a:gd name="T97" fmla="*/ 111 h 184"/>
              <a:gd name="T98" fmla="*/ 124 w 578"/>
              <a:gd name="T99" fmla="*/ 105 h 184"/>
              <a:gd name="T100" fmla="*/ 120 w 578"/>
              <a:gd name="T101" fmla="*/ 99 h 184"/>
              <a:gd name="T102" fmla="*/ 69 w 578"/>
              <a:gd name="T103" fmla="*/ 97 h 184"/>
              <a:gd name="T104" fmla="*/ 46 w 578"/>
              <a:gd name="T105" fmla="*/ 88 h 184"/>
              <a:gd name="T106" fmla="*/ 0 w 578"/>
              <a:gd name="T107" fmla="*/ 55 h 1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78" h="184">
                <a:moveTo>
                  <a:pt x="0" y="55"/>
                </a:moveTo>
                <a:lnTo>
                  <a:pt x="6" y="53"/>
                </a:lnTo>
                <a:lnTo>
                  <a:pt x="11" y="50"/>
                </a:lnTo>
                <a:lnTo>
                  <a:pt x="14" y="46"/>
                </a:lnTo>
                <a:lnTo>
                  <a:pt x="19" y="42"/>
                </a:lnTo>
                <a:lnTo>
                  <a:pt x="24" y="32"/>
                </a:lnTo>
                <a:lnTo>
                  <a:pt x="30" y="23"/>
                </a:lnTo>
                <a:lnTo>
                  <a:pt x="35" y="14"/>
                </a:lnTo>
                <a:lnTo>
                  <a:pt x="41" y="7"/>
                </a:lnTo>
                <a:lnTo>
                  <a:pt x="44" y="4"/>
                </a:lnTo>
                <a:lnTo>
                  <a:pt x="48" y="2"/>
                </a:lnTo>
                <a:lnTo>
                  <a:pt x="54" y="0"/>
                </a:lnTo>
                <a:lnTo>
                  <a:pt x="59" y="0"/>
                </a:lnTo>
                <a:lnTo>
                  <a:pt x="69" y="1"/>
                </a:lnTo>
                <a:lnTo>
                  <a:pt x="79" y="2"/>
                </a:lnTo>
                <a:lnTo>
                  <a:pt x="85" y="3"/>
                </a:lnTo>
                <a:lnTo>
                  <a:pt x="89" y="3"/>
                </a:lnTo>
                <a:lnTo>
                  <a:pt x="95" y="2"/>
                </a:lnTo>
                <a:lnTo>
                  <a:pt x="99" y="0"/>
                </a:lnTo>
                <a:lnTo>
                  <a:pt x="100" y="2"/>
                </a:lnTo>
                <a:lnTo>
                  <a:pt x="101" y="5"/>
                </a:lnTo>
                <a:lnTo>
                  <a:pt x="103" y="7"/>
                </a:lnTo>
                <a:lnTo>
                  <a:pt x="107" y="10"/>
                </a:lnTo>
                <a:lnTo>
                  <a:pt x="115" y="15"/>
                </a:lnTo>
                <a:lnTo>
                  <a:pt x="125" y="20"/>
                </a:lnTo>
                <a:lnTo>
                  <a:pt x="136" y="24"/>
                </a:lnTo>
                <a:lnTo>
                  <a:pt x="147" y="27"/>
                </a:lnTo>
                <a:lnTo>
                  <a:pt x="157" y="29"/>
                </a:lnTo>
                <a:lnTo>
                  <a:pt x="166" y="30"/>
                </a:lnTo>
                <a:lnTo>
                  <a:pt x="168" y="37"/>
                </a:lnTo>
                <a:lnTo>
                  <a:pt x="171" y="44"/>
                </a:lnTo>
                <a:lnTo>
                  <a:pt x="174" y="49"/>
                </a:lnTo>
                <a:lnTo>
                  <a:pt x="178" y="53"/>
                </a:lnTo>
                <a:lnTo>
                  <a:pt x="181" y="57"/>
                </a:lnTo>
                <a:lnTo>
                  <a:pt x="187" y="59"/>
                </a:lnTo>
                <a:lnTo>
                  <a:pt x="192" y="61"/>
                </a:lnTo>
                <a:lnTo>
                  <a:pt x="199" y="61"/>
                </a:lnTo>
                <a:lnTo>
                  <a:pt x="214" y="61"/>
                </a:lnTo>
                <a:lnTo>
                  <a:pt x="231" y="60"/>
                </a:lnTo>
                <a:lnTo>
                  <a:pt x="247" y="58"/>
                </a:lnTo>
                <a:lnTo>
                  <a:pt x="263" y="55"/>
                </a:lnTo>
                <a:lnTo>
                  <a:pt x="277" y="51"/>
                </a:lnTo>
                <a:lnTo>
                  <a:pt x="289" y="46"/>
                </a:lnTo>
                <a:lnTo>
                  <a:pt x="294" y="43"/>
                </a:lnTo>
                <a:lnTo>
                  <a:pt x="299" y="39"/>
                </a:lnTo>
                <a:lnTo>
                  <a:pt x="302" y="35"/>
                </a:lnTo>
                <a:lnTo>
                  <a:pt x="305" y="30"/>
                </a:lnTo>
                <a:lnTo>
                  <a:pt x="314" y="34"/>
                </a:lnTo>
                <a:lnTo>
                  <a:pt x="320" y="35"/>
                </a:lnTo>
                <a:lnTo>
                  <a:pt x="324" y="36"/>
                </a:lnTo>
                <a:lnTo>
                  <a:pt x="327" y="35"/>
                </a:lnTo>
                <a:lnTo>
                  <a:pt x="331" y="33"/>
                </a:lnTo>
                <a:lnTo>
                  <a:pt x="334" y="32"/>
                </a:lnTo>
                <a:lnTo>
                  <a:pt x="339" y="31"/>
                </a:lnTo>
                <a:lnTo>
                  <a:pt x="345" y="30"/>
                </a:lnTo>
                <a:lnTo>
                  <a:pt x="356" y="31"/>
                </a:lnTo>
                <a:lnTo>
                  <a:pt x="366" y="34"/>
                </a:lnTo>
                <a:lnTo>
                  <a:pt x="375" y="39"/>
                </a:lnTo>
                <a:lnTo>
                  <a:pt x="383" y="45"/>
                </a:lnTo>
                <a:lnTo>
                  <a:pt x="399" y="59"/>
                </a:lnTo>
                <a:lnTo>
                  <a:pt x="413" y="74"/>
                </a:lnTo>
                <a:lnTo>
                  <a:pt x="421" y="82"/>
                </a:lnTo>
                <a:lnTo>
                  <a:pt x="428" y="89"/>
                </a:lnTo>
                <a:lnTo>
                  <a:pt x="437" y="96"/>
                </a:lnTo>
                <a:lnTo>
                  <a:pt x="446" y="101"/>
                </a:lnTo>
                <a:lnTo>
                  <a:pt x="456" y="105"/>
                </a:lnTo>
                <a:lnTo>
                  <a:pt x="467" y="107"/>
                </a:lnTo>
                <a:lnTo>
                  <a:pt x="472" y="107"/>
                </a:lnTo>
                <a:lnTo>
                  <a:pt x="479" y="107"/>
                </a:lnTo>
                <a:lnTo>
                  <a:pt x="484" y="106"/>
                </a:lnTo>
                <a:lnTo>
                  <a:pt x="491" y="105"/>
                </a:lnTo>
                <a:lnTo>
                  <a:pt x="493" y="108"/>
                </a:lnTo>
                <a:lnTo>
                  <a:pt x="495" y="113"/>
                </a:lnTo>
                <a:lnTo>
                  <a:pt x="500" y="119"/>
                </a:lnTo>
                <a:lnTo>
                  <a:pt x="505" y="125"/>
                </a:lnTo>
                <a:lnTo>
                  <a:pt x="511" y="131"/>
                </a:lnTo>
                <a:lnTo>
                  <a:pt x="516" y="136"/>
                </a:lnTo>
                <a:lnTo>
                  <a:pt x="522" y="140"/>
                </a:lnTo>
                <a:lnTo>
                  <a:pt x="525" y="141"/>
                </a:lnTo>
                <a:lnTo>
                  <a:pt x="529" y="141"/>
                </a:lnTo>
                <a:lnTo>
                  <a:pt x="534" y="139"/>
                </a:lnTo>
                <a:lnTo>
                  <a:pt x="537" y="137"/>
                </a:lnTo>
                <a:lnTo>
                  <a:pt x="540" y="134"/>
                </a:lnTo>
                <a:lnTo>
                  <a:pt x="546" y="128"/>
                </a:lnTo>
                <a:lnTo>
                  <a:pt x="551" y="123"/>
                </a:lnTo>
                <a:lnTo>
                  <a:pt x="555" y="129"/>
                </a:lnTo>
                <a:lnTo>
                  <a:pt x="558" y="134"/>
                </a:lnTo>
                <a:lnTo>
                  <a:pt x="562" y="138"/>
                </a:lnTo>
                <a:lnTo>
                  <a:pt x="567" y="141"/>
                </a:lnTo>
                <a:lnTo>
                  <a:pt x="571" y="145"/>
                </a:lnTo>
                <a:lnTo>
                  <a:pt x="574" y="150"/>
                </a:lnTo>
                <a:lnTo>
                  <a:pt x="577" y="154"/>
                </a:lnTo>
                <a:lnTo>
                  <a:pt x="578" y="160"/>
                </a:lnTo>
                <a:lnTo>
                  <a:pt x="578" y="165"/>
                </a:lnTo>
                <a:lnTo>
                  <a:pt x="577" y="169"/>
                </a:lnTo>
                <a:lnTo>
                  <a:pt x="575" y="173"/>
                </a:lnTo>
                <a:lnTo>
                  <a:pt x="573" y="177"/>
                </a:lnTo>
                <a:lnTo>
                  <a:pt x="570" y="180"/>
                </a:lnTo>
                <a:lnTo>
                  <a:pt x="567" y="182"/>
                </a:lnTo>
                <a:lnTo>
                  <a:pt x="562" y="184"/>
                </a:lnTo>
                <a:lnTo>
                  <a:pt x="558" y="184"/>
                </a:lnTo>
                <a:lnTo>
                  <a:pt x="551" y="178"/>
                </a:lnTo>
                <a:lnTo>
                  <a:pt x="545" y="172"/>
                </a:lnTo>
                <a:lnTo>
                  <a:pt x="535" y="171"/>
                </a:lnTo>
                <a:lnTo>
                  <a:pt x="526" y="170"/>
                </a:lnTo>
                <a:lnTo>
                  <a:pt x="517" y="170"/>
                </a:lnTo>
                <a:lnTo>
                  <a:pt x="509" y="170"/>
                </a:lnTo>
                <a:lnTo>
                  <a:pt x="491" y="172"/>
                </a:lnTo>
                <a:lnTo>
                  <a:pt x="471" y="172"/>
                </a:lnTo>
                <a:lnTo>
                  <a:pt x="467" y="172"/>
                </a:lnTo>
                <a:lnTo>
                  <a:pt x="462" y="170"/>
                </a:lnTo>
                <a:lnTo>
                  <a:pt x="459" y="167"/>
                </a:lnTo>
                <a:lnTo>
                  <a:pt x="455" y="163"/>
                </a:lnTo>
                <a:lnTo>
                  <a:pt x="451" y="160"/>
                </a:lnTo>
                <a:lnTo>
                  <a:pt x="447" y="157"/>
                </a:lnTo>
                <a:lnTo>
                  <a:pt x="443" y="155"/>
                </a:lnTo>
                <a:lnTo>
                  <a:pt x="438" y="154"/>
                </a:lnTo>
                <a:lnTo>
                  <a:pt x="434" y="155"/>
                </a:lnTo>
                <a:lnTo>
                  <a:pt x="429" y="157"/>
                </a:lnTo>
                <a:lnTo>
                  <a:pt x="426" y="160"/>
                </a:lnTo>
                <a:lnTo>
                  <a:pt x="423" y="163"/>
                </a:lnTo>
                <a:lnTo>
                  <a:pt x="420" y="167"/>
                </a:lnTo>
                <a:lnTo>
                  <a:pt x="416" y="170"/>
                </a:lnTo>
                <a:lnTo>
                  <a:pt x="414" y="172"/>
                </a:lnTo>
                <a:lnTo>
                  <a:pt x="412" y="172"/>
                </a:lnTo>
                <a:lnTo>
                  <a:pt x="398" y="171"/>
                </a:lnTo>
                <a:lnTo>
                  <a:pt x="378" y="167"/>
                </a:lnTo>
                <a:lnTo>
                  <a:pt x="354" y="160"/>
                </a:lnTo>
                <a:lnTo>
                  <a:pt x="328" y="153"/>
                </a:lnTo>
                <a:lnTo>
                  <a:pt x="304" y="144"/>
                </a:lnTo>
                <a:lnTo>
                  <a:pt x="285" y="136"/>
                </a:lnTo>
                <a:lnTo>
                  <a:pt x="277" y="132"/>
                </a:lnTo>
                <a:lnTo>
                  <a:pt x="270" y="129"/>
                </a:lnTo>
                <a:lnTo>
                  <a:pt x="267" y="126"/>
                </a:lnTo>
                <a:lnTo>
                  <a:pt x="266" y="123"/>
                </a:lnTo>
                <a:lnTo>
                  <a:pt x="252" y="122"/>
                </a:lnTo>
                <a:lnTo>
                  <a:pt x="240" y="121"/>
                </a:lnTo>
                <a:lnTo>
                  <a:pt x="230" y="119"/>
                </a:lnTo>
                <a:lnTo>
                  <a:pt x="220" y="117"/>
                </a:lnTo>
                <a:lnTo>
                  <a:pt x="211" y="115"/>
                </a:lnTo>
                <a:lnTo>
                  <a:pt x="201" y="113"/>
                </a:lnTo>
                <a:lnTo>
                  <a:pt x="191" y="111"/>
                </a:lnTo>
                <a:lnTo>
                  <a:pt x="179" y="111"/>
                </a:lnTo>
                <a:lnTo>
                  <a:pt x="168" y="111"/>
                </a:lnTo>
                <a:lnTo>
                  <a:pt x="157" y="111"/>
                </a:lnTo>
                <a:lnTo>
                  <a:pt x="149" y="111"/>
                </a:lnTo>
                <a:lnTo>
                  <a:pt x="146" y="111"/>
                </a:lnTo>
                <a:lnTo>
                  <a:pt x="136" y="110"/>
                </a:lnTo>
                <a:lnTo>
                  <a:pt x="128" y="107"/>
                </a:lnTo>
                <a:lnTo>
                  <a:pt x="124" y="105"/>
                </a:lnTo>
                <a:lnTo>
                  <a:pt x="122" y="103"/>
                </a:lnTo>
                <a:lnTo>
                  <a:pt x="120" y="101"/>
                </a:lnTo>
                <a:lnTo>
                  <a:pt x="120" y="99"/>
                </a:lnTo>
                <a:lnTo>
                  <a:pt x="79" y="99"/>
                </a:lnTo>
                <a:lnTo>
                  <a:pt x="75" y="98"/>
                </a:lnTo>
                <a:lnTo>
                  <a:pt x="69" y="97"/>
                </a:lnTo>
                <a:lnTo>
                  <a:pt x="64" y="96"/>
                </a:lnTo>
                <a:lnTo>
                  <a:pt x="57" y="94"/>
                </a:lnTo>
                <a:lnTo>
                  <a:pt x="46" y="88"/>
                </a:lnTo>
                <a:lnTo>
                  <a:pt x="34" y="81"/>
                </a:lnTo>
                <a:lnTo>
                  <a:pt x="14" y="67"/>
                </a:lnTo>
                <a:lnTo>
                  <a:pt x="0" y="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88" name="Freeform 340"/>
          <p:cNvSpPr>
            <a:spLocks/>
          </p:cNvSpPr>
          <p:nvPr>
            <p:custDataLst>
              <p:tags r:id="rId243"/>
            </p:custDataLst>
          </p:nvPr>
        </p:nvSpPr>
        <p:spPr bwMode="auto">
          <a:xfrm>
            <a:off x="8843963" y="3695701"/>
            <a:ext cx="214312" cy="252413"/>
          </a:xfrm>
          <a:custGeom>
            <a:avLst/>
            <a:gdLst>
              <a:gd name="T0" fmla="*/ 482 w 491"/>
              <a:gd name="T1" fmla="*/ 479 h 481"/>
              <a:gd name="T2" fmla="*/ 457 w 491"/>
              <a:gd name="T3" fmla="*/ 465 h 481"/>
              <a:gd name="T4" fmla="*/ 422 w 491"/>
              <a:gd name="T5" fmla="*/ 434 h 481"/>
              <a:gd name="T6" fmla="*/ 412 w 491"/>
              <a:gd name="T7" fmla="*/ 417 h 481"/>
              <a:gd name="T8" fmla="*/ 376 w 491"/>
              <a:gd name="T9" fmla="*/ 410 h 481"/>
              <a:gd name="T10" fmla="*/ 360 w 491"/>
              <a:gd name="T11" fmla="*/ 406 h 481"/>
              <a:gd name="T12" fmla="*/ 350 w 491"/>
              <a:gd name="T13" fmla="*/ 396 h 481"/>
              <a:gd name="T14" fmla="*/ 346 w 491"/>
              <a:gd name="T15" fmla="*/ 374 h 481"/>
              <a:gd name="T16" fmla="*/ 342 w 491"/>
              <a:gd name="T17" fmla="*/ 332 h 481"/>
              <a:gd name="T18" fmla="*/ 327 w 491"/>
              <a:gd name="T19" fmla="*/ 303 h 481"/>
              <a:gd name="T20" fmla="*/ 319 w 491"/>
              <a:gd name="T21" fmla="*/ 277 h 481"/>
              <a:gd name="T22" fmla="*/ 314 w 491"/>
              <a:gd name="T23" fmla="*/ 244 h 481"/>
              <a:gd name="T24" fmla="*/ 292 w 491"/>
              <a:gd name="T25" fmla="*/ 223 h 481"/>
              <a:gd name="T26" fmla="*/ 260 w 491"/>
              <a:gd name="T27" fmla="*/ 205 h 481"/>
              <a:gd name="T28" fmla="*/ 221 w 491"/>
              <a:gd name="T29" fmla="*/ 190 h 481"/>
              <a:gd name="T30" fmla="*/ 178 w 491"/>
              <a:gd name="T31" fmla="*/ 181 h 481"/>
              <a:gd name="T32" fmla="*/ 133 w 491"/>
              <a:gd name="T33" fmla="*/ 178 h 481"/>
              <a:gd name="T34" fmla="*/ 133 w 491"/>
              <a:gd name="T35" fmla="*/ 156 h 481"/>
              <a:gd name="T36" fmla="*/ 110 w 491"/>
              <a:gd name="T37" fmla="*/ 145 h 481"/>
              <a:gd name="T38" fmla="*/ 85 w 491"/>
              <a:gd name="T39" fmla="*/ 130 h 481"/>
              <a:gd name="T40" fmla="*/ 66 w 491"/>
              <a:gd name="T41" fmla="*/ 111 h 481"/>
              <a:gd name="T42" fmla="*/ 73 w 491"/>
              <a:gd name="T43" fmla="*/ 133 h 481"/>
              <a:gd name="T44" fmla="*/ 54 w 491"/>
              <a:gd name="T45" fmla="*/ 147 h 481"/>
              <a:gd name="T46" fmla="*/ 40 w 491"/>
              <a:gd name="T47" fmla="*/ 178 h 481"/>
              <a:gd name="T48" fmla="*/ 24 w 491"/>
              <a:gd name="T49" fmla="*/ 220 h 481"/>
              <a:gd name="T50" fmla="*/ 13 w 491"/>
              <a:gd name="T51" fmla="*/ 265 h 481"/>
              <a:gd name="T52" fmla="*/ 14 w 491"/>
              <a:gd name="T53" fmla="*/ 237 h 481"/>
              <a:gd name="T54" fmla="*/ 23 w 491"/>
              <a:gd name="T55" fmla="*/ 209 h 481"/>
              <a:gd name="T56" fmla="*/ 32 w 491"/>
              <a:gd name="T57" fmla="*/ 181 h 481"/>
              <a:gd name="T58" fmla="*/ 30 w 491"/>
              <a:gd name="T59" fmla="*/ 143 h 481"/>
              <a:gd name="T60" fmla="*/ 17 w 491"/>
              <a:gd name="T61" fmla="*/ 111 h 481"/>
              <a:gd name="T62" fmla="*/ 0 w 491"/>
              <a:gd name="T63" fmla="*/ 73 h 481"/>
              <a:gd name="T64" fmla="*/ 34 w 491"/>
              <a:gd name="T65" fmla="*/ 59 h 481"/>
              <a:gd name="T66" fmla="*/ 59 w 491"/>
              <a:gd name="T67" fmla="*/ 55 h 481"/>
              <a:gd name="T68" fmla="*/ 84 w 491"/>
              <a:gd name="T69" fmla="*/ 58 h 481"/>
              <a:gd name="T70" fmla="*/ 102 w 491"/>
              <a:gd name="T71" fmla="*/ 66 h 481"/>
              <a:gd name="T72" fmla="*/ 121 w 491"/>
              <a:gd name="T73" fmla="*/ 82 h 481"/>
              <a:gd name="T74" fmla="*/ 140 w 491"/>
              <a:gd name="T75" fmla="*/ 111 h 481"/>
              <a:gd name="T76" fmla="*/ 183 w 491"/>
              <a:gd name="T77" fmla="*/ 103 h 481"/>
              <a:gd name="T78" fmla="*/ 196 w 491"/>
              <a:gd name="T79" fmla="*/ 96 h 481"/>
              <a:gd name="T80" fmla="*/ 200 w 491"/>
              <a:gd name="T81" fmla="*/ 90 h 481"/>
              <a:gd name="T82" fmla="*/ 207 w 491"/>
              <a:gd name="T83" fmla="*/ 73 h 481"/>
              <a:gd name="T84" fmla="*/ 232 w 491"/>
              <a:gd name="T85" fmla="*/ 54 h 481"/>
              <a:gd name="T86" fmla="*/ 254 w 491"/>
              <a:gd name="T87" fmla="*/ 49 h 481"/>
              <a:gd name="T88" fmla="*/ 263 w 491"/>
              <a:gd name="T89" fmla="*/ 30 h 481"/>
              <a:gd name="T90" fmla="*/ 280 w 491"/>
              <a:gd name="T91" fmla="*/ 9 h 481"/>
              <a:gd name="T92" fmla="*/ 300 w 491"/>
              <a:gd name="T93" fmla="*/ 1 h 481"/>
              <a:gd name="T94" fmla="*/ 323 w 491"/>
              <a:gd name="T95" fmla="*/ 0 h 481"/>
              <a:gd name="T96" fmla="*/ 351 w 491"/>
              <a:gd name="T97" fmla="*/ 8 h 481"/>
              <a:gd name="T98" fmla="*/ 399 w 491"/>
              <a:gd name="T99" fmla="*/ 38 h 481"/>
              <a:gd name="T100" fmla="*/ 428 w 491"/>
              <a:gd name="T101" fmla="*/ 53 h 481"/>
              <a:gd name="T102" fmla="*/ 459 w 491"/>
              <a:gd name="T103" fmla="*/ 60 h 481"/>
              <a:gd name="T104" fmla="*/ 491 w 491"/>
              <a:gd name="T105" fmla="*/ 67 h 481"/>
              <a:gd name="T106" fmla="*/ 491 w 491"/>
              <a:gd name="T107" fmla="*/ 326 h 4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491" h="481">
                <a:moveTo>
                  <a:pt x="491" y="481"/>
                </a:moveTo>
                <a:lnTo>
                  <a:pt x="488" y="480"/>
                </a:lnTo>
                <a:lnTo>
                  <a:pt x="482" y="479"/>
                </a:lnTo>
                <a:lnTo>
                  <a:pt x="477" y="477"/>
                </a:lnTo>
                <a:lnTo>
                  <a:pt x="470" y="473"/>
                </a:lnTo>
                <a:lnTo>
                  <a:pt x="457" y="465"/>
                </a:lnTo>
                <a:lnTo>
                  <a:pt x="444" y="455"/>
                </a:lnTo>
                <a:lnTo>
                  <a:pt x="432" y="445"/>
                </a:lnTo>
                <a:lnTo>
                  <a:pt x="422" y="434"/>
                </a:lnTo>
                <a:lnTo>
                  <a:pt x="417" y="428"/>
                </a:lnTo>
                <a:lnTo>
                  <a:pt x="414" y="423"/>
                </a:lnTo>
                <a:lnTo>
                  <a:pt x="412" y="417"/>
                </a:lnTo>
                <a:lnTo>
                  <a:pt x="412" y="412"/>
                </a:lnTo>
                <a:lnTo>
                  <a:pt x="392" y="412"/>
                </a:lnTo>
                <a:lnTo>
                  <a:pt x="376" y="410"/>
                </a:lnTo>
                <a:lnTo>
                  <a:pt x="370" y="409"/>
                </a:lnTo>
                <a:lnTo>
                  <a:pt x="365" y="408"/>
                </a:lnTo>
                <a:lnTo>
                  <a:pt x="360" y="406"/>
                </a:lnTo>
                <a:lnTo>
                  <a:pt x="356" y="403"/>
                </a:lnTo>
                <a:lnTo>
                  <a:pt x="353" y="400"/>
                </a:lnTo>
                <a:lnTo>
                  <a:pt x="350" y="396"/>
                </a:lnTo>
                <a:lnTo>
                  <a:pt x="348" y="392"/>
                </a:lnTo>
                <a:lnTo>
                  <a:pt x="347" y="387"/>
                </a:lnTo>
                <a:lnTo>
                  <a:pt x="346" y="374"/>
                </a:lnTo>
                <a:lnTo>
                  <a:pt x="345" y="357"/>
                </a:lnTo>
                <a:lnTo>
                  <a:pt x="344" y="344"/>
                </a:lnTo>
                <a:lnTo>
                  <a:pt x="342" y="332"/>
                </a:lnTo>
                <a:lnTo>
                  <a:pt x="337" y="322"/>
                </a:lnTo>
                <a:lnTo>
                  <a:pt x="332" y="313"/>
                </a:lnTo>
                <a:lnTo>
                  <a:pt x="327" y="303"/>
                </a:lnTo>
                <a:lnTo>
                  <a:pt x="323" y="294"/>
                </a:lnTo>
                <a:lnTo>
                  <a:pt x="320" y="286"/>
                </a:lnTo>
                <a:lnTo>
                  <a:pt x="319" y="277"/>
                </a:lnTo>
                <a:lnTo>
                  <a:pt x="319" y="267"/>
                </a:lnTo>
                <a:lnTo>
                  <a:pt x="319" y="252"/>
                </a:lnTo>
                <a:lnTo>
                  <a:pt x="314" y="244"/>
                </a:lnTo>
                <a:lnTo>
                  <a:pt x="309" y="237"/>
                </a:lnTo>
                <a:lnTo>
                  <a:pt x="301" y="229"/>
                </a:lnTo>
                <a:lnTo>
                  <a:pt x="292" y="223"/>
                </a:lnTo>
                <a:lnTo>
                  <a:pt x="282" y="216"/>
                </a:lnTo>
                <a:lnTo>
                  <a:pt x="272" y="210"/>
                </a:lnTo>
                <a:lnTo>
                  <a:pt x="260" y="205"/>
                </a:lnTo>
                <a:lnTo>
                  <a:pt x="248" y="200"/>
                </a:lnTo>
                <a:lnTo>
                  <a:pt x="235" y="194"/>
                </a:lnTo>
                <a:lnTo>
                  <a:pt x="221" y="190"/>
                </a:lnTo>
                <a:lnTo>
                  <a:pt x="208" y="187"/>
                </a:lnTo>
                <a:lnTo>
                  <a:pt x="192" y="184"/>
                </a:lnTo>
                <a:lnTo>
                  <a:pt x="178" y="181"/>
                </a:lnTo>
                <a:lnTo>
                  <a:pt x="163" y="180"/>
                </a:lnTo>
                <a:lnTo>
                  <a:pt x="147" y="179"/>
                </a:lnTo>
                <a:lnTo>
                  <a:pt x="133" y="178"/>
                </a:lnTo>
                <a:lnTo>
                  <a:pt x="133" y="170"/>
                </a:lnTo>
                <a:lnTo>
                  <a:pt x="133" y="163"/>
                </a:lnTo>
                <a:lnTo>
                  <a:pt x="133" y="156"/>
                </a:lnTo>
                <a:lnTo>
                  <a:pt x="133" y="148"/>
                </a:lnTo>
                <a:lnTo>
                  <a:pt x="121" y="147"/>
                </a:lnTo>
                <a:lnTo>
                  <a:pt x="110" y="145"/>
                </a:lnTo>
                <a:lnTo>
                  <a:pt x="100" y="140"/>
                </a:lnTo>
                <a:lnTo>
                  <a:pt x="92" y="136"/>
                </a:lnTo>
                <a:lnTo>
                  <a:pt x="85" y="130"/>
                </a:lnTo>
                <a:lnTo>
                  <a:pt x="77" y="124"/>
                </a:lnTo>
                <a:lnTo>
                  <a:pt x="71" y="117"/>
                </a:lnTo>
                <a:lnTo>
                  <a:pt x="66" y="111"/>
                </a:lnTo>
                <a:lnTo>
                  <a:pt x="92" y="111"/>
                </a:lnTo>
                <a:lnTo>
                  <a:pt x="82" y="121"/>
                </a:lnTo>
                <a:lnTo>
                  <a:pt x="73" y="133"/>
                </a:lnTo>
                <a:lnTo>
                  <a:pt x="66" y="139"/>
                </a:lnTo>
                <a:lnTo>
                  <a:pt x="60" y="144"/>
                </a:lnTo>
                <a:lnTo>
                  <a:pt x="54" y="147"/>
                </a:lnTo>
                <a:lnTo>
                  <a:pt x="46" y="148"/>
                </a:lnTo>
                <a:lnTo>
                  <a:pt x="43" y="163"/>
                </a:lnTo>
                <a:lnTo>
                  <a:pt x="40" y="178"/>
                </a:lnTo>
                <a:lnTo>
                  <a:pt x="34" y="192"/>
                </a:lnTo>
                <a:lnTo>
                  <a:pt x="30" y="206"/>
                </a:lnTo>
                <a:lnTo>
                  <a:pt x="24" y="220"/>
                </a:lnTo>
                <a:lnTo>
                  <a:pt x="20" y="234"/>
                </a:lnTo>
                <a:lnTo>
                  <a:pt x="17" y="249"/>
                </a:lnTo>
                <a:lnTo>
                  <a:pt x="13" y="265"/>
                </a:lnTo>
                <a:lnTo>
                  <a:pt x="13" y="256"/>
                </a:lnTo>
                <a:lnTo>
                  <a:pt x="13" y="246"/>
                </a:lnTo>
                <a:lnTo>
                  <a:pt x="14" y="237"/>
                </a:lnTo>
                <a:lnTo>
                  <a:pt x="17" y="228"/>
                </a:lnTo>
                <a:lnTo>
                  <a:pt x="20" y="219"/>
                </a:lnTo>
                <a:lnTo>
                  <a:pt x="23" y="209"/>
                </a:lnTo>
                <a:lnTo>
                  <a:pt x="26" y="200"/>
                </a:lnTo>
                <a:lnTo>
                  <a:pt x="30" y="190"/>
                </a:lnTo>
                <a:lnTo>
                  <a:pt x="32" y="181"/>
                </a:lnTo>
                <a:lnTo>
                  <a:pt x="33" y="172"/>
                </a:lnTo>
                <a:lnTo>
                  <a:pt x="32" y="156"/>
                </a:lnTo>
                <a:lnTo>
                  <a:pt x="30" y="143"/>
                </a:lnTo>
                <a:lnTo>
                  <a:pt x="26" y="130"/>
                </a:lnTo>
                <a:lnTo>
                  <a:pt x="21" y="120"/>
                </a:lnTo>
                <a:lnTo>
                  <a:pt x="17" y="111"/>
                </a:lnTo>
                <a:lnTo>
                  <a:pt x="11" y="101"/>
                </a:lnTo>
                <a:lnTo>
                  <a:pt x="4" y="89"/>
                </a:lnTo>
                <a:lnTo>
                  <a:pt x="0" y="73"/>
                </a:lnTo>
                <a:lnTo>
                  <a:pt x="13" y="68"/>
                </a:lnTo>
                <a:lnTo>
                  <a:pt x="28" y="62"/>
                </a:lnTo>
                <a:lnTo>
                  <a:pt x="34" y="59"/>
                </a:lnTo>
                <a:lnTo>
                  <a:pt x="42" y="57"/>
                </a:lnTo>
                <a:lnTo>
                  <a:pt x="51" y="56"/>
                </a:lnTo>
                <a:lnTo>
                  <a:pt x="59" y="55"/>
                </a:lnTo>
                <a:lnTo>
                  <a:pt x="68" y="56"/>
                </a:lnTo>
                <a:lnTo>
                  <a:pt x="76" y="57"/>
                </a:lnTo>
                <a:lnTo>
                  <a:pt x="84" y="58"/>
                </a:lnTo>
                <a:lnTo>
                  <a:pt x="90" y="60"/>
                </a:lnTo>
                <a:lnTo>
                  <a:pt x="96" y="63"/>
                </a:lnTo>
                <a:lnTo>
                  <a:pt x="102" y="66"/>
                </a:lnTo>
                <a:lnTo>
                  <a:pt x="107" y="70"/>
                </a:lnTo>
                <a:lnTo>
                  <a:pt x="112" y="73"/>
                </a:lnTo>
                <a:lnTo>
                  <a:pt x="121" y="82"/>
                </a:lnTo>
                <a:lnTo>
                  <a:pt x="127" y="92"/>
                </a:lnTo>
                <a:lnTo>
                  <a:pt x="134" y="101"/>
                </a:lnTo>
                <a:lnTo>
                  <a:pt x="140" y="111"/>
                </a:lnTo>
                <a:lnTo>
                  <a:pt x="179" y="111"/>
                </a:lnTo>
                <a:lnTo>
                  <a:pt x="180" y="107"/>
                </a:lnTo>
                <a:lnTo>
                  <a:pt x="183" y="103"/>
                </a:lnTo>
                <a:lnTo>
                  <a:pt x="187" y="101"/>
                </a:lnTo>
                <a:lnTo>
                  <a:pt x="191" y="99"/>
                </a:lnTo>
                <a:lnTo>
                  <a:pt x="196" y="96"/>
                </a:lnTo>
                <a:lnTo>
                  <a:pt x="199" y="94"/>
                </a:lnTo>
                <a:lnTo>
                  <a:pt x="200" y="92"/>
                </a:lnTo>
                <a:lnTo>
                  <a:pt x="200" y="90"/>
                </a:lnTo>
                <a:lnTo>
                  <a:pt x="200" y="89"/>
                </a:lnTo>
                <a:lnTo>
                  <a:pt x="199" y="85"/>
                </a:lnTo>
                <a:lnTo>
                  <a:pt x="207" y="73"/>
                </a:lnTo>
                <a:lnTo>
                  <a:pt x="215" y="64"/>
                </a:lnTo>
                <a:lnTo>
                  <a:pt x="223" y="58"/>
                </a:lnTo>
                <a:lnTo>
                  <a:pt x="232" y="54"/>
                </a:lnTo>
                <a:lnTo>
                  <a:pt x="239" y="51"/>
                </a:lnTo>
                <a:lnTo>
                  <a:pt x="247" y="50"/>
                </a:lnTo>
                <a:lnTo>
                  <a:pt x="254" y="49"/>
                </a:lnTo>
                <a:lnTo>
                  <a:pt x="259" y="49"/>
                </a:lnTo>
                <a:lnTo>
                  <a:pt x="260" y="40"/>
                </a:lnTo>
                <a:lnTo>
                  <a:pt x="263" y="30"/>
                </a:lnTo>
                <a:lnTo>
                  <a:pt x="267" y="22"/>
                </a:lnTo>
                <a:lnTo>
                  <a:pt x="273" y="15"/>
                </a:lnTo>
                <a:lnTo>
                  <a:pt x="280" y="9"/>
                </a:lnTo>
                <a:lnTo>
                  <a:pt x="290" y="4"/>
                </a:lnTo>
                <a:lnTo>
                  <a:pt x="294" y="2"/>
                </a:lnTo>
                <a:lnTo>
                  <a:pt x="300" y="1"/>
                </a:lnTo>
                <a:lnTo>
                  <a:pt x="306" y="0"/>
                </a:lnTo>
                <a:lnTo>
                  <a:pt x="312" y="0"/>
                </a:lnTo>
                <a:lnTo>
                  <a:pt x="323" y="0"/>
                </a:lnTo>
                <a:lnTo>
                  <a:pt x="333" y="2"/>
                </a:lnTo>
                <a:lnTo>
                  <a:pt x="343" y="5"/>
                </a:lnTo>
                <a:lnTo>
                  <a:pt x="351" y="8"/>
                </a:lnTo>
                <a:lnTo>
                  <a:pt x="368" y="17"/>
                </a:lnTo>
                <a:lnTo>
                  <a:pt x="383" y="27"/>
                </a:lnTo>
                <a:lnTo>
                  <a:pt x="399" y="38"/>
                </a:lnTo>
                <a:lnTo>
                  <a:pt x="413" y="47"/>
                </a:lnTo>
                <a:lnTo>
                  <a:pt x="421" y="50"/>
                </a:lnTo>
                <a:lnTo>
                  <a:pt x="428" y="53"/>
                </a:lnTo>
                <a:lnTo>
                  <a:pt x="436" y="55"/>
                </a:lnTo>
                <a:lnTo>
                  <a:pt x="445" y="55"/>
                </a:lnTo>
                <a:lnTo>
                  <a:pt x="459" y="60"/>
                </a:lnTo>
                <a:lnTo>
                  <a:pt x="471" y="64"/>
                </a:lnTo>
                <a:lnTo>
                  <a:pt x="481" y="66"/>
                </a:lnTo>
                <a:lnTo>
                  <a:pt x="491" y="67"/>
                </a:lnTo>
                <a:lnTo>
                  <a:pt x="491" y="289"/>
                </a:lnTo>
                <a:lnTo>
                  <a:pt x="471" y="301"/>
                </a:lnTo>
                <a:lnTo>
                  <a:pt x="491" y="326"/>
                </a:lnTo>
                <a:lnTo>
                  <a:pt x="491" y="474"/>
                </a:lnTo>
                <a:lnTo>
                  <a:pt x="491" y="48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89" name="Freeform 341"/>
          <p:cNvSpPr>
            <a:spLocks/>
          </p:cNvSpPr>
          <p:nvPr>
            <p:custDataLst>
              <p:tags r:id="rId244"/>
            </p:custDataLst>
          </p:nvPr>
        </p:nvSpPr>
        <p:spPr bwMode="auto">
          <a:xfrm>
            <a:off x="7375526" y="2527301"/>
            <a:ext cx="53975" cy="60325"/>
          </a:xfrm>
          <a:custGeom>
            <a:avLst/>
            <a:gdLst>
              <a:gd name="T0" fmla="*/ 0 w 133"/>
              <a:gd name="T1" fmla="*/ 19 h 117"/>
              <a:gd name="T2" fmla="*/ 72 w 133"/>
              <a:gd name="T3" fmla="*/ 0 h 117"/>
              <a:gd name="T4" fmla="*/ 81 w 133"/>
              <a:gd name="T5" fmla="*/ 6 h 117"/>
              <a:gd name="T6" fmla="*/ 91 w 133"/>
              <a:gd name="T7" fmla="*/ 14 h 117"/>
              <a:gd name="T8" fmla="*/ 101 w 133"/>
              <a:gd name="T9" fmla="*/ 25 h 117"/>
              <a:gd name="T10" fmla="*/ 109 w 133"/>
              <a:gd name="T11" fmla="*/ 37 h 117"/>
              <a:gd name="T12" fmla="*/ 118 w 133"/>
              <a:gd name="T13" fmla="*/ 49 h 117"/>
              <a:gd name="T14" fmla="*/ 126 w 133"/>
              <a:gd name="T15" fmla="*/ 62 h 117"/>
              <a:gd name="T16" fmla="*/ 128 w 133"/>
              <a:gd name="T17" fmla="*/ 68 h 117"/>
              <a:gd name="T18" fmla="*/ 130 w 133"/>
              <a:gd name="T19" fmla="*/ 74 h 117"/>
              <a:gd name="T20" fmla="*/ 131 w 133"/>
              <a:gd name="T21" fmla="*/ 80 h 117"/>
              <a:gd name="T22" fmla="*/ 133 w 133"/>
              <a:gd name="T23" fmla="*/ 86 h 117"/>
              <a:gd name="T24" fmla="*/ 131 w 133"/>
              <a:gd name="T25" fmla="*/ 92 h 117"/>
              <a:gd name="T26" fmla="*/ 128 w 133"/>
              <a:gd name="T27" fmla="*/ 97 h 117"/>
              <a:gd name="T28" fmla="*/ 124 w 133"/>
              <a:gd name="T29" fmla="*/ 102 h 117"/>
              <a:gd name="T30" fmla="*/ 118 w 133"/>
              <a:gd name="T31" fmla="*/ 107 h 117"/>
              <a:gd name="T32" fmla="*/ 113 w 133"/>
              <a:gd name="T33" fmla="*/ 111 h 117"/>
              <a:gd name="T34" fmla="*/ 107 w 133"/>
              <a:gd name="T35" fmla="*/ 114 h 117"/>
              <a:gd name="T36" fmla="*/ 103 w 133"/>
              <a:gd name="T37" fmla="*/ 117 h 117"/>
              <a:gd name="T38" fmla="*/ 100 w 133"/>
              <a:gd name="T39" fmla="*/ 117 h 117"/>
              <a:gd name="T40" fmla="*/ 72 w 133"/>
              <a:gd name="T41" fmla="*/ 95 h 117"/>
              <a:gd name="T42" fmla="*/ 45 w 133"/>
              <a:gd name="T43" fmla="*/ 70 h 117"/>
              <a:gd name="T44" fmla="*/ 32 w 133"/>
              <a:gd name="T45" fmla="*/ 58 h 117"/>
              <a:gd name="T46" fmla="*/ 18 w 133"/>
              <a:gd name="T47" fmla="*/ 46 h 117"/>
              <a:gd name="T48" fmla="*/ 8 w 133"/>
              <a:gd name="T49" fmla="*/ 33 h 117"/>
              <a:gd name="T50" fmla="*/ 0 w 133"/>
              <a:gd name="T51" fmla="*/ 19 h 1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3" h="117">
                <a:moveTo>
                  <a:pt x="0" y="19"/>
                </a:moveTo>
                <a:lnTo>
                  <a:pt x="72" y="0"/>
                </a:lnTo>
                <a:lnTo>
                  <a:pt x="81" y="6"/>
                </a:lnTo>
                <a:lnTo>
                  <a:pt x="91" y="14"/>
                </a:lnTo>
                <a:lnTo>
                  <a:pt x="101" y="25"/>
                </a:lnTo>
                <a:lnTo>
                  <a:pt x="109" y="37"/>
                </a:lnTo>
                <a:lnTo>
                  <a:pt x="118" y="49"/>
                </a:lnTo>
                <a:lnTo>
                  <a:pt x="126" y="62"/>
                </a:lnTo>
                <a:lnTo>
                  <a:pt x="128" y="68"/>
                </a:lnTo>
                <a:lnTo>
                  <a:pt x="130" y="74"/>
                </a:lnTo>
                <a:lnTo>
                  <a:pt x="131" y="80"/>
                </a:lnTo>
                <a:lnTo>
                  <a:pt x="133" y="86"/>
                </a:lnTo>
                <a:lnTo>
                  <a:pt x="131" y="92"/>
                </a:lnTo>
                <a:lnTo>
                  <a:pt x="128" y="97"/>
                </a:lnTo>
                <a:lnTo>
                  <a:pt x="124" y="102"/>
                </a:lnTo>
                <a:lnTo>
                  <a:pt x="118" y="107"/>
                </a:lnTo>
                <a:lnTo>
                  <a:pt x="113" y="111"/>
                </a:lnTo>
                <a:lnTo>
                  <a:pt x="107" y="114"/>
                </a:lnTo>
                <a:lnTo>
                  <a:pt x="103" y="117"/>
                </a:lnTo>
                <a:lnTo>
                  <a:pt x="100" y="117"/>
                </a:lnTo>
                <a:lnTo>
                  <a:pt x="72" y="95"/>
                </a:lnTo>
                <a:lnTo>
                  <a:pt x="45" y="70"/>
                </a:lnTo>
                <a:lnTo>
                  <a:pt x="32" y="58"/>
                </a:lnTo>
                <a:lnTo>
                  <a:pt x="18" y="46"/>
                </a:lnTo>
                <a:lnTo>
                  <a:pt x="8" y="33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90" name="Freeform 342"/>
          <p:cNvSpPr>
            <a:spLocks/>
          </p:cNvSpPr>
          <p:nvPr>
            <p:custDataLst>
              <p:tags r:id="rId245"/>
            </p:custDataLst>
          </p:nvPr>
        </p:nvSpPr>
        <p:spPr bwMode="auto">
          <a:xfrm>
            <a:off x="5832476" y="1931988"/>
            <a:ext cx="220663" cy="177800"/>
          </a:xfrm>
          <a:custGeom>
            <a:avLst/>
            <a:gdLst>
              <a:gd name="T0" fmla="*/ 272 w 505"/>
              <a:gd name="T1" fmla="*/ 36 h 339"/>
              <a:gd name="T2" fmla="*/ 484 w 505"/>
              <a:gd name="T3" fmla="*/ 86 h 339"/>
              <a:gd name="T4" fmla="*/ 478 w 505"/>
              <a:gd name="T5" fmla="*/ 109 h 339"/>
              <a:gd name="T6" fmla="*/ 471 w 505"/>
              <a:gd name="T7" fmla="*/ 129 h 339"/>
              <a:gd name="T8" fmla="*/ 461 w 505"/>
              <a:gd name="T9" fmla="*/ 145 h 339"/>
              <a:gd name="T10" fmla="*/ 451 w 505"/>
              <a:gd name="T11" fmla="*/ 153 h 339"/>
              <a:gd name="T12" fmla="*/ 461 w 505"/>
              <a:gd name="T13" fmla="*/ 184 h 339"/>
              <a:gd name="T14" fmla="*/ 477 w 505"/>
              <a:gd name="T15" fmla="*/ 215 h 339"/>
              <a:gd name="T16" fmla="*/ 505 w 505"/>
              <a:gd name="T17" fmla="*/ 258 h 339"/>
              <a:gd name="T18" fmla="*/ 493 w 505"/>
              <a:gd name="T19" fmla="*/ 271 h 339"/>
              <a:gd name="T20" fmla="*/ 479 w 505"/>
              <a:gd name="T21" fmla="*/ 292 h 339"/>
              <a:gd name="T22" fmla="*/ 468 w 505"/>
              <a:gd name="T23" fmla="*/ 314 h 339"/>
              <a:gd name="T24" fmla="*/ 464 w 505"/>
              <a:gd name="T25" fmla="*/ 339 h 339"/>
              <a:gd name="T26" fmla="*/ 443 w 505"/>
              <a:gd name="T27" fmla="*/ 338 h 339"/>
              <a:gd name="T28" fmla="*/ 414 w 505"/>
              <a:gd name="T29" fmla="*/ 335 h 339"/>
              <a:gd name="T30" fmla="*/ 385 w 505"/>
              <a:gd name="T31" fmla="*/ 331 h 339"/>
              <a:gd name="T32" fmla="*/ 358 w 505"/>
              <a:gd name="T33" fmla="*/ 326 h 339"/>
              <a:gd name="T34" fmla="*/ 304 w 505"/>
              <a:gd name="T35" fmla="*/ 325 h 339"/>
              <a:gd name="T36" fmla="*/ 264 w 505"/>
              <a:gd name="T37" fmla="*/ 321 h 339"/>
              <a:gd name="T38" fmla="*/ 248 w 505"/>
              <a:gd name="T39" fmla="*/ 317 h 339"/>
              <a:gd name="T40" fmla="*/ 232 w 505"/>
              <a:gd name="T41" fmla="*/ 310 h 339"/>
              <a:gd name="T42" fmla="*/ 213 w 505"/>
              <a:gd name="T43" fmla="*/ 300 h 339"/>
              <a:gd name="T44" fmla="*/ 180 w 505"/>
              <a:gd name="T45" fmla="*/ 289 h 339"/>
              <a:gd name="T46" fmla="*/ 146 w 505"/>
              <a:gd name="T47" fmla="*/ 273 h 339"/>
              <a:gd name="T48" fmla="*/ 98 w 505"/>
              <a:gd name="T49" fmla="*/ 249 h 339"/>
              <a:gd name="T50" fmla="*/ 62 w 505"/>
              <a:gd name="T51" fmla="*/ 206 h 339"/>
              <a:gd name="T52" fmla="*/ 52 w 505"/>
              <a:gd name="T53" fmla="*/ 169 h 339"/>
              <a:gd name="T54" fmla="*/ 36 w 505"/>
              <a:gd name="T55" fmla="*/ 124 h 339"/>
              <a:gd name="T56" fmla="*/ 15 w 505"/>
              <a:gd name="T57" fmla="*/ 83 h 339"/>
              <a:gd name="T58" fmla="*/ 2 w 505"/>
              <a:gd name="T59" fmla="*/ 64 h 339"/>
              <a:gd name="T60" fmla="*/ 5 w 505"/>
              <a:gd name="T61" fmla="*/ 61 h 339"/>
              <a:gd name="T62" fmla="*/ 11 w 505"/>
              <a:gd name="T63" fmla="*/ 56 h 339"/>
              <a:gd name="T64" fmla="*/ 11 w 505"/>
              <a:gd name="T65" fmla="*/ 48 h 339"/>
              <a:gd name="T66" fmla="*/ 11 w 505"/>
              <a:gd name="T67" fmla="*/ 43 h 339"/>
              <a:gd name="T68" fmla="*/ 34 w 505"/>
              <a:gd name="T69" fmla="*/ 34 h 339"/>
              <a:gd name="T70" fmla="*/ 73 w 505"/>
              <a:gd name="T71" fmla="*/ 22 h 339"/>
              <a:gd name="T72" fmla="*/ 128 w 505"/>
              <a:gd name="T73" fmla="*/ 8 h 339"/>
              <a:gd name="T74" fmla="*/ 173 w 505"/>
              <a:gd name="T75" fmla="*/ 11 h 339"/>
              <a:gd name="T76" fmla="*/ 188 w 505"/>
              <a:gd name="T77" fmla="*/ 28 h 339"/>
              <a:gd name="T78" fmla="*/ 201 w 505"/>
              <a:gd name="T79" fmla="*/ 35 h 339"/>
              <a:gd name="T80" fmla="*/ 219 w 505"/>
              <a:gd name="T81" fmla="*/ 36 h 339"/>
              <a:gd name="T82" fmla="*/ 239 w 505"/>
              <a:gd name="T83" fmla="*/ 36 h 339"/>
              <a:gd name="T84" fmla="*/ 259 w 505"/>
              <a:gd name="T85" fmla="*/ 24 h 3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505" h="339">
                <a:moveTo>
                  <a:pt x="259" y="24"/>
                </a:moveTo>
                <a:lnTo>
                  <a:pt x="272" y="36"/>
                </a:lnTo>
                <a:lnTo>
                  <a:pt x="444" y="48"/>
                </a:lnTo>
                <a:lnTo>
                  <a:pt x="484" y="86"/>
                </a:lnTo>
                <a:lnTo>
                  <a:pt x="482" y="97"/>
                </a:lnTo>
                <a:lnTo>
                  <a:pt x="478" y="109"/>
                </a:lnTo>
                <a:lnTo>
                  <a:pt x="474" y="120"/>
                </a:lnTo>
                <a:lnTo>
                  <a:pt x="471" y="129"/>
                </a:lnTo>
                <a:lnTo>
                  <a:pt x="465" y="138"/>
                </a:lnTo>
                <a:lnTo>
                  <a:pt x="461" y="145"/>
                </a:lnTo>
                <a:lnTo>
                  <a:pt x="456" y="150"/>
                </a:lnTo>
                <a:lnTo>
                  <a:pt x="451" y="153"/>
                </a:lnTo>
                <a:lnTo>
                  <a:pt x="455" y="169"/>
                </a:lnTo>
                <a:lnTo>
                  <a:pt x="461" y="184"/>
                </a:lnTo>
                <a:lnTo>
                  <a:pt x="470" y="200"/>
                </a:lnTo>
                <a:lnTo>
                  <a:pt x="477" y="215"/>
                </a:lnTo>
                <a:lnTo>
                  <a:pt x="494" y="242"/>
                </a:lnTo>
                <a:lnTo>
                  <a:pt x="505" y="258"/>
                </a:lnTo>
                <a:lnTo>
                  <a:pt x="499" y="264"/>
                </a:lnTo>
                <a:lnTo>
                  <a:pt x="493" y="271"/>
                </a:lnTo>
                <a:lnTo>
                  <a:pt x="486" y="281"/>
                </a:lnTo>
                <a:lnTo>
                  <a:pt x="479" y="292"/>
                </a:lnTo>
                <a:lnTo>
                  <a:pt x="474" y="303"/>
                </a:lnTo>
                <a:lnTo>
                  <a:pt x="468" y="314"/>
                </a:lnTo>
                <a:lnTo>
                  <a:pt x="465" y="326"/>
                </a:lnTo>
                <a:lnTo>
                  <a:pt x="464" y="339"/>
                </a:lnTo>
                <a:lnTo>
                  <a:pt x="457" y="339"/>
                </a:lnTo>
                <a:lnTo>
                  <a:pt x="443" y="338"/>
                </a:lnTo>
                <a:lnTo>
                  <a:pt x="428" y="337"/>
                </a:lnTo>
                <a:lnTo>
                  <a:pt x="414" y="335"/>
                </a:lnTo>
                <a:lnTo>
                  <a:pt x="399" y="333"/>
                </a:lnTo>
                <a:lnTo>
                  <a:pt x="385" y="331"/>
                </a:lnTo>
                <a:lnTo>
                  <a:pt x="371" y="328"/>
                </a:lnTo>
                <a:lnTo>
                  <a:pt x="358" y="326"/>
                </a:lnTo>
                <a:lnTo>
                  <a:pt x="344" y="326"/>
                </a:lnTo>
                <a:lnTo>
                  <a:pt x="304" y="325"/>
                </a:lnTo>
                <a:lnTo>
                  <a:pt x="275" y="323"/>
                </a:lnTo>
                <a:lnTo>
                  <a:pt x="264" y="321"/>
                </a:lnTo>
                <a:lnTo>
                  <a:pt x="255" y="319"/>
                </a:lnTo>
                <a:lnTo>
                  <a:pt x="248" y="317"/>
                </a:lnTo>
                <a:lnTo>
                  <a:pt x="242" y="315"/>
                </a:lnTo>
                <a:lnTo>
                  <a:pt x="232" y="310"/>
                </a:lnTo>
                <a:lnTo>
                  <a:pt x="224" y="305"/>
                </a:lnTo>
                <a:lnTo>
                  <a:pt x="213" y="300"/>
                </a:lnTo>
                <a:lnTo>
                  <a:pt x="198" y="295"/>
                </a:lnTo>
                <a:lnTo>
                  <a:pt x="180" y="289"/>
                </a:lnTo>
                <a:lnTo>
                  <a:pt x="162" y="282"/>
                </a:lnTo>
                <a:lnTo>
                  <a:pt x="146" y="273"/>
                </a:lnTo>
                <a:lnTo>
                  <a:pt x="130" y="266"/>
                </a:lnTo>
                <a:lnTo>
                  <a:pt x="98" y="249"/>
                </a:lnTo>
                <a:lnTo>
                  <a:pt x="65" y="228"/>
                </a:lnTo>
                <a:lnTo>
                  <a:pt x="62" y="206"/>
                </a:lnTo>
                <a:lnTo>
                  <a:pt x="57" y="187"/>
                </a:lnTo>
                <a:lnTo>
                  <a:pt x="52" y="169"/>
                </a:lnTo>
                <a:lnTo>
                  <a:pt x="47" y="152"/>
                </a:lnTo>
                <a:lnTo>
                  <a:pt x="36" y="124"/>
                </a:lnTo>
                <a:lnTo>
                  <a:pt x="25" y="100"/>
                </a:lnTo>
                <a:lnTo>
                  <a:pt x="15" y="83"/>
                </a:lnTo>
                <a:lnTo>
                  <a:pt x="7" y="71"/>
                </a:lnTo>
                <a:lnTo>
                  <a:pt x="2" y="64"/>
                </a:lnTo>
                <a:lnTo>
                  <a:pt x="0" y="62"/>
                </a:lnTo>
                <a:lnTo>
                  <a:pt x="5" y="61"/>
                </a:lnTo>
                <a:lnTo>
                  <a:pt x="8" y="59"/>
                </a:lnTo>
                <a:lnTo>
                  <a:pt x="11" y="56"/>
                </a:lnTo>
                <a:lnTo>
                  <a:pt x="11" y="51"/>
                </a:lnTo>
                <a:lnTo>
                  <a:pt x="11" y="48"/>
                </a:lnTo>
                <a:lnTo>
                  <a:pt x="11" y="45"/>
                </a:lnTo>
                <a:lnTo>
                  <a:pt x="11" y="43"/>
                </a:lnTo>
                <a:lnTo>
                  <a:pt x="13" y="42"/>
                </a:lnTo>
                <a:lnTo>
                  <a:pt x="34" y="34"/>
                </a:lnTo>
                <a:lnTo>
                  <a:pt x="55" y="27"/>
                </a:lnTo>
                <a:lnTo>
                  <a:pt x="73" y="22"/>
                </a:lnTo>
                <a:lnTo>
                  <a:pt x="92" y="17"/>
                </a:lnTo>
                <a:lnTo>
                  <a:pt x="128" y="8"/>
                </a:lnTo>
                <a:lnTo>
                  <a:pt x="165" y="0"/>
                </a:lnTo>
                <a:lnTo>
                  <a:pt x="173" y="11"/>
                </a:lnTo>
                <a:lnTo>
                  <a:pt x="183" y="23"/>
                </a:lnTo>
                <a:lnTo>
                  <a:pt x="188" y="28"/>
                </a:lnTo>
                <a:lnTo>
                  <a:pt x="194" y="32"/>
                </a:lnTo>
                <a:lnTo>
                  <a:pt x="201" y="35"/>
                </a:lnTo>
                <a:lnTo>
                  <a:pt x="205" y="36"/>
                </a:lnTo>
                <a:lnTo>
                  <a:pt x="219" y="36"/>
                </a:lnTo>
                <a:lnTo>
                  <a:pt x="230" y="36"/>
                </a:lnTo>
                <a:lnTo>
                  <a:pt x="239" y="36"/>
                </a:lnTo>
                <a:lnTo>
                  <a:pt x="246" y="36"/>
                </a:lnTo>
                <a:lnTo>
                  <a:pt x="259" y="2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91" name="Freeform 343"/>
          <p:cNvSpPr>
            <a:spLocks/>
          </p:cNvSpPr>
          <p:nvPr>
            <p:custDataLst>
              <p:tags r:id="rId246"/>
            </p:custDataLst>
          </p:nvPr>
        </p:nvSpPr>
        <p:spPr bwMode="auto">
          <a:xfrm>
            <a:off x="5895975" y="2136775"/>
            <a:ext cx="146050" cy="71438"/>
          </a:xfrm>
          <a:custGeom>
            <a:avLst/>
            <a:gdLst>
              <a:gd name="T0" fmla="*/ 312 w 338"/>
              <a:gd name="T1" fmla="*/ 0 h 141"/>
              <a:gd name="T2" fmla="*/ 186 w 338"/>
              <a:gd name="T3" fmla="*/ 0 h 141"/>
              <a:gd name="T4" fmla="*/ 168 w 338"/>
              <a:gd name="T5" fmla="*/ 8 h 141"/>
              <a:gd name="T6" fmla="*/ 144 w 338"/>
              <a:gd name="T7" fmla="*/ 21 h 141"/>
              <a:gd name="T8" fmla="*/ 132 w 338"/>
              <a:gd name="T9" fmla="*/ 27 h 141"/>
              <a:gd name="T10" fmla="*/ 119 w 338"/>
              <a:gd name="T11" fmla="*/ 32 h 141"/>
              <a:gd name="T12" fmla="*/ 112 w 338"/>
              <a:gd name="T13" fmla="*/ 34 h 141"/>
              <a:gd name="T14" fmla="*/ 105 w 338"/>
              <a:gd name="T15" fmla="*/ 35 h 141"/>
              <a:gd name="T16" fmla="*/ 99 w 338"/>
              <a:gd name="T17" fmla="*/ 36 h 141"/>
              <a:gd name="T18" fmla="*/ 93 w 338"/>
              <a:gd name="T19" fmla="*/ 37 h 141"/>
              <a:gd name="T20" fmla="*/ 88 w 338"/>
              <a:gd name="T21" fmla="*/ 36 h 141"/>
              <a:gd name="T22" fmla="*/ 84 w 338"/>
              <a:gd name="T23" fmla="*/ 35 h 141"/>
              <a:gd name="T24" fmla="*/ 78 w 338"/>
              <a:gd name="T25" fmla="*/ 32 h 141"/>
              <a:gd name="T26" fmla="*/ 74 w 338"/>
              <a:gd name="T27" fmla="*/ 30 h 141"/>
              <a:gd name="T28" fmla="*/ 66 w 338"/>
              <a:gd name="T29" fmla="*/ 24 h 141"/>
              <a:gd name="T30" fmla="*/ 59 w 338"/>
              <a:gd name="T31" fmla="*/ 18 h 141"/>
              <a:gd name="T32" fmla="*/ 49 w 338"/>
              <a:gd name="T33" fmla="*/ 34 h 141"/>
              <a:gd name="T34" fmla="*/ 37 w 338"/>
              <a:gd name="T35" fmla="*/ 51 h 141"/>
              <a:gd name="T36" fmla="*/ 30 w 338"/>
              <a:gd name="T37" fmla="*/ 60 h 141"/>
              <a:gd name="T38" fmla="*/ 21 w 338"/>
              <a:gd name="T39" fmla="*/ 68 h 141"/>
              <a:gd name="T40" fmla="*/ 11 w 338"/>
              <a:gd name="T41" fmla="*/ 75 h 141"/>
              <a:gd name="T42" fmla="*/ 0 w 338"/>
              <a:gd name="T43" fmla="*/ 80 h 141"/>
              <a:gd name="T44" fmla="*/ 12 w 338"/>
              <a:gd name="T45" fmla="*/ 90 h 141"/>
              <a:gd name="T46" fmla="*/ 23 w 338"/>
              <a:gd name="T47" fmla="*/ 100 h 141"/>
              <a:gd name="T48" fmla="*/ 33 w 338"/>
              <a:gd name="T49" fmla="*/ 108 h 141"/>
              <a:gd name="T50" fmla="*/ 44 w 338"/>
              <a:gd name="T51" fmla="*/ 116 h 141"/>
              <a:gd name="T52" fmla="*/ 55 w 338"/>
              <a:gd name="T53" fmla="*/ 122 h 141"/>
              <a:gd name="T54" fmla="*/ 66 w 338"/>
              <a:gd name="T55" fmla="*/ 129 h 141"/>
              <a:gd name="T56" fmla="*/ 79 w 338"/>
              <a:gd name="T57" fmla="*/ 135 h 141"/>
              <a:gd name="T58" fmla="*/ 93 w 338"/>
              <a:gd name="T59" fmla="*/ 141 h 141"/>
              <a:gd name="T60" fmla="*/ 259 w 338"/>
              <a:gd name="T61" fmla="*/ 141 h 141"/>
              <a:gd name="T62" fmla="*/ 269 w 338"/>
              <a:gd name="T63" fmla="*/ 124 h 141"/>
              <a:gd name="T64" fmla="*/ 281 w 338"/>
              <a:gd name="T65" fmla="*/ 107 h 141"/>
              <a:gd name="T66" fmla="*/ 292 w 338"/>
              <a:gd name="T67" fmla="*/ 92 h 141"/>
              <a:gd name="T68" fmla="*/ 304 w 338"/>
              <a:gd name="T69" fmla="*/ 78 h 141"/>
              <a:gd name="T70" fmla="*/ 315 w 338"/>
              <a:gd name="T71" fmla="*/ 64 h 141"/>
              <a:gd name="T72" fmla="*/ 324 w 338"/>
              <a:gd name="T73" fmla="*/ 48 h 141"/>
              <a:gd name="T74" fmla="*/ 333 w 338"/>
              <a:gd name="T75" fmla="*/ 34 h 141"/>
              <a:gd name="T76" fmla="*/ 338 w 338"/>
              <a:gd name="T77" fmla="*/ 18 h 141"/>
              <a:gd name="T78" fmla="*/ 312 w 338"/>
              <a:gd name="T79" fmla="*/ 0 h 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338" h="141">
                <a:moveTo>
                  <a:pt x="312" y="0"/>
                </a:moveTo>
                <a:lnTo>
                  <a:pt x="186" y="0"/>
                </a:lnTo>
                <a:lnTo>
                  <a:pt x="168" y="8"/>
                </a:lnTo>
                <a:lnTo>
                  <a:pt x="144" y="21"/>
                </a:lnTo>
                <a:lnTo>
                  <a:pt x="132" y="27"/>
                </a:lnTo>
                <a:lnTo>
                  <a:pt x="119" y="32"/>
                </a:lnTo>
                <a:lnTo>
                  <a:pt x="112" y="34"/>
                </a:lnTo>
                <a:lnTo>
                  <a:pt x="105" y="35"/>
                </a:lnTo>
                <a:lnTo>
                  <a:pt x="99" y="36"/>
                </a:lnTo>
                <a:lnTo>
                  <a:pt x="93" y="37"/>
                </a:lnTo>
                <a:lnTo>
                  <a:pt x="88" y="36"/>
                </a:lnTo>
                <a:lnTo>
                  <a:pt x="84" y="35"/>
                </a:lnTo>
                <a:lnTo>
                  <a:pt x="78" y="32"/>
                </a:lnTo>
                <a:lnTo>
                  <a:pt x="74" y="30"/>
                </a:lnTo>
                <a:lnTo>
                  <a:pt x="66" y="24"/>
                </a:lnTo>
                <a:lnTo>
                  <a:pt x="59" y="18"/>
                </a:lnTo>
                <a:lnTo>
                  <a:pt x="49" y="34"/>
                </a:lnTo>
                <a:lnTo>
                  <a:pt x="37" y="51"/>
                </a:lnTo>
                <a:lnTo>
                  <a:pt x="30" y="60"/>
                </a:lnTo>
                <a:lnTo>
                  <a:pt x="21" y="68"/>
                </a:lnTo>
                <a:lnTo>
                  <a:pt x="11" y="75"/>
                </a:lnTo>
                <a:lnTo>
                  <a:pt x="0" y="80"/>
                </a:lnTo>
                <a:lnTo>
                  <a:pt x="12" y="90"/>
                </a:lnTo>
                <a:lnTo>
                  <a:pt x="23" y="100"/>
                </a:lnTo>
                <a:lnTo>
                  <a:pt x="33" y="108"/>
                </a:lnTo>
                <a:lnTo>
                  <a:pt x="44" y="116"/>
                </a:lnTo>
                <a:lnTo>
                  <a:pt x="55" y="122"/>
                </a:lnTo>
                <a:lnTo>
                  <a:pt x="66" y="129"/>
                </a:lnTo>
                <a:lnTo>
                  <a:pt x="79" y="135"/>
                </a:lnTo>
                <a:lnTo>
                  <a:pt x="93" y="141"/>
                </a:lnTo>
                <a:lnTo>
                  <a:pt x="259" y="141"/>
                </a:lnTo>
                <a:lnTo>
                  <a:pt x="269" y="124"/>
                </a:lnTo>
                <a:lnTo>
                  <a:pt x="281" y="107"/>
                </a:lnTo>
                <a:lnTo>
                  <a:pt x="292" y="92"/>
                </a:lnTo>
                <a:lnTo>
                  <a:pt x="304" y="78"/>
                </a:lnTo>
                <a:lnTo>
                  <a:pt x="315" y="64"/>
                </a:lnTo>
                <a:lnTo>
                  <a:pt x="324" y="48"/>
                </a:lnTo>
                <a:lnTo>
                  <a:pt x="333" y="34"/>
                </a:lnTo>
                <a:lnTo>
                  <a:pt x="338" y="18"/>
                </a:lnTo>
                <a:lnTo>
                  <a:pt x="312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92" name="Freeform 344"/>
          <p:cNvSpPr>
            <a:spLocks/>
          </p:cNvSpPr>
          <p:nvPr>
            <p:custDataLst>
              <p:tags r:id="rId247"/>
            </p:custDataLst>
          </p:nvPr>
        </p:nvSpPr>
        <p:spPr bwMode="auto">
          <a:xfrm>
            <a:off x="5995989" y="1792289"/>
            <a:ext cx="111125" cy="65087"/>
          </a:xfrm>
          <a:custGeom>
            <a:avLst/>
            <a:gdLst>
              <a:gd name="T0" fmla="*/ 259 w 259"/>
              <a:gd name="T1" fmla="*/ 129 h 129"/>
              <a:gd name="T2" fmla="*/ 255 w 259"/>
              <a:gd name="T3" fmla="*/ 102 h 129"/>
              <a:gd name="T4" fmla="*/ 252 w 259"/>
              <a:gd name="T5" fmla="*/ 80 h 129"/>
              <a:gd name="T6" fmla="*/ 252 w 259"/>
              <a:gd name="T7" fmla="*/ 63 h 129"/>
              <a:gd name="T8" fmla="*/ 253 w 259"/>
              <a:gd name="T9" fmla="*/ 50 h 129"/>
              <a:gd name="T10" fmla="*/ 257 w 259"/>
              <a:gd name="T11" fmla="*/ 29 h 129"/>
              <a:gd name="T12" fmla="*/ 259 w 259"/>
              <a:gd name="T13" fmla="*/ 12 h 129"/>
              <a:gd name="T14" fmla="*/ 258 w 259"/>
              <a:gd name="T15" fmla="*/ 14 h 129"/>
              <a:gd name="T16" fmla="*/ 256 w 259"/>
              <a:gd name="T17" fmla="*/ 16 h 129"/>
              <a:gd name="T18" fmla="*/ 253 w 259"/>
              <a:gd name="T19" fmla="*/ 17 h 129"/>
              <a:gd name="T20" fmla="*/ 249 w 259"/>
              <a:gd name="T21" fmla="*/ 18 h 129"/>
              <a:gd name="T22" fmla="*/ 239 w 259"/>
              <a:gd name="T23" fmla="*/ 19 h 129"/>
              <a:gd name="T24" fmla="*/ 228 w 259"/>
              <a:gd name="T25" fmla="*/ 19 h 129"/>
              <a:gd name="T26" fmla="*/ 205 w 259"/>
              <a:gd name="T27" fmla="*/ 19 h 129"/>
              <a:gd name="T28" fmla="*/ 192 w 259"/>
              <a:gd name="T29" fmla="*/ 18 h 129"/>
              <a:gd name="T30" fmla="*/ 181 w 259"/>
              <a:gd name="T31" fmla="*/ 17 h 129"/>
              <a:gd name="T32" fmla="*/ 172 w 259"/>
              <a:gd name="T33" fmla="*/ 15 h 129"/>
              <a:gd name="T34" fmla="*/ 163 w 259"/>
              <a:gd name="T35" fmla="*/ 12 h 129"/>
              <a:gd name="T36" fmla="*/ 156 w 259"/>
              <a:gd name="T37" fmla="*/ 9 h 129"/>
              <a:gd name="T38" fmla="*/ 146 w 259"/>
              <a:gd name="T39" fmla="*/ 6 h 129"/>
              <a:gd name="T40" fmla="*/ 134 w 259"/>
              <a:gd name="T41" fmla="*/ 3 h 129"/>
              <a:gd name="T42" fmla="*/ 118 w 259"/>
              <a:gd name="T43" fmla="*/ 1 h 129"/>
              <a:gd name="T44" fmla="*/ 99 w 259"/>
              <a:gd name="T45" fmla="*/ 0 h 129"/>
              <a:gd name="T46" fmla="*/ 83 w 259"/>
              <a:gd name="T47" fmla="*/ 0 h 129"/>
              <a:gd name="T48" fmla="*/ 67 w 259"/>
              <a:gd name="T49" fmla="*/ 0 h 129"/>
              <a:gd name="T50" fmla="*/ 50 w 259"/>
              <a:gd name="T51" fmla="*/ 0 h 129"/>
              <a:gd name="T52" fmla="*/ 34 w 259"/>
              <a:gd name="T53" fmla="*/ 2 h 129"/>
              <a:gd name="T54" fmla="*/ 27 w 259"/>
              <a:gd name="T55" fmla="*/ 4 h 129"/>
              <a:gd name="T56" fmla="*/ 21 w 259"/>
              <a:gd name="T57" fmla="*/ 6 h 129"/>
              <a:gd name="T58" fmla="*/ 14 w 259"/>
              <a:gd name="T59" fmla="*/ 9 h 129"/>
              <a:gd name="T60" fmla="*/ 10 w 259"/>
              <a:gd name="T61" fmla="*/ 13 h 129"/>
              <a:gd name="T62" fmla="*/ 5 w 259"/>
              <a:gd name="T63" fmla="*/ 17 h 129"/>
              <a:gd name="T64" fmla="*/ 2 w 259"/>
              <a:gd name="T65" fmla="*/ 22 h 129"/>
              <a:gd name="T66" fmla="*/ 0 w 259"/>
              <a:gd name="T67" fmla="*/ 29 h 129"/>
              <a:gd name="T68" fmla="*/ 0 w 259"/>
              <a:gd name="T69" fmla="*/ 36 h 129"/>
              <a:gd name="T70" fmla="*/ 0 w 259"/>
              <a:gd name="T71" fmla="*/ 48 h 129"/>
              <a:gd name="T72" fmla="*/ 3 w 259"/>
              <a:gd name="T73" fmla="*/ 58 h 129"/>
              <a:gd name="T74" fmla="*/ 6 w 259"/>
              <a:gd name="T75" fmla="*/ 65 h 129"/>
              <a:gd name="T76" fmla="*/ 12 w 259"/>
              <a:gd name="T77" fmla="*/ 71 h 129"/>
              <a:gd name="T78" fmla="*/ 17 w 259"/>
              <a:gd name="T79" fmla="*/ 76 h 129"/>
              <a:gd name="T80" fmla="*/ 24 w 259"/>
              <a:gd name="T81" fmla="*/ 80 h 129"/>
              <a:gd name="T82" fmla="*/ 31 w 259"/>
              <a:gd name="T83" fmla="*/ 83 h 129"/>
              <a:gd name="T84" fmla="*/ 37 w 259"/>
              <a:gd name="T85" fmla="*/ 85 h 129"/>
              <a:gd name="T86" fmla="*/ 50 w 259"/>
              <a:gd name="T87" fmla="*/ 88 h 129"/>
              <a:gd name="T88" fmla="*/ 61 w 259"/>
              <a:gd name="T89" fmla="*/ 92 h 129"/>
              <a:gd name="T90" fmla="*/ 65 w 259"/>
              <a:gd name="T91" fmla="*/ 95 h 129"/>
              <a:gd name="T92" fmla="*/ 67 w 259"/>
              <a:gd name="T93" fmla="*/ 99 h 129"/>
              <a:gd name="T94" fmla="*/ 67 w 259"/>
              <a:gd name="T95" fmla="*/ 105 h 129"/>
              <a:gd name="T96" fmla="*/ 66 w 259"/>
              <a:gd name="T97" fmla="*/ 111 h 129"/>
              <a:gd name="T98" fmla="*/ 81 w 259"/>
              <a:gd name="T99" fmla="*/ 110 h 129"/>
              <a:gd name="T100" fmla="*/ 91 w 259"/>
              <a:gd name="T101" fmla="*/ 108 h 129"/>
              <a:gd name="T102" fmla="*/ 98 w 259"/>
              <a:gd name="T103" fmla="*/ 106 h 129"/>
              <a:gd name="T104" fmla="*/ 105 w 259"/>
              <a:gd name="T105" fmla="*/ 105 h 129"/>
              <a:gd name="T106" fmla="*/ 120 w 259"/>
              <a:gd name="T107" fmla="*/ 106 h 129"/>
              <a:gd name="T108" fmla="*/ 140 w 259"/>
              <a:gd name="T109" fmla="*/ 108 h 129"/>
              <a:gd name="T110" fmla="*/ 166 w 259"/>
              <a:gd name="T111" fmla="*/ 112 h 129"/>
              <a:gd name="T112" fmla="*/ 192 w 259"/>
              <a:gd name="T113" fmla="*/ 117 h 129"/>
              <a:gd name="T114" fmla="*/ 238 w 259"/>
              <a:gd name="T115" fmla="*/ 125 h 129"/>
              <a:gd name="T116" fmla="*/ 259 w 259"/>
              <a:gd name="T117" fmla="*/ 129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59" h="129">
                <a:moveTo>
                  <a:pt x="259" y="129"/>
                </a:moveTo>
                <a:lnTo>
                  <a:pt x="255" y="102"/>
                </a:lnTo>
                <a:lnTo>
                  <a:pt x="252" y="80"/>
                </a:lnTo>
                <a:lnTo>
                  <a:pt x="252" y="63"/>
                </a:lnTo>
                <a:lnTo>
                  <a:pt x="253" y="50"/>
                </a:lnTo>
                <a:lnTo>
                  <a:pt x="257" y="29"/>
                </a:lnTo>
                <a:lnTo>
                  <a:pt x="259" y="12"/>
                </a:lnTo>
                <a:lnTo>
                  <a:pt x="258" y="14"/>
                </a:lnTo>
                <a:lnTo>
                  <a:pt x="256" y="16"/>
                </a:lnTo>
                <a:lnTo>
                  <a:pt x="253" y="17"/>
                </a:lnTo>
                <a:lnTo>
                  <a:pt x="249" y="18"/>
                </a:lnTo>
                <a:lnTo>
                  <a:pt x="239" y="19"/>
                </a:lnTo>
                <a:lnTo>
                  <a:pt x="228" y="19"/>
                </a:lnTo>
                <a:lnTo>
                  <a:pt x="205" y="19"/>
                </a:lnTo>
                <a:lnTo>
                  <a:pt x="192" y="18"/>
                </a:lnTo>
                <a:lnTo>
                  <a:pt x="181" y="17"/>
                </a:lnTo>
                <a:lnTo>
                  <a:pt x="172" y="15"/>
                </a:lnTo>
                <a:lnTo>
                  <a:pt x="163" y="12"/>
                </a:lnTo>
                <a:lnTo>
                  <a:pt x="156" y="9"/>
                </a:lnTo>
                <a:lnTo>
                  <a:pt x="146" y="6"/>
                </a:lnTo>
                <a:lnTo>
                  <a:pt x="134" y="3"/>
                </a:lnTo>
                <a:lnTo>
                  <a:pt x="118" y="1"/>
                </a:lnTo>
                <a:lnTo>
                  <a:pt x="99" y="0"/>
                </a:lnTo>
                <a:lnTo>
                  <a:pt x="83" y="0"/>
                </a:lnTo>
                <a:lnTo>
                  <a:pt x="67" y="0"/>
                </a:lnTo>
                <a:lnTo>
                  <a:pt x="50" y="0"/>
                </a:lnTo>
                <a:lnTo>
                  <a:pt x="34" y="2"/>
                </a:lnTo>
                <a:lnTo>
                  <a:pt x="27" y="4"/>
                </a:lnTo>
                <a:lnTo>
                  <a:pt x="21" y="6"/>
                </a:lnTo>
                <a:lnTo>
                  <a:pt x="14" y="9"/>
                </a:lnTo>
                <a:lnTo>
                  <a:pt x="10" y="13"/>
                </a:lnTo>
                <a:lnTo>
                  <a:pt x="5" y="17"/>
                </a:lnTo>
                <a:lnTo>
                  <a:pt x="2" y="22"/>
                </a:lnTo>
                <a:lnTo>
                  <a:pt x="0" y="29"/>
                </a:lnTo>
                <a:lnTo>
                  <a:pt x="0" y="36"/>
                </a:lnTo>
                <a:lnTo>
                  <a:pt x="0" y="48"/>
                </a:lnTo>
                <a:lnTo>
                  <a:pt x="3" y="58"/>
                </a:lnTo>
                <a:lnTo>
                  <a:pt x="6" y="65"/>
                </a:lnTo>
                <a:lnTo>
                  <a:pt x="12" y="71"/>
                </a:lnTo>
                <a:lnTo>
                  <a:pt x="17" y="76"/>
                </a:lnTo>
                <a:lnTo>
                  <a:pt x="24" y="80"/>
                </a:lnTo>
                <a:lnTo>
                  <a:pt x="31" y="83"/>
                </a:lnTo>
                <a:lnTo>
                  <a:pt x="37" y="85"/>
                </a:lnTo>
                <a:lnTo>
                  <a:pt x="50" y="88"/>
                </a:lnTo>
                <a:lnTo>
                  <a:pt x="61" y="92"/>
                </a:lnTo>
                <a:lnTo>
                  <a:pt x="65" y="95"/>
                </a:lnTo>
                <a:lnTo>
                  <a:pt x="67" y="99"/>
                </a:lnTo>
                <a:lnTo>
                  <a:pt x="67" y="105"/>
                </a:lnTo>
                <a:lnTo>
                  <a:pt x="66" y="111"/>
                </a:lnTo>
                <a:lnTo>
                  <a:pt x="81" y="110"/>
                </a:lnTo>
                <a:lnTo>
                  <a:pt x="91" y="108"/>
                </a:lnTo>
                <a:lnTo>
                  <a:pt x="98" y="106"/>
                </a:lnTo>
                <a:lnTo>
                  <a:pt x="105" y="105"/>
                </a:lnTo>
                <a:lnTo>
                  <a:pt x="120" y="106"/>
                </a:lnTo>
                <a:lnTo>
                  <a:pt x="140" y="108"/>
                </a:lnTo>
                <a:lnTo>
                  <a:pt x="166" y="112"/>
                </a:lnTo>
                <a:lnTo>
                  <a:pt x="192" y="117"/>
                </a:lnTo>
                <a:lnTo>
                  <a:pt x="238" y="125"/>
                </a:lnTo>
                <a:lnTo>
                  <a:pt x="259" y="12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93" name="Freeform 345"/>
          <p:cNvSpPr>
            <a:spLocks/>
          </p:cNvSpPr>
          <p:nvPr>
            <p:custDataLst>
              <p:tags r:id="rId248"/>
            </p:custDataLst>
          </p:nvPr>
        </p:nvSpPr>
        <p:spPr bwMode="auto">
          <a:xfrm>
            <a:off x="6008689" y="2139951"/>
            <a:ext cx="179387" cy="142875"/>
          </a:xfrm>
          <a:custGeom>
            <a:avLst/>
            <a:gdLst>
              <a:gd name="T0" fmla="*/ 418 w 425"/>
              <a:gd name="T1" fmla="*/ 170 h 272"/>
              <a:gd name="T2" fmla="*/ 398 w 425"/>
              <a:gd name="T3" fmla="*/ 188 h 272"/>
              <a:gd name="T4" fmla="*/ 383 w 425"/>
              <a:gd name="T5" fmla="*/ 206 h 272"/>
              <a:gd name="T6" fmla="*/ 384 w 425"/>
              <a:gd name="T7" fmla="*/ 221 h 272"/>
              <a:gd name="T8" fmla="*/ 389 w 425"/>
              <a:gd name="T9" fmla="*/ 237 h 272"/>
              <a:gd name="T10" fmla="*/ 375 w 425"/>
              <a:gd name="T11" fmla="*/ 244 h 272"/>
              <a:gd name="T12" fmla="*/ 347 w 425"/>
              <a:gd name="T13" fmla="*/ 238 h 272"/>
              <a:gd name="T14" fmla="*/ 324 w 425"/>
              <a:gd name="T15" fmla="*/ 235 h 272"/>
              <a:gd name="T16" fmla="*/ 295 w 425"/>
              <a:gd name="T17" fmla="*/ 235 h 272"/>
              <a:gd name="T18" fmla="*/ 263 w 425"/>
              <a:gd name="T19" fmla="*/ 243 h 272"/>
              <a:gd name="T20" fmla="*/ 232 w 425"/>
              <a:gd name="T21" fmla="*/ 254 h 272"/>
              <a:gd name="T22" fmla="*/ 197 w 425"/>
              <a:gd name="T23" fmla="*/ 267 h 272"/>
              <a:gd name="T24" fmla="*/ 100 w 425"/>
              <a:gd name="T25" fmla="*/ 240 h 272"/>
              <a:gd name="T26" fmla="*/ 85 w 425"/>
              <a:gd name="T27" fmla="*/ 226 h 272"/>
              <a:gd name="T28" fmla="*/ 70 w 425"/>
              <a:gd name="T29" fmla="*/ 214 h 272"/>
              <a:gd name="T30" fmla="*/ 37 w 425"/>
              <a:gd name="T31" fmla="*/ 192 h 272"/>
              <a:gd name="T32" fmla="*/ 22 w 425"/>
              <a:gd name="T33" fmla="*/ 180 h 272"/>
              <a:gd name="T34" fmla="*/ 11 w 425"/>
              <a:gd name="T35" fmla="*/ 167 h 272"/>
              <a:gd name="T36" fmla="*/ 2 w 425"/>
              <a:gd name="T37" fmla="*/ 150 h 272"/>
              <a:gd name="T38" fmla="*/ 0 w 425"/>
              <a:gd name="T39" fmla="*/ 129 h 272"/>
              <a:gd name="T40" fmla="*/ 50 w 425"/>
              <a:gd name="T41" fmla="*/ 66 h 272"/>
              <a:gd name="T42" fmla="*/ 71 w 425"/>
              <a:gd name="T43" fmla="*/ 36 h 272"/>
              <a:gd name="T44" fmla="*/ 80 w 425"/>
              <a:gd name="T45" fmla="*/ 22 h 272"/>
              <a:gd name="T46" fmla="*/ 85 w 425"/>
              <a:gd name="T47" fmla="*/ 6 h 272"/>
              <a:gd name="T48" fmla="*/ 123 w 425"/>
              <a:gd name="T49" fmla="*/ 10 h 272"/>
              <a:gd name="T50" fmla="*/ 153 w 425"/>
              <a:gd name="T51" fmla="*/ 18 h 272"/>
              <a:gd name="T52" fmla="*/ 180 w 425"/>
              <a:gd name="T53" fmla="*/ 27 h 272"/>
              <a:gd name="T54" fmla="*/ 205 w 425"/>
              <a:gd name="T55" fmla="*/ 31 h 272"/>
              <a:gd name="T56" fmla="*/ 214 w 425"/>
              <a:gd name="T57" fmla="*/ 29 h 272"/>
              <a:gd name="T58" fmla="*/ 221 w 425"/>
              <a:gd name="T59" fmla="*/ 26 h 272"/>
              <a:gd name="T60" fmla="*/ 232 w 425"/>
              <a:gd name="T61" fmla="*/ 15 h 272"/>
              <a:gd name="T62" fmla="*/ 242 w 425"/>
              <a:gd name="T63" fmla="*/ 5 h 272"/>
              <a:gd name="T64" fmla="*/ 250 w 425"/>
              <a:gd name="T65" fmla="*/ 2 h 272"/>
              <a:gd name="T66" fmla="*/ 259 w 425"/>
              <a:gd name="T67" fmla="*/ 0 h 272"/>
              <a:gd name="T68" fmla="*/ 275 w 425"/>
              <a:gd name="T69" fmla="*/ 2 h 272"/>
              <a:gd name="T70" fmla="*/ 289 w 425"/>
              <a:gd name="T71" fmla="*/ 7 h 272"/>
              <a:gd name="T72" fmla="*/ 302 w 425"/>
              <a:gd name="T73" fmla="*/ 15 h 272"/>
              <a:gd name="T74" fmla="*/ 310 w 425"/>
              <a:gd name="T75" fmla="*/ 26 h 272"/>
              <a:gd name="T76" fmla="*/ 325 w 425"/>
              <a:gd name="T77" fmla="*/ 53 h 272"/>
              <a:gd name="T78" fmla="*/ 337 w 425"/>
              <a:gd name="T79" fmla="*/ 82 h 272"/>
              <a:gd name="T80" fmla="*/ 349 w 425"/>
              <a:gd name="T81" fmla="*/ 113 h 272"/>
              <a:gd name="T82" fmla="*/ 356 w 425"/>
              <a:gd name="T83" fmla="*/ 126 h 272"/>
              <a:gd name="T84" fmla="*/ 365 w 425"/>
              <a:gd name="T85" fmla="*/ 138 h 272"/>
              <a:gd name="T86" fmla="*/ 376 w 425"/>
              <a:gd name="T87" fmla="*/ 147 h 272"/>
              <a:gd name="T88" fmla="*/ 389 w 425"/>
              <a:gd name="T89" fmla="*/ 156 h 272"/>
              <a:gd name="T90" fmla="*/ 405 w 425"/>
              <a:gd name="T91" fmla="*/ 160 h 272"/>
              <a:gd name="T92" fmla="*/ 425 w 425"/>
              <a:gd name="T93" fmla="*/ 161 h 2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425" h="272">
                <a:moveTo>
                  <a:pt x="425" y="161"/>
                </a:moveTo>
                <a:lnTo>
                  <a:pt x="418" y="170"/>
                </a:lnTo>
                <a:lnTo>
                  <a:pt x="409" y="179"/>
                </a:lnTo>
                <a:lnTo>
                  <a:pt x="398" y="188"/>
                </a:lnTo>
                <a:lnTo>
                  <a:pt x="385" y="197"/>
                </a:lnTo>
                <a:lnTo>
                  <a:pt x="383" y="206"/>
                </a:lnTo>
                <a:lnTo>
                  <a:pt x="383" y="214"/>
                </a:lnTo>
                <a:lnTo>
                  <a:pt x="384" y="221"/>
                </a:lnTo>
                <a:lnTo>
                  <a:pt x="385" y="227"/>
                </a:lnTo>
                <a:lnTo>
                  <a:pt x="389" y="237"/>
                </a:lnTo>
                <a:lnTo>
                  <a:pt x="392" y="246"/>
                </a:lnTo>
                <a:lnTo>
                  <a:pt x="375" y="244"/>
                </a:lnTo>
                <a:lnTo>
                  <a:pt x="356" y="240"/>
                </a:lnTo>
                <a:lnTo>
                  <a:pt x="347" y="238"/>
                </a:lnTo>
                <a:lnTo>
                  <a:pt x="336" y="236"/>
                </a:lnTo>
                <a:lnTo>
                  <a:pt x="324" y="235"/>
                </a:lnTo>
                <a:lnTo>
                  <a:pt x="311" y="234"/>
                </a:lnTo>
                <a:lnTo>
                  <a:pt x="295" y="235"/>
                </a:lnTo>
                <a:lnTo>
                  <a:pt x="278" y="238"/>
                </a:lnTo>
                <a:lnTo>
                  <a:pt x="263" y="243"/>
                </a:lnTo>
                <a:lnTo>
                  <a:pt x="248" y="248"/>
                </a:lnTo>
                <a:lnTo>
                  <a:pt x="232" y="254"/>
                </a:lnTo>
                <a:lnTo>
                  <a:pt x="215" y="260"/>
                </a:lnTo>
                <a:lnTo>
                  <a:pt x="197" y="267"/>
                </a:lnTo>
                <a:lnTo>
                  <a:pt x="179" y="272"/>
                </a:lnTo>
                <a:lnTo>
                  <a:pt x="100" y="240"/>
                </a:lnTo>
                <a:lnTo>
                  <a:pt x="92" y="233"/>
                </a:lnTo>
                <a:lnTo>
                  <a:pt x="85" y="226"/>
                </a:lnTo>
                <a:lnTo>
                  <a:pt x="78" y="220"/>
                </a:lnTo>
                <a:lnTo>
                  <a:pt x="70" y="214"/>
                </a:lnTo>
                <a:lnTo>
                  <a:pt x="52" y="202"/>
                </a:lnTo>
                <a:lnTo>
                  <a:pt x="37" y="192"/>
                </a:lnTo>
                <a:lnTo>
                  <a:pt x="29" y="186"/>
                </a:lnTo>
                <a:lnTo>
                  <a:pt x="22" y="180"/>
                </a:lnTo>
                <a:lnTo>
                  <a:pt x="16" y="174"/>
                </a:lnTo>
                <a:lnTo>
                  <a:pt x="11" y="167"/>
                </a:lnTo>
                <a:lnTo>
                  <a:pt x="6" y="159"/>
                </a:lnTo>
                <a:lnTo>
                  <a:pt x="2" y="150"/>
                </a:lnTo>
                <a:lnTo>
                  <a:pt x="0" y="140"/>
                </a:lnTo>
                <a:lnTo>
                  <a:pt x="0" y="129"/>
                </a:lnTo>
                <a:lnTo>
                  <a:pt x="25" y="95"/>
                </a:lnTo>
                <a:lnTo>
                  <a:pt x="50" y="66"/>
                </a:lnTo>
                <a:lnTo>
                  <a:pt x="61" y="52"/>
                </a:lnTo>
                <a:lnTo>
                  <a:pt x="71" y="36"/>
                </a:lnTo>
                <a:lnTo>
                  <a:pt x="75" y="29"/>
                </a:lnTo>
                <a:lnTo>
                  <a:pt x="80" y="22"/>
                </a:lnTo>
                <a:lnTo>
                  <a:pt x="83" y="14"/>
                </a:lnTo>
                <a:lnTo>
                  <a:pt x="85" y="6"/>
                </a:lnTo>
                <a:lnTo>
                  <a:pt x="105" y="7"/>
                </a:lnTo>
                <a:lnTo>
                  <a:pt x="123" y="10"/>
                </a:lnTo>
                <a:lnTo>
                  <a:pt x="138" y="14"/>
                </a:lnTo>
                <a:lnTo>
                  <a:pt x="153" y="18"/>
                </a:lnTo>
                <a:lnTo>
                  <a:pt x="166" y="23"/>
                </a:lnTo>
                <a:lnTo>
                  <a:pt x="180" y="27"/>
                </a:lnTo>
                <a:lnTo>
                  <a:pt x="193" y="30"/>
                </a:lnTo>
                <a:lnTo>
                  <a:pt x="205" y="31"/>
                </a:lnTo>
                <a:lnTo>
                  <a:pt x="210" y="30"/>
                </a:lnTo>
                <a:lnTo>
                  <a:pt x="214" y="29"/>
                </a:lnTo>
                <a:lnTo>
                  <a:pt x="218" y="28"/>
                </a:lnTo>
                <a:lnTo>
                  <a:pt x="221" y="26"/>
                </a:lnTo>
                <a:lnTo>
                  <a:pt x="227" y="21"/>
                </a:lnTo>
                <a:lnTo>
                  <a:pt x="232" y="15"/>
                </a:lnTo>
                <a:lnTo>
                  <a:pt x="237" y="10"/>
                </a:lnTo>
                <a:lnTo>
                  <a:pt x="242" y="5"/>
                </a:lnTo>
                <a:lnTo>
                  <a:pt x="246" y="3"/>
                </a:lnTo>
                <a:lnTo>
                  <a:pt x="250" y="2"/>
                </a:lnTo>
                <a:lnTo>
                  <a:pt x="253" y="1"/>
                </a:lnTo>
                <a:lnTo>
                  <a:pt x="259" y="0"/>
                </a:lnTo>
                <a:lnTo>
                  <a:pt x="268" y="1"/>
                </a:lnTo>
                <a:lnTo>
                  <a:pt x="275" y="2"/>
                </a:lnTo>
                <a:lnTo>
                  <a:pt x="283" y="4"/>
                </a:lnTo>
                <a:lnTo>
                  <a:pt x="289" y="7"/>
                </a:lnTo>
                <a:lnTo>
                  <a:pt x="296" y="11"/>
                </a:lnTo>
                <a:lnTo>
                  <a:pt x="302" y="15"/>
                </a:lnTo>
                <a:lnTo>
                  <a:pt x="306" y="20"/>
                </a:lnTo>
                <a:lnTo>
                  <a:pt x="310" y="26"/>
                </a:lnTo>
                <a:lnTo>
                  <a:pt x="318" y="38"/>
                </a:lnTo>
                <a:lnTo>
                  <a:pt x="325" y="53"/>
                </a:lnTo>
                <a:lnTo>
                  <a:pt x="331" y="67"/>
                </a:lnTo>
                <a:lnTo>
                  <a:pt x="337" y="82"/>
                </a:lnTo>
                <a:lnTo>
                  <a:pt x="342" y="98"/>
                </a:lnTo>
                <a:lnTo>
                  <a:pt x="349" y="113"/>
                </a:lnTo>
                <a:lnTo>
                  <a:pt x="352" y="119"/>
                </a:lnTo>
                <a:lnTo>
                  <a:pt x="356" y="126"/>
                </a:lnTo>
                <a:lnTo>
                  <a:pt x="360" y="132"/>
                </a:lnTo>
                <a:lnTo>
                  <a:pt x="365" y="138"/>
                </a:lnTo>
                <a:lnTo>
                  <a:pt x="370" y="143"/>
                </a:lnTo>
                <a:lnTo>
                  <a:pt x="376" y="147"/>
                </a:lnTo>
                <a:lnTo>
                  <a:pt x="382" y="151"/>
                </a:lnTo>
                <a:lnTo>
                  <a:pt x="389" y="156"/>
                </a:lnTo>
                <a:lnTo>
                  <a:pt x="397" y="158"/>
                </a:lnTo>
                <a:lnTo>
                  <a:pt x="405" y="160"/>
                </a:lnTo>
                <a:lnTo>
                  <a:pt x="415" y="161"/>
                </a:lnTo>
                <a:lnTo>
                  <a:pt x="425" y="16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94" name="Freeform 346"/>
          <p:cNvSpPr>
            <a:spLocks/>
          </p:cNvSpPr>
          <p:nvPr>
            <p:custDataLst>
              <p:tags r:id="rId249"/>
            </p:custDataLst>
          </p:nvPr>
        </p:nvSpPr>
        <p:spPr bwMode="auto">
          <a:xfrm>
            <a:off x="4008439" y="3178176"/>
            <a:ext cx="14287" cy="55563"/>
          </a:xfrm>
          <a:custGeom>
            <a:avLst/>
            <a:gdLst>
              <a:gd name="T0" fmla="*/ 13 w 33"/>
              <a:gd name="T1" fmla="*/ 6 h 31"/>
              <a:gd name="T2" fmla="*/ 0 w 33"/>
              <a:gd name="T3" fmla="*/ 19 h 31"/>
              <a:gd name="T4" fmla="*/ 5 w 33"/>
              <a:gd name="T5" fmla="*/ 21 h 31"/>
              <a:gd name="T6" fmla="*/ 14 w 33"/>
              <a:gd name="T7" fmla="*/ 25 h 31"/>
              <a:gd name="T8" fmla="*/ 19 w 33"/>
              <a:gd name="T9" fmla="*/ 27 h 31"/>
              <a:gd name="T10" fmla="*/ 23 w 33"/>
              <a:gd name="T11" fmla="*/ 29 h 31"/>
              <a:gd name="T12" fmla="*/ 27 w 33"/>
              <a:gd name="T13" fmla="*/ 30 h 31"/>
              <a:gd name="T14" fmla="*/ 33 w 33"/>
              <a:gd name="T15" fmla="*/ 31 h 31"/>
              <a:gd name="T16" fmla="*/ 33 w 33"/>
              <a:gd name="T17" fmla="*/ 0 h 31"/>
              <a:gd name="T18" fmla="*/ 20 w 33"/>
              <a:gd name="T19" fmla="*/ 0 h 31"/>
              <a:gd name="T20" fmla="*/ 13 w 33"/>
              <a:gd name="T21" fmla="*/ 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3" h="31">
                <a:moveTo>
                  <a:pt x="13" y="6"/>
                </a:moveTo>
                <a:lnTo>
                  <a:pt x="0" y="19"/>
                </a:lnTo>
                <a:lnTo>
                  <a:pt x="5" y="21"/>
                </a:lnTo>
                <a:lnTo>
                  <a:pt x="14" y="25"/>
                </a:lnTo>
                <a:lnTo>
                  <a:pt x="19" y="27"/>
                </a:lnTo>
                <a:lnTo>
                  <a:pt x="23" y="29"/>
                </a:lnTo>
                <a:lnTo>
                  <a:pt x="27" y="30"/>
                </a:lnTo>
                <a:lnTo>
                  <a:pt x="33" y="31"/>
                </a:lnTo>
                <a:lnTo>
                  <a:pt x="33" y="0"/>
                </a:lnTo>
                <a:lnTo>
                  <a:pt x="20" y="0"/>
                </a:lnTo>
                <a:lnTo>
                  <a:pt x="13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95" name="Freeform 347"/>
          <p:cNvSpPr>
            <a:spLocks/>
          </p:cNvSpPr>
          <p:nvPr>
            <p:custDataLst>
              <p:tags r:id="rId250"/>
            </p:custDataLst>
          </p:nvPr>
        </p:nvSpPr>
        <p:spPr bwMode="auto">
          <a:xfrm>
            <a:off x="6113464" y="2132014"/>
            <a:ext cx="85725" cy="79375"/>
          </a:xfrm>
          <a:custGeom>
            <a:avLst/>
            <a:gdLst>
              <a:gd name="T0" fmla="*/ 6 w 192"/>
              <a:gd name="T1" fmla="*/ 19 h 154"/>
              <a:gd name="T2" fmla="*/ 52 w 192"/>
              <a:gd name="T3" fmla="*/ 0 h 154"/>
              <a:gd name="T4" fmla="*/ 92 w 192"/>
              <a:gd name="T5" fmla="*/ 19 h 154"/>
              <a:gd name="T6" fmla="*/ 119 w 192"/>
              <a:gd name="T7" fmla="*/ 31 h 154"/>
              <a:gd name="T8" fmla="*/ 146 w 192"/>
              <a:gd name="T9" fmla="*/ 63 h 154"/>
              <a:gd name="T10" fmla="*/ 166 w 192"/>
              <a:gd name="T11" fmla="*/ 93 h 154"/>
              <a:gd name="T12" fmla="*/ 192 w 192"/>
              <a:gd name="T13" fmla="*/ 118 h 154"/>
              <a:gd name="T14" fmla="*/ 152 w 192"/>
              <a:gd name="T15" fmla="*/ 124 h 154"/>
              <a:gd name="T16" fmla="*/ 126 w 192"/>
              <a:gd name="T17" fmla="*/ 130 h 154"/>
              <a:gd name="T18" fmla="*/ 126 w 192"/>
              <a:gd name="T19" fmla="*/ 154 h 154"/>
              <a:gd name="T20" fmla="*/ 106 w 192"/>
              <a:gd name="T21" fmla="*/ 154 h 154"/>
              <a:gd name="T22" fmla="*/ 99 w 192"/>
              <a:gd name="T23" fmla="*/ 146 h 154"/>
              <a:gd name="T24" fmla="*/ 93 w 192"/>
              <a:gd name="T25" fmla="*/ 137 h 154"/>
              <a:gd name="T26" fmla="*/ 88 w 192"/>
              <a:gd name="T27" fmla="*/ 126 h 154"/>
              <a:gd name="T28" fmla="*/ 82 w 192"/>
              <a:gd name="T29" fmla="*/ 115 h 154"/>
              <a:gd name="T30" fmla="*/ 74 w 192"/>
              <a:gd name="T31" fmla="*/ 93 h 154"/>
              <a:gd name="T32" fmla="*/ 65 w 192"/>
              <a:gd name="T33" fmla="*/ 71 h 154"/>
              <a:gd name="T34" fmla="*/ 60 w 192"/>
              <a:gd name="T35" fmla="*/ 61 h 154"/>
              <a:gd name="T36" fmla="*/ 55 w 192"/>
              <a:gd name="T37" fmla="*/ 50 h 154"/>
              <a:gd name="T38" fmla="*/ 48 w 192"/>
              <a:gd name="T39" fmla="*/ 42 h 154"/>
              <a:gd name="T40" fmla="*/ 41 w 192"/>
              <a:gd name="T41" fmla="*/ 34 h 154"/>
              <a:gd name="T42" fmla="*/ 33 w 192"/>
              <a:gd name="T43" fmla="*/ 28 h 154"/>
              <a:gd name="T44" fmla="*/ 24 w 192"/>
              <a:gd name="T45" fmla="*/ 23 h 154"/>
              <a:gd name="T46" fmla="*/ 18 w 192"/>
              <a:gd name="T47" fmla="*/ 22 h 154"/>
              <a:gd name="T48" fmla="*/ 12 w 192"/>
              <a:gd name="T49" fmla="*/ 20 h 154"/>
              <a:gd name="T50" fmla="*/ 6 w 192"/>
              <a:gd name="T51" fmla="*/ 20 h 154"/>
              <a:gd name="T52" fmla="*/ 0 w 192"/>
              <a:gd name="T53" fmla="*/ 19 h 154"/>
              <a:gd name="T54" fmla="*/ 6 w 192"/>
              <a:gd name="T55" fmla="*/ 19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192" h="154">
                <a:moveTo>
                  <a:pt x="6" y="19"/>
                </a:moveTo>
                <a:lnTo>
                  <a:pt x="52" y="0"/>
                </a:lnTo>
                <a:lnTo>
                  <a:pt x="92" y="19"/>
                </a:lnTo>
                <a:lnTo>
                  <a:pt x="119" y="31"/>
                </a:lnTo>
                <a:lnTo>
                  <a:pt x="146" y="63"/>
                </a:lnTo>
                <a:lnTo>
                  <a:pt x="166" y="93"/>
                </a:lnTo>
                <a:lnTo>
                  <a:pt x="192" y="118"/>
                </a:lnTo>
                <a:lnTo>
                  <a:pt x="152" y="124"/>
                </a:lnTo>
                <a:lnTo>
                  <a:pt x="126" y="130"/>
                </a:lnTo>
                <a:lnTo>
                  <a:pt x="126" y="154"/>
                </a:lnTo>
                <a:lnTo>
                  <a:pt x="106" y="154"/>
                </a:lnTo>
                <a:lnTo>
                  <a:pt x="99" y="146"/>
                </a:lnTo>
                <a:lnTo>
                  <a:pt x="93" y="137"/>
                </a:lnTo>
                <a:lnTo>
                  <a:pt x="88" y="126"/>
                </a:lnTo>
                <a:lnTo>
                  <a:pt x="82" y="115"/>
                </a:lnTo>
                <a:lnTo>
                  <a:pt x="74" y="93"/>
                </a:lnTo>
                <a:lnTo>
                  <a:pt x="65" y="71"/>
                </a:lnTo>
                <a:lnTo>
                  <a:pt x="60" y="61"/>
                </a:lnTo>
                <a:lnTo>
                  <a:pt x="55" y="50"/>
                </a:lnTo>
                <a:lnTo>
                  <a:pt x="48" y="42"/>
                </a:lnTo>
                <a:lnTo>
                  <a:pt x="41" y="34"/>
                </a:lnTo>
                <a:lnTo>
                  <a:pt x="33" y="28"/>
                </a:lnTo>
                <a:lnTo>
                  <a:pt x="24" y="23"/>
                </a:lnTo>
                <a:lnTo>
                  <a:pt x="18" y="22"/>
                </a:lnTo>
                <a:lnTo>
                  <a:pt x="12" y="20"/>
                </a:lnTo>
                <a:lnTo>
                  <a:pt x="6" y="20"/>
                </a:lnTo>
                <a:lnTo>
                  <a:pt x="0" y="19"/>
                </a:lnTo>
                <a:lnTo>
                  <a:pt x="6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96" name="Freeform 348"/>
          <p:cNvSpPr>
            <a:spLocks/>
          </p:cNvSpPr>
          <p:nvPr>
            <p:custDataLst>
              <p:tags r:id="rId251"/>
            </p:custDataLst>
          </p:nvPr>
        </p:nvSpPr>
        <p:spPr bwMode="auto">
          <a:xfrm>
            <a:off x="6030913" y="2014538"/>
            <a:ext cx="381000" cy="247650"/>
          </a:xfrm>
          <a:custGeom>
            <a:avLst/>
            <a:gdLst>
              <a:gd name="T0" fmla="*/ 392 w 877"/>
              <a:gd name="T1" fmla="*/ 340 h 469"/>
              <a:gd name="T2" fmla="*/ 319 w 877"/>
              <a:gd name="T3" fmla="*/ 253 h 469"/>
              <a:gd name="T4" fmla="*/ 206 w 877"/>
              <a:gd name="T5" fmla="*/ 241 h 469"/>
              <a:gd name="T6" fmla="*/ 191 w 877"/>
              <a:gd name="T7" fmla="*/ 243 h 469"/>
              <a:gd name="T8" fmla="*/ 178 w 877"/>
              <a:gd name="T9" fmla="*/ 251 h 469"/>
              <a:gd name="T10" fmla="*/ 162 w 877"/>
              <a:gd name="T11" fmla="*/ 267 h 469"/>
              <a:gd name="T12" fmla="*/ 151 w 877"/>
              <a:gd name="T13" fmla="*/ 271 h 469"/>
              <a:gd name="T14" fmla="*/ 121 w 877"/>
              <a:gd name="T15" fmla="*/ 268 h 469"/>
              <a:gd name="T16" fmla="*/ 79 w 877"/>
              <a:gd name="T17" fmla="*/ 255 h 469"/>
              <a:gd name="T18" fmla="*/ 26 w 877"/>
              <a:gd name="T19" fmla="*/ 247 h 469"/>
              <a:gd name="T20" fmla="*/ 8 w 877"/>
              <a:gd name="T21" fmla="*/ 212 h 469"/>
              <a:gd name="T22" fmla="*/ 13 w 877"/>
              <a:gd name="T23" fmla="*/ 187 h 469"/>
              <a:gd name="T24" fmla="*/ 13 w 877"/>
              <a:gd name="T25" fmla="*/ 180 h 469"/>
              <a:gd name="T26" fmla="*/ 23 w 877"/>
              <a:gd name="T27" fmla="*/ 144 h 469"/>
              <a:gd name="T28" fmla="*/ 44 w 877"/>
              <a:gd name="T29" fmla="*/ 112 h 469"/>
              <a:gd name="T30" fmla="*/ 54 w 877"/>
              <a:gd name="T31" fmla="*/ 92 h 469"/>
              <a:gd name="T32" fmla="*/ 26 w 877"/>
              <a:gd name="T33" fmla="*/ 50 h 469"/>
              <a:gd name="T34" fmla="*/ 173 w 877"/>
              <a:gd name="T35" fmla="*/ 26 h 469"/>
              <a:gd name="T36" fmla="*/ 339 w 877"/>
              <a:gd name="T37" fmla="*/ 50 h 469"/>
              <a:gd name="T38" fmla="*/ 392 w 877"/>
              <a:gd name="T39" fmla="*/ 13 h 469"/>
              <a:gd name="T40" fmla="*/ 485 w 877"/>
              <a:gd name="T41" fmla="*/ 0 h 469"/>
              <a:gd name="T42" fmla="*/ 579 w 877"/>
              <a:gd name="T43" fmla="*/ 38 h 469"/>
              <a:gd name="T44" fmla="*/ 638 w 877"/>
              <a:gd name="T45" fmla="*/ 111 h 469"/>
              <a:gd name="T46" fmla="*/ 725 w 877"/>
              <a:gd name="T47" fmla="*/ 111 h 469"/>
              <a:gd name="T48" fmla="*/ 838 w 877"/>
              <a:gd name="T49" fmla="*/ 155 h 469"/>
              <a:gd name="T50" fmla="*/ 864 w 877"/>
              <a:gd name="T51" fmla="*/ 235 h 469"/>
              <a:gd name="T52" fmla="*/ 804 w 877"/>
              <a:gd name="T53" fmla="*/ 272 h 469"/>
              <a:gd name="T54" fmla="*/ 754 w 877"/>
              <a:gd name="T55" fmla="*/ 313 h 469"/>
              <a:gd name="T56" fmla="*/ 688 w 877"/>
              <a:gd name="T57" fmla="*/ 330 h 469"/>
              <a:gd name="T58" fmla="*/ 663 w 877"/>
              <a:gd name="T59" fmla="*/ 343 h 469"/>
              <a:gd name="T60" fmla="*/ 648 w 877"/>
              <a:gd name="T61" fmla="*/ 358 h 469"/>
              <a:gd name="T62" fmla="*/ 646 w 877"/>
              <a:gd name="T63" fmla="*/ 375 h 469"/>
              <a:gd name="T64" fmla="*/ 653 w 877"/>
              <a:gd name="T65" fmla="*/ 390 h 469"/>
              <a:gd name="T66" fmla="*/ 666 w 877"/>
              <a:gd name="T67" fmla="*/ 401 h 469"/>
              <a:gd name="T68" fmla="*/ 711 w 877"/>
              <a:gd name="T69" fmla="*/ 396 h 469"/>
              <a:gd name="T70" fmla="*/ 741 w 877"/>
              <a:gd name="T71" fmla="*/ 394 h 469"/>
              <a:gd name="T72" fmla="*/ 734 w 877"/>
              <a:gd name="T73" fmla="*/ 403 h 469"/>
              <a:gd name="T74" fmla="*/ 716 w 877"/>
              <a:gd name="T75" fmla="*/ 421 h 469"/>
              <a:gd name="T76" fmla="*/ 698 w 877"/>
              <a:gd name="T77" fmla="*/ 438 h 469"/>
              <a:gd name="T78" fmla="*/ 689 w 877"/>
              <a:gd name="T79" fmla="*/ 419 h 469"/>
              <a:gd name="T80" fmla="*/ 671 w 877"/>
              <a:gd name="T81" fmla="*/ 408 h 469"/>
              <a:gd name="T82" fmla="*/ 666 w 877"/>
              <a:gd name="T83" fmla="*/ 423 h 469"/>
              <a:gd name="T84" fmla="*/ 643 w 877"/>
              <a:gd name="T85" fmla="*/ 442 h 469"/>
              <a:gd name="T86" fmla="*/ 619 w 877"/>
              <a:gd name="T87" fmla="*/ 460 h 469"/>
              <a:gd name="T88" fmla="*/ 611 w 877"/>
              <a:gd name="T89" fmla="*/ 469 h 469"/>
              <a:gd name="T90" fmla="*/ 595 w 877"/>
              <a:gd name="T91" fmla="*/ 464 h 469"/>
              <a:gd name="T92" fmla="*/ 584 w 877"/>
              <a:gd name="T93" fmla="*/ 455 h 469"/>
              <a:gd name="T94" fmla="*/ 575 w 877"/>
              <a:gd name="T95" fmla="*/ 439 h 469"/>
              <a:gd name="T96" fmla="*/ 572 w 877"/>
              <a:gd name="T97" fmla="*/ 408 h 469"/>
              <a:gd name="T98" fmla="*/ 548 w 877"/>
              <a:gd name="T99" fmla="*/ 404 h 469"/>
              <a:gd name="T100" fmla="*/ 518 w 877"/>
              <a:gd name="T101" fmla="*/ 389 h 469"/>
              <a:gd name="T102" fmla="*/ 559 w 877"/>
              <a:gd name="T103" fmla="*/ 379 h 469"/>
              <a:gd name="T104" fmla="*/ 625 w 877"/>
              <a:gd name="T105" fmla="*/ 370 h 469"/>
              <a:gd name="T106" fmla="*/ 493 w 877"/>
              <a:gd name="T107" fmla="*/ 354 h 469"/>
              <a:gd name="T108" fmla="*/ 445 w 877"/>
              <a:gd name="T109" fmla="*/ 333 h 469"/>
              <a:gd name="T110" fmla="*/ 398 w 877"/>
              <a:gd name="T111" fmla="*/ 369 h 469"/>
              <a:gd name="T112" fmla="*/ 380 w 877"/>
              <a:gd name="T113" fmla="*/ 395 h 469"/>
              <a:gd name="T114" fmla="*/ 353 w 877"/>
              <a:gd name="T115" fmla="*/ 400 h 469"/>
              <a:gd name="T116" fmla="*/ 328 w 877"/>
              <a:gd name="T117" fmla="*/ 392 h 469"/>
              <a:gd name="T118" fmla="*/ 306 w 877"/>
              <a:gd name="T119" fmla="*/ 376 h 4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877" h="469">
                <a:moveTo>
                  <a:pt x="326" y="352"/>
                </a:moveTo>
                <a:lnTo>
                  <a:pt x="352" y="346"/>
                </a:lnTo>
                <a:lnTo>
                  <a:pt x="392" y="340"/>
                </a:lnTo>
                <a:lnTo>
                  <a:pt x="366" y="315"/>
                </a:lnTo>
                <a:lnTo>
                  <a:pt x="346" y="285"/>
                </a:lnTo>
                <a:lnTo>
                  <a:pt x="319" y="253"/>
                </a:lnTo>
                <a:lnTo>
                  <a:pt x="292" y="241"/>
                </a:lnTo>
                <a:lnTo>
                  <a:pt x="252" y="222"/>
                </a:lnTo>
                <a:lnTo>
                  <a:pt x="206" y="241"/>
                </a:lnTo>
                <a:lnTo>
                  <a:pt x="200" y="241"/>
                </a:lnTo>
                <a:lnTo>
                  <a:pt x="194" y="242"/>
                </a:lnTo>
                <a:lnTo>
                  <a:pt x="191" y="243"/>
                </a:lnTo>
                <a:lnTo>
                  <a:pt x="187" y="244"/>
                </a:lnTo>
                <a:lnTo>
                  <a:pt x="183" y="246"/>
                </a:lnTo>
                <a:lnTo>
                  <a:pt x="178" y="251"/>
                </a:lnTo>
                <a:lnTo>
                  <a:pt x="173" y="256"/>
                </a:lnTo>
                <a:lnTo>
                  <a:pt x="168" y="262"/>
                </a:lnTo>
                <a:lnTo>
                  <a:pt x="162" y="267"/>
                </a:lnTo>
                <a:lnTo>
                  <a:pt x="159" y="269"/>
                </a:lnTo>
                <a:lnTo>
                  <a:pt x="155" y="270"/>
                </a:lnTo>
                <a:lnTo>
                  <a:pt x="151" y="271"/>
                </a:lnTo>
                <a:lnTo>
                  <a:pt x="146" y="272"/>
                </a:lnTo>
                <a:lnTo>
                  <a:pt x="134" y="271"/>
                </a:lnTo>
                <a:lnTo>
                  <a:pt x="121" y="268"/>
                </a:lnTo>
                <a:lnTo>
                  <a:pt x="107" y="264"/>
                </a:lnTo>
                <a:lnTo>
                  <a:pt x="94" y="259"/>
                </a:lnTo>
                <a:lnTo>
                  <a:pt x="79" y="255"/>
                </a:lnTo>
                <a:lnTo>
                  <a:pt x="64" y="251"/>
                </a:lnTo>
                <a:lnTo>
                  <a:pt x="46" y="248"/>
                </a:lnTo>
                <a:lnTo>
                  <a:pt x="26" y="247"/>
                </a:lnTo>
                <a:lnTo>
                  <a:pt x="0" y="222"/>
                </a:lnTo>
                <a:lnTo>
                  <a:pt x="4" y="217"/>
                </a:lnTo>
                <a:lnTo>
                  <a:pt x="8" y="212"/>
                </a:lnTo>
                <a:lnTo>
                  <a:pt x="10" y="206"/>
                </a:lnTo>
                <a:lnTo>
                  <a:pt x="12" y="200"/>
                </a:lnTo>
                <a:lnTo>
                  <a:pt x="13" y="187"/>
                </a:lnTo>
                <a:lnTo>
                  <a:pt x="13" y="174"/>
                </a:lnTo>
                <a:lnTo>
                  <a:pt x="6" y="174"/>
                </a:lnTo>
                <a:lnTo>
                  <a:pt x="13" y="180"/>
                </a:lnTo>
                <a:lnTo>
                  <a:pt x="14" y="167"/>
                </a:lnTo>
                <a:lnTo>
                  <a:pt x="17" y="155"/>
                </a:lnTo>
                <a:lnTo>
                  <a:pt x="23" y="144"/>
                </a:lnTo>
                <a:lnTo>
                  <a:pt x="30" y="133"/>
                </a:lnTo>
                <a:lnTo>
                  <a:pt x="36" y="122"/>
                </a:lnTo>
                <a:lnTo>
                  <a:pt x="44" y="112"/>
                </a:lnTo>
                <a:lnTo>
                  <a:pt x="53" y="105"/>
                </a:lnTo>
                <a:lnTo>
                  <a:pt x="60" y="99"/>
                </a:lnTo>
                <a:lnTo>
                  <a:pt x="54" y="92"/>
                </a:lnTo>
                <a:lnTo>
                  <a:pt x="46" y="82"/>
                </a:lnTo>
                <a:lnTo>
                  <a:pt x="36" y="68"/>
                </a:lnTo>
                <a:lnTo>
                  <a:pt x="26" y="50"/>
                </a:lnTo>
                <a:lnTo>
                  <a:pt x="60" y="38"/>
                </a:lnTo>
                <a:lnTo>
                  <a:pt x="113" y="26"/>
                </a:lnTo>
                <a:lnTo>
                  <a:pt x="173" y="26"/>
                </a:lnTo>
                <a:lnTo>
                  <a:pt x="239" y="44"/>
                </a:lnTo>
                <a:lnTo>
                  <a:pt x="285" y="38"/>
                </a:lnTo>
                <a:lnTo>
                  <a:pt x="339" y="50"/>
                </a:lnTo>
                <a:lnTo>
                  <a:pt x="385" y="63"/>
                </a:lnTo>
                <a:lnTo>
                  <a:pt x="385" y="38"/>
                </a:lnTo>
                <a:lnTo>
                  <a:pt x="392" y="13"/>
                </a:lnTo>
                <a:lnTo>
                  <a:pt x="433" y="13"/>
                </a:lnTo>
                <a:lnTo>
                  <a:pt x="465" y="13"/>
                </a:lnTo>
                <a:lnTo>
                  <a:pt x="485" y="0"/>
                </a:lnTo>
                <a:lnTo>
                  <a:pt x="531" y="0"/>
                </a:lnTo>
                <a:lnTo>
                  <a:pt x="551" y="13"/>
                </a:lnTo>
                <a:lnTo>
                  <a:pt x="579" y="38"/>
                </a:lnTo>
                <a:lnTo>
                  <a:pt x="565" y="63"/>
                </a:lnTo>
                <a:lnTo>
                  <a:pt x="618" y="63"/>
                </a:lnTo>
                <a:lnTo>
                  <a:pt x="638" y="111"/>
                </a:lnTo>
                <a:lnTo>
                  <a:pt x="664" y="105"/>
                </a:lnTo>
                <a:lnTo>
                  <a:pt x="692" y="124"/>
                </a:lnTo>
                <a:lnTo>
                  <a:pt x="725" y="111"/>
                </a:lnTo>
                <a:lnTo>
                  <a:pt x="758" y="136"/>
                </a:lnTo>
                <a:lnTo>
                  <a:pt x="797" y="136"/>
                </a:lnTo>
                <a:lnTo>
                  <a:pt x="838" y="155"/>
                </a:lnTo>
                <a:lnTo>
                  <a:pt x="877" y="167"/>
                </a:lnTo>
                <a:lnTo>
                  <a:pt x="871" y="198"/>
                </a:lnTo>
                <a:lnTo>
                  <a:pt x="864" y="235"/>
                </a:lnTo>
                <a:lnTo>
                  <a:pt x="877" y="259"/>
                </a:lnTo>
                <a:lnTo>
                  <a:pt x="844" y="259"/>
                </a:lnTo>
                <a:lnTo>
                  <a:pt x="804" y="272"/>
                </a:lnTo>
                <a:lnTo>
                  <a:pt x="797" y="303"/>
                </a:lnTo>
                <a:lnTo>
                  <a:pt x="777" y="309"/>
                </a:lnTo>
                <a:lnTo>
                  <a:pt x="754" y="313"/>
                </a:lnTo>
                <a:lnTo>
                  <a:pt x="731" y="318"/>
                </a:lnTo>
                <a:lnTo>
                  <a:pt x="709" y="324"/>
                </a:lnTo>
                <a:lnTo>
                  <a:pt x="688" y="330"/>
                </a:lnTo>
                <a:lnTo>
                  <a:pt x="680" y="334"/>
                </a:lnTo>
                <a:lnTo>
                  <a:pt x="671" y="337"/>
                </a:lnTo>
                <a:lnTo>
                  <a:pt x="663" y="343"/>
                </a:lnTo>
                <a:lnTo>
                  <a:pt x="656" y="347"/>
                </a:lnTo>
                <a:lnTo>
                  <a:pt x="652" y="352"/>
                </a:lnTo>
                <a:lnTo>
                  <a:pt x="648" y="358"/>
                </a:lnTo>
                <a:lnTo>
                  <a:pt x="646" y="364"/>
                </a:lnTo>
                <a:lnTo>
                  <a:pt x="644" y="370"/>
                </a:lnTo>
                <a:lnTo>
                  <a:pt x="646" y="375"/>
                </a:lnTo>
                <a:lnTo>
                  <a:pt x="647" y="380"/>
                </a:lnTo>
                <a:lnTo>
                  <a:pt x="650" y="385"/>
                </a:lnTo>
                <a:lnTo>
                  <a:pt x="653" y="390"/>
                </a:lnTo>
                <a:lnTo>
                  <a:pt x="656" y="395"/>
                </a:lnTo>
                <a:lnTo>
                  <a:pt x="661" y="399"/>
                </a:lnTo>
                <a:lnTo>
                  <a:pt x="666" y="401"/>
                </a:lnTo>
                <a:lnTo>
                  <a:pt x="671" y="402"/>
                </a:lnTo>
                <a:lnTo>
                  <a:pt x="692" y="400"/>
                </a:lnTo>
                <a:lnTo>
                  <a:pt x="711" y="396"/>
                </a:lnTo>
                <a:lnTo>
                  <a:pt x="721" y="395"/>
                </a:lnTo>
                <a:lnTo>
                  <a:pt x="731" y="394"/>
                </a:lnTo>
                <a:lnTo>
                  <a:pt x="741" y="394"/>
                </a:lnTo>
                <a:lnTo>
                  <a:pt x="751" y="396"/>
                </a:lnTo>
                <a:lnTo>
                  <a:pt x="742" y="399"/>
                </a:lnTo>
                <a:lnTo>
                  <a:pt x="734" y="403"/>
                </a:lnTo>
                <a:lnTo>
                  <a:pt x="728" y="408"/>
                </a:lnTo>
                <a:lnTo>
                  <a:pt x="721" y="414"/>
                </a:lnTo>
                <a:lnTo>
                  <a:pt x="716" y="421"/>
                </a:lnTo>
                <a:lnTo>
                  <a:pt x="710" y="427"/>
                </a:lnTo>
                <a:lnTo>
                  <a:pt x="705" y="433"/>
                </a:lnTo>
                <a:lnTo>
                  <a:pt x="698" y="438"/>
                </a:lnTo>
                <a:lnTo>
                  <a:pt x="695" y="430"/>
                </a:lnTo>
                <a:lnTo>
                  <a:pt x="693" y="424"/>
                </a:lnTo>
                <a:lnTo>
                  <a:pt x="689" y="419"/>
                </a:lnTo>
                <a:lnTo>
                  <a:pt x="687" y="416"/>
                </a:lnTo>
                <a:lnTo>
                  <a:pt x="680" y="412"/>
                </a:lnTo>
                <a:lnTo>
                  <a:pt x="671" y="408"/>
                </a:lnTo>
                <a:lnTo>
                  <a:pt x="671" y="413"/>
                </a:lnTo>
                <a:lnTo>
                  <a:pt x="669" y="418"/>
                </a:lnTo>
                <a:lnTo>
                  <a:pt x="666" y="423"/>
                </a:lnTo>
                <a:lnTo>
                  <a:pt x="663" y="427"/>
                </a:lnTo>
                <a:lnTo>
                  <a:pt x="654" y="435"/>
                </a:lnTo>
                <a:lnTo>
                  <a:pt x="643" y="442"/>
                </a:lnTo>
                <a:lnTo>
                  <a:pt x="633" y="450"/>
                </a:lnTo>
                <a:lnTo>
                  <a:pt x="624" y="456"/>
                </a:lnTo>
                <a:lnTo>
                  <a:pt x="619" y="460"/>
                </a:lnTo>
                <a:lnTo>
                  <a:pt x="616" y="463"/>
                </a:lnTo>
                <a:lnTo>
                  <a:pt x="613" y="466"/>
                </a:lnTo>
                <a:lnTo>
                  <a:pt x="611" y="469"/>
                </a:lnTo>
                <a:lnTo>
                  <a:pt x="605" y="468"/>
                </a:lnTo>
                <a:lnTo>
                  <a:pt x="600" y="466"/>
                </a:lnTo>
                <a:lnTo>
                  <a:pt x="595" y="464"/>
                </a:lnTo>
                <a:lnTo>
                  <a:pt x="591" y="461"/>
                </a:lnTo>
                <a:lnTo>
                  <a:pt x="587" y="459"/>
                </a:lnTo>
                <a:lnTo>
                  <a:pt x="584" y="455"/>
                </a:lnTo>
                <a:lnTo>
                  <a:pt x="582" y="452"/>
                </a:lnTo>
                <a:lnTo>
                  <a:pt x="579" y="447"/>
                </a:lnTo>
                <a:lnTo>
                  <a:pt x="575" y="439"/>
                </a:lnTo>
                <a:lnTo>
                  <a:pt x="573" y="429"/>
                </a:lnTo>
                <a:lnTo>
                  <a:pt x="572" y="419"/>
                </a:lnTo>
                <a:lnTo>
                  <a:pt x="572" y="408"/>
                </a:lnTo>
                <a:lnTo>
                  <a:pt x="563" y="407"/>
                </a:lnTo>
                <a:lnTo>
                  <a:pt x="555" y="406"/>
                </a:lnTo>
                <a:lnTo>
                  <a:pt x="548" y="404"/>
                </a:lnTo>
                <a:lnTo>
                  <a:pt x="540" y="401"/>
                </a:lnTo>
                <a:lnTo>
                  <a:pt x="527" y="395"/>
                </a:lnTo>
                <a:lnTo>
                  <a:pt x="518" y="389"/>
                </a:lnTo>
                <a:lnTo>
                  <a:pt x="532" y="385"/>
                </a:lnTo>
                <a:lnTo>
                  <a:pt x="547" y="381"/>
                </a:lnTo>
                <a:lnTo>
                  <a:pt x="559" y="379"/>
                </a:lnTo>
                <a:lnTo>
                  <a:pt x="572" y="377"/>
                </a:lnTo>
                <a:lnTo>
                  <a:pt x="597" y="374"/>
                </a:lnTo>
                <a:lnTo>
                  <a:pt x="625" y="370"/>
                </a:lnTo>
                <a:lnTo>
                  <a:pt x="512" y="370"/>
                </a:lnTo>
                <a:lnTo>
                  <a:pt x="503" y="362"/>
                </a:lnTo>
                <a:lnTo>
                  <a:pt x="493" y="354"/>
                </a:lnTo>
                <a:lnTo>
                  <a:pt x="481" y="348"/>
                </a:lnTo>
                <a:lnTo>
                  <a:pt x="469" y="342"/>
                </a:lnTo>
                <a:lnTo>
                  <a:pt x="445" y="333"/>
                </a:lnTo>
                <a:lnTo>
                  <a:pt x="425" y="327"/>
                </a:lnTo>
                <a:lnTo>
                  <a:pt x="412" y="350"/>
                </a:lnTo>
                <a:lnTo>
                  <a:pt x="398" y="369"/>
                </a:lnTo>
                <a:lnTo>
                  <a:pt x="393" y="378"/>
                </a:lnTo>
                <a:lnTo>
                  <a:pt x="386" y="386"/>
                </a:lnTo>
                <a:lnTo>
                  <a:pt x="380" y="395"/>
                </a:lnTo>
                <a:lnTo>
                  <a:pt x="372" y="402"/>
                </a:lnTo>
                <a:lnTo>
                  <a:pt x="362" y="401"/>
                </a:lnTo>
                <a:lnTo>
                  <a:pt x="353" y="400"/>
                </a:lnTo>
                <a:lnTo>
                  <a:pt x="345" y="399"/>
                </a:lnTo>
                <a:lnTo>
                  <a:pt x="337" y="396"/>
                </a:lnTo>
                <a:lnTo>
                  <a:pt x="328" y="392"/>
                </a:lnTo>
                <a:lnTo>
                  <a:pt x="321" y="388"/>
                </a:lnTo>
                <a:lnTo>
                  <a:pt x="313" y="383"/>
                </a:lnTo>
                <a:lnTo>
                  <a:pt x="306" y="376"/>
                </a:lnTo>
                <a:lnTo>
                  <a:pt x="326" y="35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97" name="Freeform 349"/>
          <p:cNvSpPr>
            <a:spLocks/>
          </p:cNvSpPr>
          <p:nvPr>
            <p:custDataLst>
              <p:tags r:id="rId252"/>
            </p:custDataLst>
          </p:nvPr>
        </p:nvSpPr>
        <p:spPr bwMode="auto">
          <a:xfrm>
            <a:off x="6542089" y="2357438"/>
            <a:ext cx="47625" cy="63500"/>
          </a:xfrm>
          <a:custGeom>
            <a:avLst/>
            <a:gdLst>
              <a:gd name="T0" fmla="*/ 48 w 107"/>
              <a:gd name="T1" fmla="*/ 0 h 123"/>
              <a:gd name="T2" fmla="*/ 81 w 107"/>
              <a:gd name="T3" fmla="*/ 31 h 123"/>
              <a:gd name="T4" fmla="*/ 94 w 107"/>
              <a:gd name="T5" fmla="*/ 67 h 123"/>
              <a:gd name="T6" fmla="*/ 107 w 107"/>
              <a:gd name="T7" fmla="*/ 86 h 123"/>
              <a:gd name="T8" fmla="*/ 107 w 107"/>
              <a:gd name="T9" fmla="*/ 117 h 123"/>
              <a:gd name="T10" fmla="*/ 107 w 107"/>
              <a:gd name="T11" fmla="*/ 123 h 123"/>
              <a:gd name="T12" fmla="*/ 88 w 107"/>
              <a:gd name="T13" fmla="*/ 114 h 123"/>
              <a:gd name="T14" fmla="*/ 73 w 107"/>
              <a:gd name="T15" fmla="*/ 105 h 123"/>
              <a:gd name="T16" fmla="*/ 61 w 107"/>
              <a:gd name="T17" fmla="*/ 98 h 123"/>
              <a:gd name="T18" fmla="*/ 54 w 107"/>
              <a:gd name="T19" fmla="*/ 92 h 123"/>
              <a:gd name="T20" fmla="*/ 51 w 107"/>
              <a:gd name="T21" fmla="*/ 83 h 123"/>
              <a:gd name="T22" fmla="*/ 48 w 107"/>
              <a:gd name="T23" fmla="*/ 73 h 123"/>
              <a:gd name="T24" fmla="*/ 39 w 107"/>
              <a:gd name="T25" fmla="*/ 74 h 123"/>
              <a:gd name="T26" fmla="*/ 32 w 107"/>
              <a:gd name="T27" fmla="*/ 73 h 123"/>
              <a:gd name="T28" fmla="*/ 26 w 107"/>
              <a:gd name="T29" fmla="*/ 72 h 123"/>
              <a:gd name="T30" fmla="*/ 21 w 107"/>
              <a:gd name="T31" fmla="*/ 70 h 123"/>
              <a:gd name="T32" fmla="*/ 17 w 107"/>
              <a:gd name="T33" fmla="*/ 67 h 123"/>
              <a:gd name="T34" fmla="*/ 14 w 107"/>
              <a:gd name="T35" fmla="*/ 63 h 123"/>
              <a:gd name="T36" fmla="*/ 11 w 107"/>
              <a:gd name="T37" fmla="*/ 59 h 123"/>
              <a:gd name="T38" fmla="*/ 9 w 107"/>
              <a:gd name="T39" fmla="*/ 54 h 123"/>
              <a:gd name="T40" fmla="*/ 4 w 107"/>
              <a:gd name="T41" fmla="*/ 31 h 123"/>
              <a:gd name="T42" fmla="*/ 0 w 107"/>
              <a:gd name="T43" fmla="*/ 6 h 123"/>
              <a:gd name="T44" fmla="*/ 34 w 107"/>
              <a:gd name="T45" fmla="*/ 0 h 123"/>
              <a:gd name="T46" fmla="*/ 48 w 107"/>
              <a:gd name="T47" fmla="*/ 0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07" h="123">
                <a:moveTo>
                  <a:pt x="48" y="0"/>
                </a:moveTo>
                <a:lnTo>
                  <a:pt x="81" y="31"/>
                </a:lnTo>
                <a:lnTo>
                  <a:pt x="94" y="67"/>
                </a:lnTo>
                <a:lnTo>
                  <a:pt x="107" y="86"/>
                </a:lnTo>
                <a:lnTo>
                  <a:pt x="107" y="117"/>
                </a:lnTo>
                <a:lnTo>
                  <a:pt x="107" y="123"/>
                </a:lnTo>
                <a:lnTo>
                  <a:pt x="88" y="114"/>
                </a:lnTo>
                <a:lnTo>
                  <a:pt x="73" y="105"/>
                </a:lnTo>
                <a:lnTo>
                  <a:pt x="61" y="98"/>
                </a:lnTo>
                <a:lnTo>
                  <a:pt x="54" y="92"/>
                </a:lnTo>
                <a:lnTo>
                  <a:pt x="51" y="83"/>
                </a:lnTo>
                <a:lnTo>
                  <a:pt x="48" y="73"/>
                </a:lnTo>
                <a:lnTo>
                  <a:pt x="39" y="74"/>
                </a:lnTo>
                <a:lnTo>
                  <a:pt x="32" y="73"/>
                </a:lnTo>
                <a:lnTo>
                  <a:pt x="26" y="72"/>
                </a:lnTo>
                <a:lnTo>
                  <a:pt x="21" y="70"/>
                </a:lnTo>
                <a:lnTo>
                  <a:pt x="17" y="67"/>
                </a:lnTo>
                <a:lnTo>
                  <a:pt x="14" y="63"/>
                </a:lnTo>
                <a:lnTo>
                  <a:pt x="11" y="59"/>
                </a:lnTo>
                <a:lnTo>
                  <a:pt x="9" y="54"/>
                </a:lnTo>
                <a:lnTo>
                  <a:pt x="4" y="31"/>
                </a:lnTo>
                <a:lnTo>
                  <a:pt x="0" y="6"/>
                </a:lnTo>
                <a:lnTo>
                  <a:pt x="34" y="0"/>
                </a:lnTo>
                <a:lnTo>
                  <a:pt x="48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98" name="Freeform 350"/>
          <p:cNvSpPr>
            <a:spLocks/>
          </p:cNvSpPr>
          <p:nvPr>
            <p:custDataLst>
              <p:tags r:id="rId253"/>
            </p:custDataLst>
          </p:nvPr>
        </p:nvSpPr>
        <p:spPr bwMode="auto">
          <a:xfrm>
            <a:off x="7085013" y="2371725"/>
            <a:ext cx="207962" cy="122238"/>
          </a:xfrm>
          <a:custGeom>
            <a:avLst/>
            <a:gdLst>
              <a:gd name="T0" fmla="*/ 106 w 471"/>
              <a:gd name="T1" fmla="*/ 67 h 234"/>
              <a:gd name="T2" fmla="*/ 166 w 471"/>
              <a:gd name="T3" fmla="*/ 86 h 234"/>
              <a:gd name="T4" fmla="*/ 272 w 471"/>
              <a:gd name="T5" fmla="*/ 105 h 234"/>
              <a:gd name="T6" fmla="*/ 372 w 471"/>
              <a:gd name="T7" fmla="*/ 86 h 234"/>
              <a:gd name="T8" fmla="*/ 383 w 471"/>
              <a:gd name="T9" fmla="*/ 95 h 234"/>
              <a:gd name="T10" fmla="*/ 391 w 471"/>
              <a:gd name="T11" fmla="*/ 114 h 234"/>
              <a:gd name="T12" fmla="*/ 406 w 471"/>
              <a:gd name="T13" fmla="*/ 124 h 234"/>
              <a:gd name="T14" fmla="*/ 424 w 471"/>
              <a:gd name="T15" fmla="*/ 129 h 234"/>
              <a:gd name="T16" fmla="*/ 433 w 471"/>
              <a:gd name="T17" fmla="*/ 134 h 234"/>
              <a:gd name="T18" fmla="*/ 441 w 471"/>
              <a:gd name="T19" fmla="*/ 141 h 234"/>
              <a:gd name="T20" fmla="*/ 448 w 471"/>
              <a:gd name="T21" fmla="*/ 151 h 234"/>
              <a:gd name="T22" fmla="*/ 455 w 471"/>
              <a:gd name="T23" fmla="*/ 170 h 234"/>
              <a:gd name="T24" fmla="*/ 471 w 471"/>
              <a:gd name="T25" fmla="*/ 190 h 234"/>
              <a:gd name="T26" fmla="*/ 350 w 471"/>
              <a:gd name="T27" fmla="*/ 202 h 234"/>
              <a:gd name="T28" fmla="*/ 330 w 471"/>
              <a:gd name="T29" fmla="*/ 224 h 234"/>
              <a:gd name="T30" fmla="*/ 317 w 471"/>
              <a:gd name="T31" fmla="*/ 233 h 234"/>
              <a:gd name="T32" fmla="*/ 306 w 471"/>
              <a:gd name="T33" fmla="*/ 233 h 234"/>
              <a:gd name="T34" fmla="*/ 298 w 471"/>
              <a:gd name="T35" fmla="*/ 230 h 234"/>
              <a:gd name="T36" fmla="*/ 292 w 471"/>
              <a:gd name="T37" fmla="*/ 224 h 234"/>
              <a:gd name="T38" fmla="*/ 289 w 471"/>
              <a:gd name="T39" fmla="*/ 216 h 234"/>
              <a:gd name="T40" fmla="*/ 284 w 471"/>
              <a:gd name="T41" fmla="*/ 199 h 234"/>
              <a:gd name="T42" fmla="*/ 278 w 471"/>
              <a:gd name="T43" fmla="*/ 174 h 234"/>
              <a:gd name="T44" fmla="*/ 269 w 471"/>
              <a:gd name="T45" fmla="*/ 155 h 234"/>
              <a:gd name="T46" fmla="*/ 258 w 471"/>
              <a:gd name="T47" fmla="*/ 148 h 234"/>
              <a:gd name="T48" fmla="*/ 246 w 471"/>
              <a:gd name="T49" fmla="*/ 141 h 234"/>
              <a:gd name="T50" fmla="*/ 236 w 471"/>
              <a:gd name="T51" fmla="*/ 133 h 234"/>
              <a:gd name="T52" fmla="*/ 224 w 471"/>
              <a:gd name="T53" fmla="*/ 140 h 234"/>
              <a:gd name="T54" fmla="*/ 207 w 471"/>
              <a:gd name="T55" fmla="*/ 162 h 234"/>
              <a:gd name="T56" fmla="*/ 200 w 471"/>
              <a:gd name="T57" fmla="*/ 177 h 234"/>
              <a:gd name="T58" fmla="*/ 188 w 471"/>
              <a:gd name="T59" fmla="*/ 190 h 234"/>
              <a:gd name="T60" fmla="*/ 167 w 471"/>
              <a:gd name="T61" fmla="*/ 201 h 234"/>
              <a:gd name="T62" fmla="*/ 147 w 471"/>
              <a:gd name="T63" fmla="*/ 213 h 234"/>
              <a:gd name="T64" fmla="*/ 130 w 471"/>
              <a:gd name="T65" fmla="*/ 219 h 234"/>
              <a:gd name="T66" fmla="*/ 114 w 471"/>
              <a:gd name="T67" fmla="*/ 222 h 234"/>
              <a:gd name="T68" fmla="*/ 97 w 471"/>
              <a:gd name="T69" fmla="*/ 221 h 234"/>
              <a:gd name="T70" fmla="*/ 82 w 471"/>
              <a:gd name="T71" fmla="*/ 217 h 234"/>
              <a:gd name="T72" fmla="*/ 63 w 471"/>
              <a:gd name="T73" fmla="*/ 205 h 234"/>
              <a:gd name="T74" fmla="*/ 59 w 471"/>
              <a:gd name="T75" fmla="*/ 197 h 234"/>
              <a:gd name="T76" fmla="*/ 59 w 471"/>
              <a:gd name="T77" fmla="*/ 135 h 234"/>
              <a:gd name="T78" fmla="*/ 0 w 471"/>
              <a:gd name="T79" fmla="*/ 98 h 234"/>
              <a:gd name="T80" fmla="*/ 53 w 471"/>
              <a:gd name="T81" fmla="*/ 80 h 234"/>
              <a:gd name="T82" fmla="*/ 86 w 471"/>
              <a:gd name="T83" fmla="*/ 30 h 234"/>
              <a:gd name="T84" fmla="*/ 133 w 471"/>
              <a:gd name="T85" fmla="*/ 0 h 234"/>
              <a:gd name="T86" fmla="*/ 166 w 471"/>
              <a:gd name="T87" fmla="*/ 42 h 2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471" h="234">
                <a:moveTo>
                  <a:pt x="159" y="30"/>
                </a:moveTo>
                <a:lnTo>
                  <a:pt x="106" y="67"/>
                </a:lnTo>
                <a:lnTo>
                  <a:pt x="126" y="86"/>
                </a:lnTo>
                <a:lnTo>
                  <a:pt x="166" y="86"/>
                </a:lnTo>
                <a:lnTo>
                  <a:pt x="218" y="98"/>
                </a:lnTo>
                <a:lnTo>
                  <a:pt x="272" y="105"/>
                </a:lnTo>
                <a:lnTo>
                  <a:pt x="325" y="92"/>
                </a:lnTo>
                <a:lnTo>
                  <a:pt x="372" y="86"/>
                </a:lnTo>
                <a:lnTo>
                  <a:pt x="379" y="86"/>
                </a:lnTo>
                <a:lnTo>
                  <a:pt x="383" y="95"/>
                </a:lnTo>
                <a:lnTo>
                  <a:pt x="388" y="105"/>
                </a:lnTo>
                <a:lnTo>
                  <a:pt x="391" y="114"/>
                </a:lnTo>
                <a:lnTo>
                  <a:pt x="392" y="123"/>
                </a:lnTo>
                <a:lnTo>
                  <a:pt x="406" y="124"/>
                </a:lnTo>
                <a:lnTo>
                  <a:pt x="418" y="126"/>
                </a:lnTo>
                <a:lnTo>
                  <a:pt x="424" y="129"/>
                </a:lnTo>
                <a:lnTo>
                  <a:pt x="428" y="131"/>
                </a:lnTo>
                <a:lnTo>
                  <a:pt x="433" y="134"/>
                </a:lnTo>
                <a:lnTo>
                  <a:pt x="437" y="137"/>
                </a:lnTo>
                <a:lnTo>
                  <a:pt x="441" y="141"/>
                </a:lnTo>
                <a:lnTo>
                  <a:pt x="445" y="146"/>
                </a:lnTo>
                <a:lnTo>
                  <a:pt x="448" y="151"/>
                </a:lnTo>
                <a:lnTo>
                  <a:pt x="450" y="156"/>
                </a:lnTo>
                <a:lnTo>
                  <a:pt x="455" y="170"/>
                </a:lnTo>
                <a:lnTo>
                  <a:pt x="458" y="184"/>
                </a:lnTo>
                <a:lnTo>
                  <a:pt x="471" y="190"/>
                </a:lnTo>
                <a:lnTo>
                  <a:pt x="359" y="190"/>
                </a:lnTo>
                <a:lnTo>
                  <a:pt x="350" y="202"/>
                </a:lnTo>
                <a:lnTo>
                  <a:pt x="338" y="217"/>
                </a:lnTo>
                <a:lnTo>
                  <a:pt x="330" y="224"/>
                </a:lnTo>
                <a:lnTo>
                  <a:pt x="324" y="229"/>
                </a:lnTo>
                <a:lnTo>
                  <a:pt x="317" y="233"/>
                </a:lnTo>
                <a:lnTo>
                  <a:pt x="312" y="234"/>
                </a:lnTo>
                <a:lnTo>
                  <a:pt x="306" y="233"/>
                </a:lnTo>
                <a:lnTo>
                  <a:pt x="302" y="232"/>
                </a:lnTo>
                <a:lnTo>
                  <a:pt x="298" y="230"/>
                </a:lnTo>
                <a:lnTo>
                  <a:pt x="294" y="228"/>
                </a:lnTo>
                <a:lnTo>
                  <a:pt x="292" y="224"/>
                </a:lnTo>
                <a:lnTo>
                  <a:pt x="290" y="220"/>
                </a:lnTo>
                <a:lnTo>
                  <a:pt x="289" y="216"/>
                </a:lnTo>
                <a:lnTo>
                  <a:pt x="287" y="210"/>
                </a:lnTo>
                <a:lnTo>
                  <a:pt x="284" y="199"/>
                </a:lnTo>
                <a:lnTo>
                  <a:pt x="282" y="187"/>
                </a:lnTo>
                <a:lnTo>
                  <a:pt x="278" y="174"/>
                </a:lnTo>
                <a:lnTo>
                  <a:pt x="272" y="160"/>
                </a:lnTo>
                <a:lnTo>
                  <a:pt x="269" y="155"/>
                </a:lnTo>
                <a:lnTo>
                  <a:pt x="265" y="151"/>
                </a:lnTo>
                <a:lnTo>
                  <a:pt x="258" y="148"/>
                </a:lnTo>
                <a:lnTo>
                  <a:pt x="253" y="144"/>
                </a:lnTo>
                <a:lnTo>
                  <a:pt x="246" y="141"/>
                </a:lnTo>
                <a:lnTo>
                  <a:pt x="240" y="137"/>
                </a:lnTo>
                <a:lnTo>
                  <a:pt x="236" y="133"/>
                </a:lnTo>
                <a:lnTo>
                  <a:pt x="233" y="129"/>
                </a:lnTo>
                <a:lnTo>
                  <a:pt x="224" y="140"/>
                </a:lnTo>
                <a:lnTo>
                  <a:pt x="213" y="154"/>
                </a:lnTo>
                <a:lnTo>
                  <a:pt x="207" y="162"/>
                </a:lnTo>
                <a:lnTo>
                  <a:pt x="203" y="170"/>
                </a:lnTo>
                <a:lnTo>
                  <a:pt x="200" y="177"/>
                </a:lnTo>
                <a:lnTo>
                  <a:pt x="199" y="184"/>
                </a:lnTo>
                <a:lnTo>
                  <a:pt x="188" y="190"/>
                </a:lnTo>
                <a:lnTo>
                  <a:pt x="177" y="195"/>
                </a:lnTo>
                <a:lnTo>
                  <a:pt x="167" y="201"/>
                </a:lnTo>
                <a:lnTo>
                  <a:pt x="157" y="207"/>
                </a:lnTo>
                <a:lnTo>
                  <a:pt x="147" y="213"/>
                </a:lnTo>
                <a:lnTo>
                  <a:pt x="135" y="218"/>
                </a:lnTo>
                <a:lnTo>
                  <a:pt x="130" y="219"/>
                </a:lnTo>
                <a:lnTo>
                  <a:pt x="122" y="221"/>
                </a:lnTo>
                <a:lnTo>
                  <a:pt x="114" y="222"/>
                </a:lnTo>
                <a:lnTo>
                  <a:pt x="106" y="222"/>
                </a:lnTo>
                <a:lnTo>
                  <a:pt x="97" y="221"/>
                </a:lnTo>
                <a:lnTo>
                  <a:pt x="89" y="220"/>
                </a:lnTo>
                <a:lnTo>
                  <a:pt x="82" y="217"/>
                </a:lnTo>
                <a:lnTo>
                  <a:pt x="76" y="213"/>
                </a:lnTo>
                <a:lnTo>
                  <a:pt x="63" y="205"/>
                </a:lnTo>
                <a:lnTo>
                  <a:pt x="46" y="197"/>
                </a:lnTo>
                <a:lnTo>
                  <a:pt x="59" y="197"/>
                </a:lnTo>
                <a:lnTo>
                  <a:pt x="72" y="166"/>
                </a:lnTo>
                <a:lnTo>
                  <a:pt x="59" y="135"/>
                </a:lnTo>
                <a:lnTo>
                  <a:pt x="39" y="117"/>
                </a:lnTo>
                <a:lnTo>
                  <a:pt x="0" y="98"/>
                </a:lnTo>
                <a:lnTo>
                  <a:pt x="13" y="86"/>
                </a:lnTo>
                <a:lnTo>
                  <a:pt x="53" y="80"/>
                </a:lnTo>
                <a:lnTo>
                  <a:pt x="66" y="49"/>
                </a:lnTo>
                <a:lnTo>
                  <a:pt x="86" y="30"/>
                </a:lnTo>
                <a:lnTo>
                  <a:pt x="93" y="6"/>
                </a:lnTo>
                <a:lnTo>
                  <a:pt x="133" y="0"/>
                </a:lnTo>
                <a:lnTo>
                  <a:pt x="153" y="12"/>
                </a:lnTo>
                <a:lnTo>
                  <a:pt x="166" y="42"/>
                </a:lnTo>
                <a:lnTo>
                  <a:pt x="159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99" name="Freeform 351"/>
          <p:cNvSpPr>
            <a:spLocks/>
          </p:cNvSpPr>
          <p:nvPr>
            <p:custDataLst>
              <p:tags r:id="rId254"/>
            </p:custDataLst>
          </p:nvPr>
        </p:nvSpPr>
        <p:spPr bwMode="auto">
          <a:xfrm>
            <a:off x="7134226" y="2300288"/>
            <a:ext cx="225425" cy="125412"/>
          </a:xfrm>
          <a:custGeom>
            <a:avLst/>
            <a:gdLst>
              <a:gd name="T0" fmla="*/ 106 w 525"/>
              <a:gd name="T1" fmla="*/ 185 h 241"/>
              <a:gd name="T2" fmla="*/ 173 w 525"/>
              <a:gd name="T3" fmla="*/ 148 h 241"/>
              <a:gd name="T4" fmla="*/ 93 w 525"/>
              <a:gd name="T5" fmla="*/ 105 h 241"/>
              <a:gd name="T6" fmla="*/ 47 w 525"/>
              <a:gd name="T7" fmla="*/ 117 h 241"/>
              <a:gd name="T8" fmla="*/ 66 w 525"/>
              <a:gd name="T9" fmla="*/ 61 h 241"/>
              <a:gd name="T10" fmla="*/ 40 w 525"/>
              <a:gd name="T11" fmla="*/ 43 h 241"/>
              <a:gd name="T12" fmla="*/ 112 w 525"/>
              <a:gd name="T13" fmla="*/ 25 h 241"/>
              <a:gd name="T14" fmla="*/ 186 w 525"/>
              <a:gd name="T15" fmla="*/ 0 h 241"/>
              <a:gd name="T16" fmla="*/ 312 w 525"/>
              <a:gd name="T17" fmla="*/ 19 h 241"/>
              <a:gd name="T18" fmla="*/ 439 w 525"/>
              <a:gd name="T19" fmla="*/ 25 h 241"/>
              <a:gd name="T20" fmla="*/ 525 w 525"/>
              <a:gd name="T21" fmla="*/ 55 h 241"/>
              <a:gd name="T22" fmla="*/ 519 w 525"/>
              <a:gd name="T23" fmla="*/ 69 h 241"/>
              <a:gd name="T24" fmla="*/ 510 w 525"/>
              <a:gd name="T25" fmla="*/ 82 h 241"/>
              <a:gd name="T26" fmla="*/ 499 w 525"/>
              <a:gd name="T27" fmla="*/ 92 h 241"/>
              <a:gd name="T28" fmla="*/ 485 w 525"/>
              <a:gd name="T29" fmla="*/ 99 h 241"/>
              <a:gd name="T30" fmla="*/ 442 w 525"/>
              <a:gd name="T31" fmla="*/ 103 h 241"/>
              <a:gd name="T32" fmla="*/ 418 w 525"/>
              <a:gd name="T33" fmla="*/ 107 h 241"/>
              <a:gd name="T34" fmla="*/ 407 w 525"/>
              <a:gd name="T35" fmla="*/ 111 h 241"/>
              <a:gd name="T36" fmla="*/ 399 w 525"/>
              <a:gd name="T37" fmla="*/ 117 h 241"/>
              <a:gd name="T38" fmla="*/ 387 w 525"/>
              <a:gd name="T39" fmla="*/ 136 h 241"/>
              <a:gd name="T40" fmla="*/ 378 w 525"/>
              <a:gd name="T41" fmla="*/ 147 h 241"/>
              <a:gd name="T42" fmla="*/ 365 w 525"/>
              <a:gd name="T43" fmla="*/ 154 h 241"/>
              <a:gd name="T44" fmla="*/ 305 w 525"/>
              <a:gd name="T45" fmla="*/ 166 h 241"/>
              <a:gd name="T46" fmla="*/ 273 w 525"/>
              <a:gd name="T47" fmla="*/ 173 h 241"/>
              <a:gd name="T48" fmla="*/ 260 w 525"/>
              <a:gd name="T49" fmla="*/ 178 h 241"/>
              <a:gd name="T50" fmla="*/ 261 w 525"/>
              <a:gd name="T51" fmla="*/ 192 h 241"/>
              <a:gd name="T52" fmla="*/ 263 w 525"/>
              <a:gd name="T53" fmla="*/ 203 h 241"/>
              <a:gd name="T54" fmla="*/ 273 w 525"/>
              <a:gd name="T55" fmla="*/ 222 h 241"/>
              <a:gd name="T56" fmla="*/ 219 w 525"/>
              <a:gd name="T57" fmla="*/ 228 h 241"/>
              <a:gd name="T58" fmla="*/ 112 w 525"/>
              <a:gd name="T59" fmla="*/ 234 h 241"/>
              <a:gd name="T60" fmla="*/ 20 w 525"/>
              <a:gd name="T61" fmla="*/ 222 h 241"/>
              <a:gd name="T62" fmla="*/ 53 w 525"/>
              <a:gd name="T63" fmla="*/ 166 h 2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25" h="241">
                <a:moveTo>
                  <a:pt x="60" y="178"/>
                </a:moveTo>
                <a:lnTo>
                  <a:pt x="106" y="185"/>
                </a:lnTo>
                <a:lnTo>
                  <a:pt x="140" y="178"/>
                </a:lnTo>
                <a:lnTo>
                  <a:pt x="173" y="148"/>
                </a:lnTo>
                <a:lnTo>
                  <a:pt x="133" y="123"/>
                </a:lnTo>
                <a:lnTo>
                  <a:pt x="93" y="105"/>
                </a:lnTo>
                <a:lnTo>
                  <a:pt x="73" y="123"/>
                </a:lnTo>
                <a:lnTo>
                  <a:pt x="47" y="117"/>
                </a:lnTo>
                <a:lnTo>
                  <a:pt x="33" y="93"/>
                </a:lnTo>
                <a:lnTo>
                  <a:pt x="66" y="61"/>
                </a:lnTo>
                <a:lnTo>
                  <a:pt x="40" y="55"/>
                </a:lnTo>
                <a:lnTo>
                  <a:pt x="40" y="43"/>
                </a:lnTo>
                <a:lnTo>
                  <a:pt x="66" y="19"/>
                </a:lnTo>
                <a:lnTo>
                  <a:pt x="112" y="25"/>
                </a:lnTo>
                <a:lnTo>
                  <a:pt x="173" y="49"/>
                </a:lnTo>
                <a:lnTo>
                  <a:pt x="186" y="0"/>
                </a:lnTo>
                <a:lnTo>
                  <a:pt x="232" y="12"/>
                </a:lnTo>
                <a:lnTo>
                  <a:pt x="312" y="19"/>
                </a:lnTo>
                <a:lnTo>
                  <a:pt x="372" y="25"/>
                </a:lnTo>
                <a:lnTo>
                  <a:pt x="439" y="25"/>
                </a:lnTo>
                <a:lnTo>
                  <a:pt x="519" y="49"/>
                </a:lnTo>
                <a:lnTo>
                  <a:pt x="525" y="55"/>
                </a:lnTo>
                <a:lnTo>
                  <a:pt x="522" y="62"/>
                </a:lnTo>
                <a:lnTo>
                  <a:pt x="519" y="69"/>
                </a:lnTo>
                <a:lnTo>
                  <a:pt x="514" y="76"/>
                </a:lnTo>
                <a:lnTo>
                  <a:pt x="510" y="82"/>
                </a:lnTo>
                <a:lnTo>
                  <a:pt x="504" y="87"/>
                </a:lnTo>
                <a:lnTo>
                  <a:pt x="499" y="92"/>
                </a:lnTo>
                <a:lnTo>
                  <a:pt x="492" y="96"/>
                </a:lnTo>
                <a:lnTo>
                  <a:pt x="485" y="99"/>
                </a:lnTo>
                <a:lnTo>
                  <a:pt x="466" y="101"/>
                </a:lnTo>
                <a:lnTo>
                  <a:pt x="442" y="103"/>
                </a:lnTo>
                <a:lnTo>
                  <a:pt x="430" y="105"/>
                </a:lnTo>
                <a:lnTo>
                  <a:pt x="418" y="107"/>
                </a:lnTo>
                <a:lnTo>
                  <a:pt x="412" y="109"/>
                </a:lnTo>
                <a:lnTo>
                  <a:pt x="407" y="111"/>
                </a:lnTo>
                <a:lnTo>
                  <a:pt x="402" y="114"/>
                </a:lnTo>
                <a:lnTo>
                  <a:pt x="399" y="117"/>
                </a:lnTo>
                <a:lnTo>
                  <a:pt x="394" y="124"/>
                </a:lnTo>
                <a:lnTo>
                  <a:pt x="387" y="136"/>
                </a:lnTo>
                <a:lnTo>
                  <a:pt x="383" y="142"/>
                </a:lnTo>
                <a:lnTo>
                  <a:pt x="378" y="147"/>
                </a:lnTo>
                <a:lnTo>
                  <a:pt x="373" y="151"/>
                </a:lnTo>
                <a:lnTo>
                  <a:pt x="365" y="154"/>
                </a:lnTo>
                <a:lnTo>
                  <a:pt x="341" y="160"/>
                </a:lnTo>
                <a:lnTo>
                  <a:pt x="305" y="166"/>
                </a:lnTo>
                <a:lnTo>
                  <a:pt x="287" y="170"/>
                </a:lnTo>
                <a:lnTo>
                  <a:pt x="273" y="173"/>
                </a:lnTo>
                <a:lnTo>
                  <a:pt x="263" y="176"/>
                </a:lnTo>
                <a:lnTo>
                  <a:pt x="260" y="178"/>
                </a:lnTo>
                <a:lnTo>
                  <a:pt x="260" y="186"/>
                </a:lnTo>
                <a:lnTo>
                  <a:pt x="261" y="192"/>
                </a:lnTo>
                <a:lnTo>
                  <a:pt x="262" y="197"/>
                </a:lnTo>
                <a:lnTo>
                  <a:pt x="263" y="203"/>
                </a:lnTo>
                <a:lnTo>
                  <a:pt x="267" y="212"/>
                </a:lnTo>
                <a:lnTo>
                  <a:pt x="273" y="222"/>
                </a:lnTo>
                <a:lnTo>
                  <a:pt x="266" y="222"/>
                </a:lnTo>
                <a:lnTo>
                  <a:pt x="219" y="228"/>
                </a:lnTo>
                <a:lnTo>
                  <a:pt x="166" y="241"/>
                </a:lnTo>
                <a:lnTo>
                  <a:pt x="112" y="234"/>
                </a:lnTo>
                <a:lnTo>
                  <a:pt x="60" y="222"/>
                </a:lnTo>
                <a:lnTo>
                  <a:pt x="20" y="222"/>
                </a:lnTo>
                <a:lnTo>
                  <a:pt x="0" y="203"/>
                </a:lnTo>
                <a:lnTo>
                  <a:pt x="53" y="166"/>
                </a:lnTo>
                <a:lnTo>
                  <a:pt x="60" y="17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400" name="Freeform 352"/>
          <p:cNvSpPr>
            <a:spLocks/>
          </p:cNvSpPr>
          <p:nvPr>
            <p:custDataLst>
              <p:tags r:id="rId255"/>
            </p:custDataLst>
          </p:nvPr>
        </p:nvSpPr>
        <p:spPr bwMode="auto">
          <a:xfrm>
            <a:off x="6740525" y="2316163"/>
            <a:ext cx="342900" cy="227012"/>
          </a:xfrm>
          <a:custGeom>
            <a:avLst/>
            <a:gdLst>
              <a:gd name="T0" fmla="*/ 768 w 784"/>
              <a:gd name="T1" fmla="*/ 292 h 430"/>
              <a:gd name="T2" fmla="*/ 751 w 784"/>
              <a:gd name="T3" fmla="*/ 293 h 430"/>
              <a:gd name="T4" fmla="*/ 731 w 784"/>
              <a:gd name="T5" fmla="*/ 302 h 430"/>
              <a:gd name="T6" fmla="*/ 723 w 784"/>
              <a:gd name="T7" fmla="*/ 308 h 430"/>
              <a:gd name="T8" fmla="*/ 717 w 784"/>
              <a:gd name="T9" fmla="*/ 332 h 430"/>
              <a:gd name="T10" fmla="*/ 713 w 784"/>
              <a:gd name="T11" fmla="*/ 360 h 430"/>
              <a:gd name="T12" fmla="*/ 704 w 784"/>
              <a:gd name="T13" fmla="*/ 376 h 430"/>
              <a:gd name="T14" fmla="*/ 671 w 784"/>
              <a:gd name="T15" fmla="*/ 402 h 430"/>
              <a:gd name="T16" fmla="*/ 633 w 784"/>
              <a:gd name="T17" fmla="*/ 420 h 430"/>
              <a:gd name="T18" fmla="*/ 612 w 784"/>
              <a:gd name="T19" fmla="*/ 424 h 430"/>
              <a:gd name="T20" fmla="*/ 587 w 784"/>
              <a:gd name="T21" fmla="*/ 429 h 430"/>
              <a:gd name="T22" fmla="*/ 567 w 784"/>
              <a:gd name="T23" fmla="*/ 428 h 430"/>
              <a:gd name="T24" fmla="*/ 545 w 784"/>
              <a:gd name="T25" fmla="*/ 388 h 430"/>
              <a:gd name="T26" fmla="*/ 515 w 784"/>
              <a:gd name="T27" fmla="*/ 344 h 430"/>
              <a:gd name="T28" fmla="*/ 478 w 784"/>
              <a:gd name="T29" fmla="*/ 334 h 430"/>
              <a:gd name="T30" fmla="*/ 448 w 784"/>
              <a:gd name="T31" fmla="*/ 315 h 430"/>
              <a:gd name="T32" fmla="*/ 417 w 784"/>
              <a:gd name="T33" fmla="*/ 294 h 430"/>
              <a:gd name="T34" fmla="*/ 373 w 784"/>
              <a:gd name="T35" fmla="*/ 274 h 430"/>
              <a:gd name="T36" fmla="*/ 306 w 784"/>
              <a:gd name="T37" fmla="*/ 258 h 430"/>
              <a:gd name="T38" fmla="*/ 182 w 784"/>
              <a:gd name="T39" fmla="*/ 283 h 430"/>
              <a:gd name="T40" fmla="*/ 151 w 784"/>
              <a:gd name="T41" fmla="*/ 306 h 430"/>
              <a:gd name="T42" fmla="*/ 127 w 784"/>
              <a:gd name="T43" fmla="*/ 308 h 430"/>
              <a:gd name="T44" fmla="*/ 66 w 784"/>
              <a:gd name="T45" fmla="*/ 252 h 430"/>
              <a:gd name="T46" fmla="*/ 66 w 784"/>
              <a:gd name="T47" fmla="*/ 204 h 430"/>
              <a:gd name="T48" fmla="*/ 40 w 784"/>
              <a:gd name="T49" fmla="*/ 179 h 430"/>
              <a:gd name="T50" fmla="*/ 42 w 784"/>
              <a:gd name="T51" fmla="*/ 199 h 430"/>
              <a:gd name="T52" fmla="*/ 36 w 784"/>
              <a:gd name="T53" fmla="*/ 218 h 430"/>
              <a:gd name="T54" fmla="*/ 30 w 784"/>
              <a:gd name="T55" fmla="*/ 221 h 430"/>
              <a:gd name="T56" fmla="*/ 31 w 784"/>
              <a:gd name="T57" fmla="*/ 203 h 430"/>
              <a:gd name="T58" fmla="*/ 27 w 784"/>
              <a:gd name="T59" fmla="*/ 174 h 430"/>
              <a:gd name="T60" fmla="*/ 33 w 784"/>
              <a:gd name="T61" fmla="*/ 163 h 430"/>
              <a:gd name="T62" fmla="*/ 40 w 784"/>
              <a:gd name="T63" fmla="*/ 152 h 430"/>
              <a:gd name="T64" fmla="*/ 27 w 784"/>
              <a:gd name="T65" fmla="*/ 129 h 430"/>
              <a:gd name="T66" fmla="*/ 7 w 784"/>
              <a:gd name="T67" fmla="*/ 126 h 430"/>
              <a:gd name="T68" fmla="*/ 0 w 784"/>
              <a:gd name="T69" fmla="*/ 117 h 430"/>
              <a:gd name="T70" fmla="*/ 3 w 784"/>
              <a:gd name="T71" fmla="*/ 104 h 430"/>
              <a:gd name="T72" fmla="*/ 11 w 784"/>
              <a:gd name="T73" fmla="*/ 94 h 430"/>
              <a:gd name="T74" fmla="*/ 27 w 784"/>
              <a:gd name="T75" fmla="*/ 92 h 430"/>
              <a:gd name="T76" fmla="*/ 41 w 784"/>
              <a:gd name="T77" fmla="*/ 99 h 430"/>
              <a:gd name="T78" fmla="*/ 57 w 784"/>
              <a:gd name="T79" fmla="*/ 104 h 430"/>
              <a:gd name="T80" fmla="*/ 71 w 784"/>
              <a:gd name="T81" fmla="*/ 92 h 430"/>
              <a:gd name="T82" fmla="*/ 83 w 784"/>
              <a:gd name="T83" fmla="*/ 77 h 430"/>
              <a:gd name="T84" fmla="*/ 87 w 784"/>
              <a:gd name="T85" fmla="*/ 64 h 430"/>
              <a:gd name="T86" fmla="*/ 78 w 784"/>
              <a:gd name="T87" fmla="*/ 55 h 430"/>
              <a:gd name="T88" fmla="*/ 55 w 784"/>
              <a:gd name="T89" fmla="*/ 49 h 430"/>
              <a:gd name="T90" fmla="*/ 47 w 784"/>
              <a:gd name="T91" fmla="*/ 40 h 430"/>
              <a:gd name="T92" fmla="*/ 41 w 784"/>
              <a:gd name="T93" fmla="*/ 28 h 430"/>
              <a:gd name="T94" fmla="*/ 107 w 784"/>
              <a:gd name="T95" fmla="*/ 43 h 430"/>
              <a:gd name="T96" fmla="*/ 219 w 784"/>
              <a:gd name="T97" fmla="*/ 74 h 430"/>
              <a:gd name="T98" fmla="*/ 273 w 784"/>
              <a:gd name="T99" fmla="*/ 0 h 430"/>
              <a:gd name="T100" fmla="*/ 373 w 784"/>
              <a:gd name="T101" fmla="*/ 43 h 430"/>
              <a:gd name="T102" fmla="*/ 465 w 784"/>
              <a:gd name="T103" fmla="*/ 92 h 430"/>
              <a:gd name="T104" fmla="*/ 591 w 784"/>
              <a:gd name="T105" fmla="*/ 210 h 430"/>
              <a:gd name="T106" fmla="*/ 724 w 784"/>
              <a:gd name="T107" fmla="*/ 265 h 430"/>
              <a:gd name="T108" fmla="*/ 778 w 784"/>
              <a:gd name="T109" fmla="*/ 295 h 4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784" h="430">
                <a:moveTo>
                  <a:pt x="778" y="295"/>
                </a:moveTo>
                <a:lnTo>
                  <a:pt x="772" y="294"/>
                </a:lnTo>
                <a:lnTo>
                  <a:pt x="768" y="292"/>
                </a:lnTo>
                <a:lnTo>
                  <a:pt x="762" y="292"/>
                </a:lnTo>
                <a:lnTo>
                  <a:pt x="757" y="292"/>
                </a:lnTo>
                <a:lnTo>
                  <a:pt x="751" y="293"/>
                </a:lnTo>
                <a:lnTo>
                  <a:pt x="745" y="295"/>
                </a:lnTo>
                <a:lnTo>
                  <a:pt x="738" y="298"/>
                </a:lnTo>
                <a:lnTo>
                  <a:pt x="731" y="302"/>
                </a:lnTo>
                <a:lnTo>
                  <a:pt x="727" y="303"/>
                </a:lnTo>
                <a:lnTo>
                  <a:pt x="725" y="305"/>
                </a:lnTo>
                <a:lnTo>
                  <a:pt x="723" y="308"/>
                </a:lnTo>
                <a:lnTo>
                  <a:pt x="721" y="312"/>
                </a:lnTo>
                <a:lnTo>
                  <a:pt x="718" y="322"/>
                </a:lnTo>
                <a:lnTo>
                  <a:pt x="717" y="332"/>
                </a:lnTo>
                <a:lnTo>
                  <a:pt x="716" y="343"/>
                </a:lnTo>
                <a:lnTo>
                  <a:pt x="714" y="354"/>
                </a:lnTo>
                <a:lnTo>
                  <a:pt x="713" y="360"/>
                </a:lnTo>
                <a:lnTo>
                  <a:pt x="711" y="365"/>
                </a:lnTo>
                <a:lnTo>
                  <a:pt x="708" y="370"/>
                </a:lnTo>
                <a:lnTo>
                  <a:pt x="704" y="376"/>
                </a:lnTo>
                <a:lnTo>
                  <a:pt x="694" y="385"/>
                </a:lnTo>
                <a:lnTo>
                  <a:pt x="683" y="394"/>
                </a:lnTo>
                <a:lnTo>
                  <a:pt x="671" y="402"/>
                </a:lnTo>
                <a:lnTo>
                  <a:pt x="659" y="409"/>
                </a:lnTo>
                <a:lnTo>
                  <a:pt x="647" y="416"/>
                </a:lnTo>
                <a:lnTo>
                  <a:pt x="633" y="420"/>
                </a:lnTo>
                <a:lnTo>
                  <a:pt x="626" y="422"/>
                </a:lnTo>
                <a:lnTo>
                  <a:pt x="620" y="424"/>
                </a:lnTo>
                <a:lnTo>
                  <a:pt x="612" y="424"/>
                </a:lnTo>
                <a:lnTo>
                  <a:pt x="604" y="425"/>
                </a:lnTo>
                <a:lnTo>
                  <a:pt x="596" y="426"/>
                </a:lnTo>
                <a:lnTo>
                  <a:pt x="587" y="429"/>
                </a:lnTo>
                <a:lnTo>
                  <a:pt x="581" y="430"/>
                </a:lnTo>
                <a:lnTo>
                  <a:pt x="575" y="430"/>
                </a:lnTo>
                <a:lnTo>
                  <a:pt x="567" y="428"/>
                </a:lnTo>
                <a:lnTo>
                  <a:pt x="558" y="425"/>
                </a:lnTo>
                <a:lnTo>
                  <a:pt x="553" y="406"/>
                </a:lnTo>
                <a:lnTo>
                  <a:pt x="545" y="388"/>
                </a:lnTo>
                <a:lnTo>
                  <a:pt x="537" y="367"/>
                </a:lnTo>
                <a:lnTo>
                  <a:pt x="532" y="345"/>
                </a:lnTo>
                <a:lnTo>
                  <a:pt x="515" y="344"/>
                </a:lnTo>
                <a:lnTo>
                  <a:pt x="501" y="342"/>
                </a:lnTo>
                <a:lnTo>
                  <a:pt x="489" y="339"/>
                </a:lnTo>
                <a:lnTo>
                  <a:pt x="478" y="334"/>
                </a:lnTo>
                <a:lnTo>
                  <a:pt x="467" y="329"/>
                </a:lnTo>
                <a:lnTo>
                  <a:pt x="458" y="323"/>
                </a:lnTo>
                <a:lnTo>
                  <a:pt x="448" y="315"/>
                </a:lnTo>
                <a:lnTo>
                  <a:pt x="439" y="308"/>
                </a:lnTo>
                <a:lnTo>
                  <a:pt x="429" y="301"/>
                </a:lnTo>
                <a:lnTo>
                  <a:pt x="417" y="294"/>
                </a:lnTo>
                <a:lnTo>
                  <a:pt x="404" y="287"/>
                </a:lnTo>
                <a:lnTo>
                  <a:pt x="389" y="280"/>
                </a:lnTo>
                <a:lnTo>
                  <a:pt x="373" y="274"/>
                </a:lnTo>
                <a:lnTo>
                  <a:pt x="354" y="268"/>
                </a:lnTo>
                <a:lnTo>
                  <a:pt x="331" y="262"/>
                </a:lnTo>
                <a:lnTo>
                  <a:pt x="306" y="258"/>
                </a:lnTo>
                <a:lnTo>
                  <a:pt x="212" y="258"/>
                </a:lnTo>
                <a:lnTo>
                  <a:pt x="204" y="267"/>
                </a:lnTo>
                <a:lnTo>
                  <a:pt x="182" y="283"/>
                </a:lnTo>
                <a:lnTo>
                  <a:pt x="171" y="292"/>
                </a:lnTo>
                <a:lnTo>
                  <a:pt x="160" y="300"/>
                </a:lnTo>
                <a:lnTo>
                  <a:pt x="151" y="306"/>
                </a:lnTo>
                <a:lnTo>
                  <a:pt x="146" y="308"/>
                </a:lnTo>
                <a:lnTo>
                  <a:pt x="137" y="308"/>
                </a:lnTo>
                <a:lnTo>
                  <a:pt x="127" y="308"/>
                </a:lnTo>
                <a:lnTo>
                  <a:pt x="119" y="308"/>
                </a:lnTo>
                <a:lnTo>
                  <a:pt x="113" y="308"/>
                </a:lnTo>
                <a:lnTo>
                  <a:pt x="66" y="252"/>
                </a:lnTo>
                <a:lnTo>
                  <a:pt x="66" y="237"/>
                </a:lnTo>
                <a:lnTo>
                  <a:pt x="66" y="223"/>
                </a:lnTo>
                <a:lnTo>
                  <a:pt x="66" y="204"/>
                </a:lnTo>
                <a:lnTo>
                  <a:pt x="66" y="179"/>
                </a:lnTo>
                <a:lnTo>
                  <a:pt x="53" y="179"/>
                </a:lnTo>
                <a:lnTo>
                  <a:pt x="40" y="179"/>
                </a:lnTo>
                <a:lnTo>
                  <a:pt x="42" y="185"/>
                </a:lnTo>
                <a:lnTo>
                  <a:pt x="42" y="192"/>
                </a:lnTo>
                <a:lnTo>
                  <a:pt x="42" y="199"/>
                </a:lnTo>
                <a:lnTo>
                  <a:pt x="41" y="205"/>
                </a:lnTo>
                <a:lnTo>
                  <a:pt x="39" y="212"/>
                </a:lnTo>
                <a:lnTo>
                  <a:pt x="36" y="218"/>
                </a:lnTo>
                <a:lnTo>
                  <a:pt x="31" y="223"/>
                </a:lnTo>
                <a:lnTo>
                  <a:pt x="27" y="228"/>
                </a:lnTo>
                <a:lnTo>
                  <a:pt x="30" y="221"/>
                </a:lnTo>
                <a:lnTo>
                  <a:pt x="32" y="215"/>
                </a:lnTo>
                <a:lnTo>
                  <a:pt x="32" y="208"/>
                </a:lnTo>
                <a:lnTo>
                  <a:pt x="31" y="203"/>
                </a:lnTo>
                <a:lnTo>
                  <a:pt x="29" y="191"/>
                </a:lnTo>
                <a:lnTo>
                  <a:pt x="27" y="179"/>
                </a:lnTo>
                <a:lnTo>
                  <a:pt x="27" y="174"/>
                </a:lnTo>
                <a:lnTo>
                  <a:pt x="29" y="170"/>
                </a:lnTo>
                <a:lnTo>
                  <a:pt x="31" y="167"/>
                </a:lnTo>
                <a:lnTo>
                  <a:pt x="33" y="163"/>
                </a:lnTo>
                <a:lnTo>
                  <a:pt x="36" y="160"/>
                </a:lnTo>
                <a:lnTo>
                  <a:pt x="38" y="156"/>
                </a:lnTo>
                <a:lnTo>
                  <a:pt x="40" y="152"/>
                </a:lnTo>
                <a:lnTo>
                  <a:pt x="40" y="147"/>
                </a:lnTo>
                <a:lnTo>
                  <a:pt x="31" y="136"/>
                </a:lnTo>
                <a:lnTo>
                  <a:pt x="27" y="129"/>
                </a:lnTo>
                <a:lnTo>
                  <a:pt x="20" y="129"/>
                </a:lnTo>
                <a:lnTo>
                  <a:pt x="11" y="128"/>
                </a:lnTo>
                <a:lnTo>
                  <a:pt x="7" y="126"/>
                </a:lnTo>
                <a:lnTo>
                  <a:pt x="4" y="124"/>
                </a:lnTo>
                <a:lnTo>
                  <a:pt x="1" y="121"/>
                </a:lnTo>
                <a:lnTo>
                  <a:pt x="0" y="117"/>
                </a:lnTo>
                <a:lnTo>
                  <a:pt x="0" y="113"/>
                </a:lnTo>
                <a:lnTo>
                  <a:pt x="1" y="108"/>
                </a:lnTo>
                <a:lnTo>
                  <a:pt x="3" y="104"/>
                </a:lnTo>
                <a:lnTo>
                  <a:pt x="5" y="100"/>
                </a:lnTo>
                <a:lnTo>
                  <a:pt x="8" y="96"/>
                </a:lnTo>
                <a:lnTo>
                  <a:pt x="11" y="94"/>
                </a:lnTo>
                <a:lnTo>
                  <a:pt x="16" y="92"/>
                </a:lnTo>
                <a:lnTo>
                  <a:pt x="20" y="92"/>
                </a:lnTo>
                <a:lnTo>
                  <a:pt x="27" y="92"/>
                </a:lnTo>
                <a:lnTo>
                  <a:pt x="32" y="94"/>
                </a:lnTo>
                <a:lnTo>
                  <a:pt x="37" y="96"/>
                </a:lnTo>
                <a:lnTo>
                  <a:pt x="41" y="99"/>
                </a:lnTo>
                <a:lnTo>
                  <a:pt x="45" y="101"/>
                </a:lnTo>
                <a:lnTo>
                  <a:pt x="51" y="103"/>
                </a:lnTo>
                <a:lnTo>
                  <a:pt x="57" y="104"/>
                </a:lnTo>
                <a:lnTo>
                  <a:pt x="66" y="105"/>
                </a:lnTo>
                <a:lnTo>
                  <a:pt x="67" y="99"/>
                </a:lnTo>
                <a:lnTo>
                  <a:pt x="71" y="92"/>
                </a:lnTo>
                <a:lnTo>
                  <a:pt x="75" y="87"/>
                </a:lnTo>
                <a:lnTo>
                  <a:pt x="79" y="82"/>
                </a:lnTo>
                <a:lnTo>
                  <a:pt x="83" y="77"/>
                </a:lnTo>
                <a:lnTo>
                  <a:pt x="86" y="71"/>
                </a:lnTo>
                <a:lnTo>
                  <a:pt x="87" y="67"/>
                </a:lnTo>
                <a:lnTo>
                  <a:pt x="87" y="64"/>
                </a:lnTo>
                <a:lnTo>
                  <a:pt x="87" y="60"/>
                </a:lnTo>
                <a:lnTo>
                  <a:pt x="86" y="56"/>
                </a:lnTo>
                <a:lnTo>
                  <a:pt x="78" y="55"/>
                </a:lnTo>
                <a:lnTo>
                  <a:pt x="71" y="54"/>
                </a:lnTo>
                <a:lnTo>
                  <a:pt x="63" y="52"/>
                </a:lnTo>
                <a:lnTo>
                  <a:pt x="55" y="49"/>
                </a:lnTo>
                <a:lnTo>
                  <a:pt x="52" y="47"/>
                </a:lnTo>
                <a:lnTo>
                  <a:pt x="50" y="44"/>
                </a:lnTo>
                <a:lnTo>
                  <a:pt x="47" y="40"/>
                </a:lnTo>
                <a:lnTo>
                  <a:pt x="44" y="37"/>
                </a:lnTo>
                <a:lnTo>
                  <a:pt x="42" y="33"/>
                </a:lnTo>
                <a:lnTo>
                  <a:pt x="41" y="28"/>
                </a:lnTo>
                <a:lnTo>
                  <a:pt x="40" y="24"/>
                </a:lnTo>
                <a:lnTo>
                  <a:pt x="40" y="18"/>
                </a:lnTo>
                <a:lnTo>
                  <a:pt x="107" y="43"/>
                </a:lnTo>
                <a:lnTo>
                  <a:pt x="133" y="80"/>
                </a:lnTo>
                <a:lnTo>
                  <a:pt x="179" y="86"/>
                </a:lnTo>
                <a:lnTo>
                  <a:pt x="219" y="74"/>
                </a:lnTo>
                <a:lnTo>
                  <a:pt x="212" y="43"/>
                </a:lnTo>
                <a:lnTo>
                  <a:pt x="253" y="24"/>
                </a:lnTo>
                <a:lnTo>
                  <a:pt x="273" y="0"/>
                </a:lnTo>
                <a:lnTo>
                  <a:pt x="306" y="6"/>
                </a:lnTo>
                <a:lnTo>
                  <a:pt x="339" y="24"/>
                </a:lnTo>
                <a:lnTo>
                  <a:pt x="373" y="43"/>
                </a:lnTo>
                <a:lnTo>
                  <a:pt x="386" y="80"/>
                </a:lnTo>
                <a:lnTo>
                  <a:pt x="425" y="92"/>
                </a:lnTo>
                <a:lnTo>
                  <a:pt x="465" y="92"/>
                </a:lnTo>
                <a:lnTo>
                  <a:pt x="512" y="141"/>
                </a:lnTo>
                <a:lnTo>
                  <a:pt x="545" y="179"/>
                </a:lnTo>
                <a:lnTo>
                  <a:pt x="591" y="210"/>
                </a:lnTo>
                <a:lnTo>
                  <a:pt x="632" y="222"/>
                </a:lnTo>
                <a:lnTo>
                  <a:pt x="678" y="252"/>
                </a:lnTo>
                <a:lnTo>
                  <a:pt x="724" y="265"/>
                </a:lnTo>
                <a:lnTo>
                  <a:pt x="758" y="277"/>
                </a:lnTo>
                <a:lnTo>
                  <a:pt x="784" y="289"/>
                </a:lnTo>
                <a:lnTo>
                  <a:pt x="778" y="29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401" name="Freeform 353"/>
          <p:cNvSpPr>
            <a:spLocks/>
          </p:cNvSpPr>
          <p:nvPr>
            <p:custDataLst>
              <p:tags r:id="rId256"/>
            </p:custDataLst>
          </p:nvPr>
        </p:nvSpPr>
        <p:spPr bwMode="auto">
          <a:xfrm>
            <a:off x="5949950" y="2203451"/>
            <a:ext cx="107950" cy="149225"/>
          </a:xfrm>
          <a:custGeom>
            <a:avLst/>
            <a:gdLst>
              <a:gd name="T0" fmla="*/ 30 w 246"/>
              <a:gd name="T1" fmla="*/ 27 h 284"/>
              <a:gd name="T2" fmla="*/ 28 w 246"/>
              <a:gd name="T3" fmla="*/ 24 h 284"/>
              <a:gd name="T4" fmla="*/ 24 w 246"/>
              <a:gd name="T5" fmla="*/ 17 h 284"/>
              <a:gd name="T6" fmla="*/ 35 w 246"/>
              <a:gd name="T7" fmla="*/ 5 h 284"/>
              <a:gd name="T8" fmla="*/ 67 w 246"/>
              <a:gd name="T9" fmla="*/ 1 h 284"/>
              <a:gd name="T10" fmla="*/ 126 w 246"/>
              <a:gd name="T11" fmla="*/ 12 h 284"/>
              <a:gd name="T12" fmla="*/ 131 w 246"/>
              <a:gd name="T13" fmla="*/ 30 h 284"/>
              <a:gd name="T14" fmla="*/ 139 w 246"/>
              <a:gd name="T15" fmla="*/ 46 h 284"/>
              <a:gd name="T16" fmla="*/ 151 w 246"/>
              <a:gd name="T17" fmla="*/ 57 h 284"/>
              <a:gd name="T18" fmla="*/ 165 w 246"/>
              <a:gd name="T19" fmla="*/ 67 h 284"/>
              <a:gd name="T20" fmla="*/ 191 w 246"/>
              <a:gd name="T21" fmla="*/ 87 h 284"/>
              <a:gd name="T22" fmla="*/ 203 w 246"/>
              <a:gd name="T23" fmla="*/ 101 h 284"/>
              <a:gd name="T24" fmla="*/ 212 w 246"/>
              <a:gd name="T25" fmla="*/ 117 h 284"/>
              <a:gd name="T26" fmla="*/ 226 w 246"/>
              <a:gd name="T27" fmla="*/ 117 h 284"/>
              <a:gd name="T28" fmla="*/ 221 w 246"/>
              <a:gd name="T29" fmla="*/ 124 h 284"/>
              <a:gd name="T30" fmla="*/ 221 w 246"/>
              <a:gd name="T31" fmla="*/ 129 h 284"/>
              <a:gd name="T32" fmla="*/ 228 w 246"/>
              <a:gd name="T33" fmla="*/ 140 h 284"/>
              <a:gd name="T34" fmla="*/ 239 w 246"/>
              <a:gd name="T35" fmla="*/ 154 h 284"/>
              <a:gd name="T36" fmla="*/ 244 w 246"/>
              <a:gd name="T37" fmla="*/ 162 h 284"/>
              <a:gd name="T38" fmla="*/ 246 w 246"/>
              <a:gd name="T39" fmla="*/ 173 h 284"/>
              <a:gd name="T40" fmla="*/ 241 w 246"/>
              <a:gd name="T41" fmla="*/ 184 h 284"/>
              <a:gd name="T42" fmla="*/ 233 w 246"/>
              <a:gd name="T43" fmla="*/ 192 h 284"/>
              <a:gd name="T44" fmla="*/ 223 w 246"/>
              <a:gd name="T45" fmla="*/ 198 h 284"/>
              <a:gd name="T46" fmla="*/ 220 w 246"/>
              <a:gd name="T47" fmla="*/ 204 h 284"/>
              <a:gd name="T48" fmla="*/ 189 w 246"/>
              <a:gd name="T49" fmla="*/ 215 h 284"/>
              <a:gd name="T50" fmla="*/ 164 w 246"/>
              <a:gd name="T51" fmla="*/ 230 h 284"/>
              <a:gd name="T52" fmla="*/ 113 w 246"/>
              <a:gd name="T53" fmla="*/ 265 h 284"/>
              <a:gd name="T54" fmla="*/ 88 w 246"/>
              <a:gd name="T55" fmla="*/ 231 h 284"/>
              <a:gd name="T56" fmla="*/ 79 w 246"/>
              <a:gd name="T57" fmla="*/ 220 h 284"/>
              <a:gd name="T58" fmla="*/ 72 w 246"/>
              <a:gd name="T59" fmla="*/ 216 h 284"/>
              <a:gd name="T60" fmla="*/ 60 w 246"/>
              <a:gd name="T61" fmla="*/ 217 h 284"/>
              <a:gd name="T62" fmla="*/ 54 w 246"/>
              <a:gd name="T63" fmla="*/ 221 h 284"/>
              <a:gd name="T64" fmla="*/ 49 w 246"/>
              <a:gd name="T65" fmla="*/ 228 h 284"/>
              <a:gd name="T66" fmla="*/ 48 w 246"/>
              <a:gd name="T67" fmla="*/ 236 h 284"/>
              <a:gd name="T68" fmla="*/ 45 w 246"/>
              <a:gd name="T69" fmla="*/ 257 h 284"/>
              <a:gd name="T70" fmla="*/ 41 w 246"/>
              <a:gd name="T71" fmla="*/ 270 h 284"/>
              <a:gd name="T72" fmla="*/ 33 w 246"/>
              <a:gd name="T73" fmla="*/ 284 h 284"/>
              <a:gd name="T74" fmla="*/ 26 w 246"/>
              <a:gd name="T75" fmla="*/ 243 h 284"/>
              <a:gd name="T76" fmla="*/ 17 w 246"/>
              <a:gd name="T77" fmla="*/ 227 h 284"/>
              <a:gd name="T78" fmla="*/ 11 w 246"/>
              <a:gd name="T79" fmla="*/ 221 h 284"/>
              <a:gd name="T80" fmla="*/ 0 w 246"/>
              <a:gd name="T81" fmla="*/ 216 h 284"/>
              <a:gd name="T82" fmla="*/ 1 w 246"/>
              <a:gd name="T83" fmla="*/ 204 h 284"/>
              <a:gd name="T84" fmla="*/ 4 w 246"/>
              <a:gd name="T85" fmla="*/ 193 h 284"/>
              <a:gd name="T86" fmla="*/ 15 w 246"/>
              <a:gd name="T87" fmla="*/ 176 h 284"/>
              <a:gd name="T88" fmla="*/ 31 w 246"/>
              <a:gd name="T89" fmla="*/ 161 h 284"/>
              <a:gd name="T90" fmla="*/ 46 w 246"/>
              <a:gd name="T91" fmla="*/ 141 h 284"/>
              <a:gd name="T92" fmla="*/ 33 w 246"/>
              <a:gd name="T93" fmla="*/ 44 h 2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46" h="284">
                <a:moveTo>
                  <a:pt x="33" y="44"/>
                </a:moveTo>
                <a:lnTo>
                  <a:pt x="30" y="27"/>
                </a:lnTo>
                <a:lnTo>
                  <a:pt x="28" y="24"/>
                </a:lnTo>
                <a:lnTo>
                  <a:pt x="28" y="24"/>
                </a:lnTo>
                <a:lnTo>
                  <a:pt x="26" y="22"/>
                </a:lnTo>
                <a:lnTo>
                  <a:pt x="24" y="17"/>
                </a:lnTo>
                <a:lnTo>
                  <a:pt x="20" y="6"/>
                </a:lnTo>
                <a:lnTo>
                  <a:pt x="35" y="5"/>
                </a:lnTo>
                <a:lnTo>
                  <a:pt x="50" y="3"/>
                </a:lnTo>
                <a:lnTo>
                  <a:pt x="67" y="1"/>
                </a:lnTo>
                <a:lnTo>
                  <a:pt x="87" y="0"/>
                </a:lnTo>
                <a:lnTo>
                  <a:pt x="126" y="12"/>
                </a:lnTo>
                <a:lnTo>
                  <a:pt x="127" y="22"/>
                </a:lnTo>
                <a:lnTo>
                  <a:pt x="131" y="30"/>
                </a:lnTo>
                <a:lnTo>
                  <a:pt x="135" y="39"/>
                </a:lnTo>
                <a:lnTo>
                  <a:pt x="139" y="46"/>
                </a:lnTo>
                <a:lnTo>
                  <a:pt x="145" y="52"/>
                </a:lnTo>
                <a:lnTo>
                  <a:pt x="151" y="57"/>
                </a:lnTo>
                <a:lnTo>
                  <a:pt x="157" y="62"/>
                </a:lnTo>
                <a:lnTo>
                  <a:pt x="165" y="67"/>
                </a:lnTo>
                <a:lnTo>
                  <a:pt x="178" y="77"/>
                </a:lnTo>
                <a:lnTo>
                  <a:pt x="191" y="87"/>
                </a:lnTo>
                <a:lnTo>
                  <a:pt x="198" y="94"/>
                </a:lnTo>
                <a:lnTo>
                  <a:pt x="203" y="101"/>
                </a:lnTo>
                <a:lnTo>
                  <a:pt x="209" y="109"/>
                </a:lnTo>
                <a:lnTo>
                  <a:pt x="212" y="117"/>
                </a:lnTo>
                <a:lnTo>
                  <a:pt x="220" y="117"/>
                </a:lnTo>
                <a:lnTo>
                  <a:pt x="226" y="117"/>
                </a:lnTo>
                <a:lnTo>
                  <a:pt x="223" y="121"/>
                </a:lnTo>
                <a:lnTo>
                  <a:pt x="221" y="124"/>
                </a:lnTo>
                <a:lnTo>
                  <a:pt x="220" y="126"/>
                </a:lnTo>
                <a:lnTo>
                  <a:pt x="221" y="129"/>
                </a:lnTo>
                <a:lnTo>
                  <a:pt x="223" y="135"/>
                </a:lnTo>
                <a:lnTo>
                  <a:pt x="228" y="140"/>
                </a:lnTo>
                <a:lnTo>
                  <a:pt x="234" y="146"/>
                </a:lnTo>
                <a:lnTo>
                  <a:pt x="239" y="154"/>
                </a:lnTo>
                <a:lnTo>
                  <a:pt x="241" y="158"/>
                </a:lnTo>
                <a:lnTo>
                  <a:pt x="244" y="162"/>
                </a:lnTo>
                <a:lnTo>
                  <a:pt x="245" y="167"/>
                </a:lnTo>
                <a:lnTo>
                  <a:pt x="246" y="173"/>
                </a:lnTo>
                <a:lnTo>
                  <a:pt x="245" y="179"/>
                </a:lnTo>
                <a:lnTo>
                  <a:pt x="241" y="184"/>
                </a:lnTo>
                <a:lnTo>
                  <a:pt x="237" y="189"/>
                </a:lnTo>
                <a:lnTo>
                  <a:pt x="233" y="192"/>
                </a:lnTo>
                <a:lnTo>
                  <a:pt x="227" y="196"/>
                </a:lnTo>
                <a:lnTo>
                  <a:pt x="223" y="198"/>
                </a:lnTo>
                <a:lnTo>
                  <a:pt x="221" y="201"/>
                </a:lnTo>
                <a:lnTo>
                  <a:pt x="220" y="204"/>
                </a:lnTo>
                <a:lnTo>
                  <a:pt x="203" y="209"/>
                </a:lnTo>
                <a:lnTo>
                  <a:pt x="189" y="215"/>
                </a:lnTo>
                <a:lnTo>
                  <a:pt x="176" y="222"/>
                </a:lnTo>
                <a:lnTo>
                  <a:pt x="164" y="230"/>
                </a:lnTo>
                <a:lnTo>
                  <a:pt x="139" y="246"/>
                </a:lnTo>
                <a:lnTo>
                  <a:pt x="113" y="265"/>
                </a:lnTo>
                <a:lnTo>
                  <a:pt x="99" y="247"/>
                </a:lnTo>
                <a:lnTo>
                  <a:pt x="88" y="231"/>
                </a:lnTo>
                <a:lnTo>
                  <a:pt x="83" y="225"/>
                </a:lnTo>
                <a:lnTo>
                  <a:pt x="79" y="220"/>
                </a:lnTo>
                <a:lnTo>
                  <a:pt x="76" y="217"/>
                </a:lnTo>
                <a:lnTo>
                  <a:pt x="72" y="216"/>
                </a:lnTo>
                <a:lnTo>
                  <a:pt x="66" y="216"/>
                </a:lnTo>
                <a:lnTo>
                  <a:pt x="60" y="217"/>
                </a:lnTo>
                <a:lnTo>
                  <a:pt x="57" y="219"/>
                </a:lnTo>
                <a:lnTo>
                  <a:pt x="54" y="221"/>
                </a:lnTo>
                <a:lnTo>
                  <a:pt x="52" y="224"/>
                </a:lnTo>
                <a:lnTo>
                  <a:pt x="49" y="228"/>
                </a:lnTo>
                <a:lnTo>
                  <a:pt x="48" y="231"/>
                </a:lnTo>
                <a:lnTo>
                  <a:pt x="48" y="236"/>
                </a:lnTo>
                <a:lnTo>
                  <a:pt x="47" y="246"/>
                </a:lnTo>
                <a:lnTo>
                  <a:pt x="45" y="257"/>
                </a:lnTo>
                <a:lnTo>
                  <a:pt x="43" y="264"/>
                </a:lnTo>
                <a:lnTo>
                  <a:pt x="41" y="270"/>
                </a:lnTo>
                <a:lnTo>
                  <a:pt x="37" y="277"/>
                </a:lnTo>
                <a:lnTo>
                  <a:pt x="33" y="284"/>
                </a:lnTo>
                <a:lnTo>
                  <a:pt x="30" y="262"/>
                </a:lnTo>
                <a:lnTo>
                  <a:pt x="26" y="243"/>
                </a:lnTo>
                <a:lnTo>
                  <a:pt x="23" y="234"/>
                </a:lnTo>
                <a:lnTo>
                  <a:pt x="17" y="227"/>
                </a:lnTo>
                <a:lnTo>
                  <a:pt x="14" y="224"/>
                </a:lnTo>
                <a:lnTo>
                  <a:pt x="11" y="221"/>
                </a:lnTo>
                <a:lnTo>
                  <a:pt x="5" y="218"/>
                </a:lnTo>
                <a:lnTo>
                  <a:pt x="0" y="216"/>
                </a:lnTo>
                <a:lnTo>
                  <a:pt x="0" y="210"/>
                </a:lnTo>
                <a:lnTo>
                  <a:pt x="1" y="204"/>
                </a:lnTo>
                <a:lnTo>
                  <a:pt x="2" y="197"/>
                </a:lnTo>
                <a:lnTo>
                  <a:pt x="4" y="193"/>
                </a:lnTo>
                <a:lnTo>
                  <a:pt x="9" y="184"/>
                </a:lnTo>
                <a:lnTo>
                  <a:pt x="15" y="176"/>
                </a:lnTo>
                <a:lnTo>
                  <a:pt x="23" y="169"/>
                </a:lnTo>
                <a:lnTo>
                  <a:pt x="31" y="161"/>
                </a:lnTo>
                <a:lnTo>
                  <a:pt x="38" y="153"/>
                </a:lnTo>
                <a:lnTo>
                  <a:pt x="46" y="141"/>
                </a:lnTo>
                <a:lnTo>
                  <a:pt x="0" y="62"/>
                </a:lnTo>
                <a:lnTo>
                  <a:pt x="33" y="4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402" name="Freeform 354"/>
          <p:cNvSpPr>
            <a:spLocks/>
          </p:cNvSpPr>
          <p:nvPr>
            <p:custDataLst>
              <p:tags r:id="rId257"/>
            </p:custDataLst>
          </p:nvPr>
        </p:nvSpPr>
        <p:spPr bwMode="auto">
          <a:xfrm>
            <a:off x="5997576" y="2311401"/>
            <a:ext cx="68263" cy="60325"/>
          </a:xfrm>
          <a:custGeom>
            <a:avLst/>
            <a:gdLst>
              <a:gd name="T0" fmla="*/ 114 w 160"/>
              <a:gd name="T1" fmla="*/ 0 h 117"/>
              <a:gd name="T2" fmla="*/ 114 w 160"/>
              <a:gd name="T3" fmla="*/ 9 h 117"/>
              <a:gd name="T4" fmla="*/ 114 w 160"/>
              <a:gd name="T5" fmla="*/ 18 h 117"/>
              <a:gd name="T6" fmla="*/ 115 w 160"/>
              <a:gd name="T7" fmla="*/ 25 h 117"/>
              <a:gd name="T8" fmla="*/ 117 w 160"/>
              <a:gd name="T9" fmla="*/ 32 h 117"/>
              <a:gd name="T10" fmla="*/ 119 w 160"/>
              <a:gd name="T11" fmla="*/ 34 h 117"/>
              <a:gd name="T12" fmla="*/ 121 w 160"/>
              <a:gd name="T13" fmla="*/ 37 h 117"/>
              <a:gd name="T14" fmla="*/ 123 w 160"/>
              <a:gd name="T15" fmla="*/ 38 h 117"/>
              <a:gd name="T16" fmla="*/ 127 w 160"/>
              <a:gd name="T17" fmla="*/ 39 h 117"/>
              <a:gd name="T18" fmla="*/ 131 w 160"/>
              <a:gd name="T19" fmla="*/ 40 h 117"/>
              <a:gd name="T20" fmla="*/ 135 w 160"/>
              <a:gd name="T21" fmla="*/ 39 h 117"/>
              <a:gd name="T22" fmla="*/ 140 w 160"/>
              <a:gd name="T23" fmla="*/ 38 h 117"/>
              <a:gd name="T24" fmla="*/ 146 w 160"/>
              <a:gd name="T25" fmla="*/ 36 h 117"/>
              <a:gd name="T26" fmla="*/ 149 w 160"/>
              <a:gd name="T27" fmla="*/ 43 h 117"/>
              <a:gd name="T28" fmla="*/ 153 w 160"/>
              <a:gd name="T29" fmla="*/ 52 h 117"/>
              <a:gd name="T30" fmla="*/ 157 w 160"/>
              <a:gd name="T31" fmla="*/ 64 h 117"/>
              <a:gd name="T32" fmla="*/ 160 w 160"/>
              <a:gd name="T33" fmla="*/ 74 h 117"/>
              <a:gd name="T34" fmla="*/ 133 w 160"/>
              <a:gd name="T35" fmla="*/ 88 h 117"/>
              <a:gd name="T36" fmla="*/ 106 w 160"/>
              <a:gd name="T37" fmla="*/ 102 h 117"/>
              <a:gd name="T38" fmla="*/ 92 w 160"/>
              <a:gd name="T39" fmla="*/ 107 h 117"/>
              <a:gd name="T40" fmla="*/ 76 w 160"/>
              <a:gd name="T41" fmla="*/ 113 h 117"/>
              <a:gd name="T42" fmla="*/ 62 w 160"/>
              <a:gd name="T43" fmla="*/ 116 h 117"/>
              <a:gd name="T44" fmla="*/ 47 w 160"/>
              <a:gd name="T45" fmla="*/ 117 h 117"/>
              <a:gd name="T46" fmla="*/ 32 w 160"/>
              <a:gd name="T47" fmla="*/ 99 h 117"/>
              <a:gd name="T48" fmla="*/ 21 w 160"/>
              <a:gd name="T49" fmla="*/ 83 h 117"/>
              <a:gd name="T50" fmla="*/ 10 w 160"/>
              <a:gd name="T51" fmla="*/ 69 h 117"/>
              <a:gd name="T52" fmla="*/ 0 w 160"/>
              <a:gd name="T53" fmla="*/ 55 h 117"/>
              <a:gd name="T54" fmla="*/ 13 w 160"/>
              <a:gd name="T55" fmla="*/ 48 h 117"/>
              <a:gd name="T56" fmla="*/ 41 w 160"/>
              <a:gd name="T57" fmla="*/ 32 h 117"/>
              <a:gd name="T58" fmla="*/ 60 w 160"/>
              <a:gd name="T59" fmla="*/ 23 h 117"/>
              <a:gd name="T60" fmla="*/ 78 w 160"/>
              <a:gd name="T61" fmla="*/ 14 h 117"/>
              <a:gd name="T62" fmla="*/ 97 w 160"/>
              <a:gd name="T63" fmla="*/ 6 h 117"/>
              <a:gd name="T64" fmla="*/ 114 w 160"/>
              <a:gd name="T65" fmla="*/ 0 h 1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60" h="117">
                <a:moveTo>
                  <a:pt x="114" y="0"/>
                </a:moveTo>
                <a:lnTo>
                  <a:pt x="114" y="9"/>
                </a:lnTo>
                <a:lnTo>
                  <a:pt x="114" y="18"/>
                </a:lnTo>
                <a:lnTo>
                  <a:pt x="115" y="25"/>
                </a:lnTo>
                <a:lnTo>
                  <a:pt x="117" y="32"/>
                </a:lnTo>
                <a:lnTo>
                  <a:pt x="119" y="34"/>
                </a:lnTo>
                <a:lnTo>
                  <a:pt x="121" y="37"/>
                </a:lnTo>
                <a:lnTo>
                  <a:pt x="123" y="38"/>
                </a:lnTo>
                <a:lnTo>
                  <a:pt x="127" y="39"/>
                </a:lnTo>
                <a:lnTo>
                  <a:pt x="131" y="40"/>
                </a:lnTo>
                <a:lnTo>
                  <a:pt x="135" y="39"/>
                </a:lnTo>
                <a:lnTo>
                  <a:pt x="140" y="38"/>
                </a:lnTo>
                <a:lnTo>
                  <a:pt x="146" y="36"/>
                </a:lnTo>
                <a:lnTo>
                  <a:pt x="149" y="43"/>
                </a:lnTo>
                <a:lnTo>
                  <a:pt x="153" y="52"/>
                </a:lnTo>
                <a:lnTo>
                  <a:pt x="157" y="64"/>
                </a:lnTo>
                <a:lnTo>
                  <a:pt x="160" y="74"/>
                </a:lnTo>
                <a:lnTo>
                  <a:pt x="133" y="88"/>
                </a:lnTo>
                <a:lnTo>
                  <a:pt x="106" y="102"/>
                </a:lnTo>
                <a:lnTo>
                  <a:pt x="92" y="107"/>
                </a:lnTo>
                <a:lnTo>
                  <a:pt x="76" y="113"/>
                </a:lnTo>
                <a:lnTo>
                  <a:pt x="62" y="116"/>
                </a:lnTo>
                <a:lnTo>
                  <a:pt x="47" y="117"/>
                </a:lnTo>
                <a:lnTo>
                  <a:pt x="32" y="99"/>
                </a:lnTo>
                <a:lnTo>
                  <a:pt x="21" y="83"/>
                </a:lnTo>
                <a:lnTo>
                  <a:pt x="10" y="69"/>
                </a:lnTo>
                <a:lnTo>
                  <a:pt x="0" y="55"/>
                </a:lnTo>
                <a:lnTo>
                  <a:pt x="13" y="48"/>
                </a:lnTo>
                <a:lnTo>
                  <a:pt x="41" y="32"/>
                </a:lnTo>
                <a:lnTo>
                  <a:pt x="60" y="23"/>
                </a:lnTo>
                <a:lnTo>
                  <a:pt x="78" y="14"/>
                </a:lnTo>
                <a:lnTo>
                  <a:pt x="97" y="6"/>
                </a:lnTo>
                <a:lnTo>
                  <a:pt x="114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403" name="Freeform 355"/>
          <p:cNvSpPr>
            <a:spLocks/>
          </p:cNvSpPr>
          <p:nvPr>
            <p:custDataLst>
              <p:tags r:id="rId258"/>
            </p:custDataLst>
          </p:nvPr>
        </p:nvSpPr>
        <p:spPr bwMode="auto">
          <a:xfrm>
            <a:off x="6081713" y="2935289"/>
            <a:ext cx="411162" cy="611187"/>
          </a:xfrm>
          <a:custGeom>
            <a:avLst/>
            <a:gdLst>
              <a:gd name="T0" fmla="*/ 742 w 943"/>
              <a:gd name="T1" fmla="*/ 5 h 1172"/>
              <a:gd name="T2" fmla="*/ 765 w 943"/>
              <a:gd name="T3" fmla="*/ 23 h 1172"/>
              <a:gd name="T4" fmla="*/ 803 w 943"/>
              <a:gd name="T5" fmla="*/ 30 h 1172"/>
              <a:gd name="T6" fmla="*/ 814 w 943"/>
              <a:gd name="T7" fmla="*/ 55 h 1172"/>
              <a:gd name="T8" fmla="*/ 835 w 943"/>
              <a:gd name="T9" fmla="*/ 109 h 1172"/>
              <a:gd name="T10" fmla="*/ 837 w 943"/>
              <a:gd name="T11" fmla="*/ 187 h 1172"/>
              <a:gd name="T12" fmla="*/ 857 w 943"/>
              <a:gd name="T13" fmla="*/ 243 h 1172"/>
              <a:gd name="T14" fmla="*/ 922 w 943"/>
              <a:gd name="T15" fmla="*/ 292 h 1172"/>
              <a:gd name="T16" fmla="*/ 879 w 943"/>
              <a:gd name="T17" fmla="*/ 361 h 1172"/>
              <a:gd name="T18" fmla="*/ 851 w 943"/>
              <a:gd name="T19" fmla="*/ 410 h 1172"/>
              <a:gd name="T20" fmla="*/ 809 w 943"/>
              <a:gd name="T21" fmla="*/ 635 h 1172"/>
              <a:gd name="T22" fmla="*/ 770 w 943"/>
              <a:gd name="T23" fmla="*/ 677 h 1172"/>
              <a:gd name="T24" fmla="*/ 763 w 943"/>
              <a:gd name="T25" fmla="*/ 721 h 1172"/>
              <a:gd name="T26" fmla="*/ 745 w 943"/>
              <a:gd name="T27" fmla="*/ 735 h 1172"/>
              <a:gd name="T28" fmla="*/ 723 w 943"/>
              <a:gd name="T29" fmla="*/ 798 h 1172"/>
              <a:gd name="T30" fmla="*/ 692 w 943"/>
              <a:gd name="T31" fmla="*/ 877 h 1172"/>
              <a:gd name="T32" fmla="*/ 662 w 943"/>
              <a:gd name="T33" fmla="*/ 903 h 1172"/>
              <a:gd name="T34" fmla="*/ 664 w 943"/>
              <a:gd name="T35" fmla="*/ 934 h 1172"/>
              <a:gd name="T36" fmla="*/ 686 w 943"/>
              <a:gd name="T37" fmla="*/ 939 h 1172"/>
              <a:gd name="T38" fmla="*/ 709 w 943"/>
              <a:gd name="T39" fmla="*/ 950 h 1172"/>
              <a:gd name="T40" fmla="*/ 742 w 943"/>
              <a:gd name="T41" fmla="*/ 971 h 1172"/>
              <a:gd name="T42" fmla="*/ 756 w 943"/>
              <a:gd name="T43" fmla="*/ 1007 h 1172"/>
              <a:gd name="T44" fmla="*/ 775 w 943"/>
              <a:gd name="T45" fmla="*/ 1043 h 1172"/>
              <a:gd name="T46" fmla="*/ 803 w 943"/>
              <a:gd name="T47" fmla="*/ 1053 h 1172"/>
              <a:gd name="T48" fmla="*/ 809 w 943"/>
              <a:gd name="T49" fmla="*/ 1094 h 1172"/>
              <a:gd name="T50" fmla="*/ 718 w 943"/>
              <a:gd name="T51" fmla="*/ 1115 h 1172"/>
              <a:gd name="T52" fmla="*/ 687 w 943"/>
              <a:gd name="T53" fmla="*/ 1157 h 1172"/>
              <a:gd name="T54" fmla="*/ 598 w 943"/>
              <a:gd name="T55" fmla="*/ 1170 h 1172"/>
              <a:gd name="T56" fmla="*/ 515 w 943"/>
              <a:gd name="T57" fmla="*/ 1158 h 1172"/>
              <a:gd name="T58" fmla="*/ 464 w 943"/>
              <a:gd name="T59" fmla="*/ 1123 h 1172"/>
              <a:gd name="T60" fmla="*/ 390 w 943"/>
              <a:gd name="T61" fmla="*/ 1125 h 1172"/>
              <a:gd name="T62" fmla="*/ 319 w 943"/>
              <a:gd name="T63" fmla="*/ 1120 h 1172"/>
              <a:gd name="T64" fmla="*/ 297 w 943"/>
              <a:gd name="T65" fmla="*/ 1104 h 1172"/>
              <a:gd name="T66" fmla="*/ 294 w 943"/>
              <a:gd name="T67" fmla="*/ 1075 h 1172"/>
              <a:gd name="T68" fmla="*/ 274 w 943"/>
              <a:gd name="T69" fmla="*/ 1029 h 1172"/>
              <a:gd name="T70" fmla="*/ 216 w 943"/>
              <a:gd name="T71" fmla="*/ 974 h 1172"/>
              <a:gd name="T72" fmla="*/ 193 w 943"/>
              <a:gd name="T73" fmla="*/ 925 h 1172"/>
              <a:gd name="T74" fmla="*/ 152 w 943"/>
              <a:gd name="T75" fmla="*/ 903 h 1172"/>
              <a:gd name="T76" fmla="*/ 120 w 943"/>
              <a:gd name="T77" fmla="*/ 846 h 1172"/>
              <a:gd name="T78" fmla="*/ 97 w 943"/>
              <a:gd name="T79" fmla="*/ 788 h 1172"/>
              <a:gd name="T80" fmla="*/ 65 w 943"/>
              <a:gd name="T81" fmla="*/ 758 h 1172"/>
              <a:gd name="T82" fmla="*/ 33 w 943"/>
              <a:gd name="T83" fmla="*/ 676 h 1172"/>
              <a:gd name="T84" fmla="*/ 4 w 943"/>
              <a:gd name="T85" fmla="*/ 611 h 1172"/>
              <a:gd name="T86" fmla="*/ 18 w 943"/>
              <a:gd name="T87" fmla="*/ 577 h 1172"/>
              <a:gd name="T88" fmla="*/ 29 w 943"/>
              <a:gd name="T89" fmla="*/ 521 h 1172"/>
              <a:gd name="T90" fmla="*/ 64 w 943"/>
              <a:gd name="T91" fmla="*/ 474 h 1172"/>
              <a:gd name="T92" fmla="*/ 113 w 943"/>
              <a:gd name="T93" fmla="*/ 222 h 1172"/>
              <a:gd name="T94" fmla="*/ 123 w 943"/>
              <a:gd name="T95" fmla="*/ 179 h 1172"/>
              <a:gd name="T96" fmla="*/ 153 w 943"/>
              <a:gd name="T97" fmla="*/ 171 h 1172"/>
              <a:gd name="T98" fmla="*/ 160 w 943"/>
              <a:gd name="T99" fmla="*/ 122 h 1172"/>
              <a:gd name="T100" fmla="*/ 159 w 943"/>
              <a:gd name="T101" fmla="*/ 67 h 1172"/>
              <a:gd name="T102" fmla="*/ 679 w 943"/>
              <a:gd name="T103" fmla="*/ 69 h 1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404" name="Freeform 356"/>
          <p:cNvSpPr>
            <a:spLocks/>
          </p:cNvSpPr>
          <p:nvPr>
            <p:custDataLst>
              <p:tags r:id="rId259"/>
            </p:custDataLst>
          </p:nvPr>
        </p:nvSpPr>
        <p:spPr bwMode="auto">
          <a:xfrm>
            <a:off x="6565901" y="3275013"/>
            <a:ext cx="244475" cy="431800"/>
          </a:xfrm>
          <a:custGeom>
            <a:avLst/>
            <a:gdLst>
              <a:gd name="T0" fmla="*/ 98 w 556"/>
              <a:gd name="T1" fmla="*/ 62 h 819"/>
              <a:gd name="T2" fmla="*/ 112 w 556"/>
              <a:gd name="T3" fmla="*/ 56 h 819"/>
              <a:gd name="T4" fmla="*/ 129 w 556"/>
              <a:gd name="T5" fmla="*/ 69 h 819"/>
              <a:gd name="T6" fmla="*/ 149 w 556"/>
              <a:gd name="T7" fmla="*/ 85 h 819"/>
              <a:gd name="T8" fmla="*/ 171 w 556"/>
              <a:gd name="T9" fmla="*/ 92 h 819"/>
              <a:gd name="T10" fmla="*/ 215 w 556"/>
              <a:gd name="T11" fmla="*/ 88 h 819"/>
              <a:gd name="T12" fmla="*/ 257 w 556"/>
              <a:gd name="T13" fmla="*/ 82 h 819"/>
              <a:gd name="T14" fmla="*/ 291 w 556"/>
              <a:gd name="T15" fmla="*/ 79 h 819"/>
              <a:gd name="T16" fmla="*/ 301 w 556"/>
              <a:gd name="T17" fmla="*/ 74 h 819"/>
              <a:gd name="T18" fmla="*/ 301 w 556"/>
              <a:gd name="T19" fmla="*/ 68 h 819"/>
              <a:gd name="T20" fmla="*/ 355 w 556"/>
              <a:gd name="T21" fmla="*/ 63 h 819"/>
              <a:gd name="T22" fmla="*/ 434 w 556"/>
              <a:gd name="T23" fmla="*/ 45 h 819"/>
              <a:gd name="T24" fmla="*/ 479 w 556"/>
              <a:gd name="T25" fmla="*/ 28 h 819"/>
              <a:gd name="T26" fmla="*/ 514 w 556"/>
              <a:gd name="T27" fmla="*/ 8 h 819"/>
              <a:gd name="T28" fmla="*/ 547 w 556"/>
              <a:gd name="T29" fmla="*/ 31 h 819"/>
              <a:gd name="T30" fmla="*/ 555 w 556"/>
              <a:gd name="T31" fmla="*/ 57 h 819"/>
              <a:gd name="T32" fmla="*/ 552 w 556"/>
              <a:gd name="T33" fmla="*/ 113 h 819"/>
              <a:gd name="T34" fmla="*/ 532 w 556"/>
              <a:gd name="T35" fmla="*/ 174 h 819"/>
              <a:gd name="T36" fmla="*/ 502 w 556"/>
              <a:gd name="T37" fmla="*/ 231 h 819"/>
              <a:gd name="T38" fmla="*/ 447 w 556"/>
              <a:gd name="T39" fmla="*/ 321 h 819"/>
              <a:gd name="T40" fmla="*/ 423 w 556"/>
              <a:gd name="T41" fmla="*/ 375 h 819"/>
              <a:gd name="T42" fmla="*/ 410 w 556"/>
              <a:gd name="T43" fmla="*/ 415 h 819"/>
              <a:gd name="T44" fmla="*/ 379 w 556"/>
              <a:gd name="T45" fmla="*/ 473 h 819"/>
              <a:gd name="T46" fmla="*/ 330 w 556"/>
              <a:gd name="T47" fmla="*/ 531 h 819"/>
              <a:gd name="T48" fmla="*/ 288 w 556"/>
              <a:gd name="T49" fmla="*/ 566 h 819"/>
              <a:gd name="T50" fmla="*/ 239 w 556"/>
              <a:gd name="T51" fmla="*/ 600 h 819"/>
              <a:gd name="T52" fmla="*/ 168 w 556"/>
              <a:gd name="T53" fmla="*/ 651 h 819"/>
              <a:gd name="T54" fmla="*/ 143 w 556"/>
              <a:gd name="T55" fmla="*/ 680 h 819"/>
              <a:gd name="T56" fmla="*/ 131 w 556"/>
              <a:gd name="T57" fmla="*/ 700 h 819"/>
              <a:gd name="T58" fmla="*/ 116 w 556"/>
              <a:gd name="T59" fmla="*/ 717 h 819"/>
              <a:gd name="T60" fmla="*/ 71 w 556"/>
              <a:gd name="T61" fmla="*/ 745 h 819"/>
              <a:gd name="T62" fmla="*/ 19 w 556"/>
              <a:gd name="T63" fmla="*/ 801 h 819"/>
              <a:gd name="T64" fmla="*/ 2 w 556"/>
              <a:gd name="T65" fmla="*/ 564 h 819"/>
              <a:gd name="T66" fmla="*/ 3 w 556"/>
              <a:gd name="T67" fmla="*/ 554 h 819"/>
              <a:gd name="T68" fmla="*/ 27 w 556"/>
              <a:gd name="T69" fmla="*/ 533 h 819"/>
              <a:gd name="T70" fmla="*/ 42 w 556"/>
              <a:gd name="T71" fmla="*/ 516 h 819"/>
              <a:gd name="T72" fmla="*/ 60 w 556"/>
              <a:gd name="T73" fmla="*/ 497 h 819"/>
              <a:gd name="T74" fmla="*/ 111 w 556"/>
              <a:gd name="T75" fmla="*/ 480 h 819"/>
              <a:gd name="T76" fmla="*/ 119 w 556"/>
              <a:gd name="T77" fmla="*/ 470 h 819"/>
              <a:gd name="T78" fmla="*/ 129 w 556"/>
              <a:gd name="T79" fmla="*/ 452 h 819"/>
              <a:gd name="T80" fmla="*/ 152 w 556"/>
              <a:gd name="T81" fmla="*/ 440 h 819"/>
              <a:gd name="T82" fmla="*/ 174 w 556"/>
              <a:gd name="T83" fmla="*/ 439 h 819"/>
              <a:gd name="T84" fmla="*/ 196 w 556"/>
              <a:gd name="T85" fmla="*/ 439 h 819"/>
              <a:gd name="T86" fmla="*/ 228 w 556"/>
              <a:gd name="T87" fmla="*/ 429 h 819"/>
              <a:gd name="T88" fmla="*/ 251 w 556"/>
              <a:gd name="T89" fmla="*/ 405 h 819"/>
              <a:gd name="T90" fmla="*/ 265 w 556"/>
              <a:gd name="T91" fmla="*/ 379 h 819"/>
              <a:gd name="T92" fmla="*/ 296 w 556"/>
              <a:gd name="T93" fmla="*/ 347 h 819"/>
              <a:gd name="T94" fmla="*/ 354 w 556"/>
              <a:gd name="T95" fmla="*/ 293 h 819"/>
              <a:gd name="T96" fmla="*/ 377 w 556"/>
              <a:gd name="T97" fmla="*/ 266 h 819"/>
              <a:gd name="T98" fmla="*/ 324 w 556"/>
              <a:gd name="T99" fmla="*/ 246 h 819"/>
              <a:gd name="T100" fmla="*/ 257 w 556"/>
              <a:gd name="T101" fmla="*/ 228 h 819"/>
              <a:gd name="T102" fmla="*/ 184 w 556"/>
              <a:gd name="T103" fmla="*/ 209 h 819"/>
              <a:gd name="T104" fmla="*/ 149 w 556"/>
              <a:gd name="T105" fmla="*/ 187 h 819"/>
              <a:gd name="T106" fmla="*/ 112 w 556"/>
              <a:gd name="T107" fmla="*/ 154 h 819"/>
              <a:gd name="T108" fmla="*/ 89 w 556"/>
              <a:gd name="T109" fmla="*/ 121 h 819"/>
              <a:gd name="T110" fmla="*/ 77 w 556"/>
              <a:gd name="T111" fmla="*/ 80 h 819"/>
              <a:gd name="T112" fmla="*/ 65 w 556"/>
              <a:gd name="T113" fmla="*/ 87 h 819"/>
              <a:gd name="T114" fmla="*/ 84 w 556"/>
              <a:gd name="T115" fmla="*/ 68 h 8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556" h="819">
                <a:moveTo>
                  <a:pt x="84" y="68"/>
                </a:moveTo>
                <a:lnTo>
                  <a:pt x="90" y="66"/>
                </a:lnTo>
                <a:lnTo>
                  <a:pt x="98" y="62"/>
                </a:lnTo>
                <a:lnTo>
                  <a:pt x="103" y="59"/>
                </a:lnTo>
                <a:lnTo>
                  <a:pt x="108" y="58"/>
                </a:lnTo>
                <a:lnTo>
                  <a:pt x="112" y="56"/>
                </a:lnTo>
                <a:lnTo>
                  <a:pt x="118" y="56"/>
                </a:lnTo>
                <a:lnTo>
                  <a:pt x="122" y="62"/>
                </a:lnTo>
                <a:lnTo>
                  <a:pt x="129" y="69"/>
                </a:lnTo>
                <a:lnTo>
                  <a:pt x="134" y="75"/>
                </a:lnTo>
                <a:lnTo>
                  <a:pt x="141" y="81"/>
                </a:lnTo>
                <a:lnTo>
                  <a:pt x="149" y="85"/>
                </a:lnTo>
                <a:lnTo>
                  <a:pt x="155" y="89"/>
                </a:lnTo>
                <a:lnTo>
                  <a:pt x="163" y="91"/>
                </a:lnTo>
                <a:lnTo>
                  <a:pt x="171" y="92"/>
                </a:lnTo>
                <a:lnTo>
                  <a:pt x="186" y="91"/>
                </a:lnTo>
                <a:lnTo>
                  <a:pt x="200" y="90"/>
                </a:lnTo>
                <a:lnTo>
                  <a:pt x="215" y="88"/>
                </a:lnTo>
                <a:lnTo>
                  <a:pt x="230" y="86"/>
                </a:lnTo>
                <a:lnTo>
                  <a:pt x="244" y="84"/>
                </a:lnTo>
                <a:lnTo>
                  <a:pt x="257" y="82"/>
                </a:lnTo>
                <a:lnTo>
                  <a:pt x="271" y="80"/>
                </a:lnTo>
                <a:lnTo>
                  <a:pt x="284" y="80"/>
                </a:lnTo>
                <a:lnTo>
                  <a:pt x="291" y="79"/>
                </a:lnTo>
                <a:lnTo>
                  <a:pt x="297" y="78"/>
                </a:lnTo>
                <a:lnTo>
                  <a:pt x="300" y="76"/>
                </a:lnTo>
                <a:lnTo>
                  <a:pt x="301" y="74"/>
                </a:lnTo>
                <a:lnTo>
                  <a:pt x="301" y="72"/>
                </a:lnTo>
                <a:lnTo>
                  <a:pt x="301" y="70"/>
                </a:lnTo>
                <a:lnTo>
                  <a:pt x="301" y="68"/>
                </a:lnTo>
                <a:lnTo>
                  <a:pt x="303" y="68"/>
                </a:lnTo>
                <a:lnTo>
                  <a:pt x="327" y="67"/>
                </a:lnTo>
                <a:lnTo>
                  <a:pt x="355" y="63"/>
                </a:lnTo>
                <a:lnTo>
                  <a:pt x="386" y="58"/>
                </a:lnTo>
                <a:lnTo>
                  <a:pt x="418" y="50"/>
                </a:lnTo>
                <a:lnTo>
                  <a:pt x="434" y="45"/>
                </a:lnTo>
                <a:lnTo>
                  <a:pt x="450" y="40"/>
                </a:lnTo>
                <a:lnTo>
                  <a:pt x="465" y="34"/>
                </a:lnTo>
                <a:lnTo>
                  <a:pt x="479" y="28"/>
                </a:lnTo>
                <a:lnTo>
                  <a:pt x="492" y="22"/>
                </a:lnTo>
                <a:lnTo>
                  <a:pt x="504" y="15"/>
                </a:lnTo>
                <a:lnTo>
                  <a:pt x="514" y="8"/>
                </a:lnTo>
                <a:lnTo>
                  <a:pt x="523" y="0"/>
                </a:lnTo>
                <a:lnTo>
                  <a:pt x="536" y="17"/>
                </a:lnTo>
                <a:lnTo>
                  <a:pt x="547" y="31"/>
                </a:lnTo>
                <a:lnTo>
                  <a:pt x="551" y="39"/>
                </a:lnTo>
                <a:lnTo>
                  <a:pt x="554" y="48"/>
                </a:lnTo>
                <a:lnTo>
                  <a:pt x="555" y="57"/>
                </a:lnTo>
                <a:lnTo>
                  <a:pt x="556" y="68"/>
                </a:lnTo>
                <a:lnTo>
                  <a:pt x="555" y="90"/>
                </a:lnTo>
                <a:lnTo>
                  <a:pt x="552" y="113"/>
                </a:lnTo>
                <a:lnTo>
                  <a:pt x="546" y="133"/>
                </a:lnTo>
                <a:lnTo>
                  <a:pt x="540" y="153"/>
                </a:lnTo>
                <a:lnTo>
                  <a:pt x="532" y="174"/>
                </a:lnTo>
                <a:lnTo>
                  <a:pt x="523" y="193"/>
                </a:lnTo>
                <a:lnTo>
                  <a:pt x="512" y="212"/>
                </a:lnTo>
                <a:lnTo>
                  <a:pt x="502" y="231"/>
                </a:lnTo>
                <a:lnTo>
                  <a:pt x="479" y="267"/>
                </a:lnTo>
                <a:lnTo>
                  <a:pt x="458" y="303"/>
                </a:lnTo>
                <a:lnTo>
                  <a:pt x="447" y="321"/>
                </a:lnTo>
                <a:lnTo>
                  <a:pt x="439" y="339"/>
                </a:lnTo>
                <a:lnTo>
                  <a:pt x="430" y="357"/>
                </a:lnTo>
                <a:lnTo>
                  <a:pt x="423" y="375"/>
                </a:lnTo>
                <a:lnTo>
                  <a:pt x="419" y="390"/>
                </a:lnTo>
                <a:lnTo>
                  <a:pt x="414" y="403"/>
                </a:lnTo>
                <a:lnTo>
                  <a:pt x="410" y="415"/>
                </a:lnTo>
                <a:lnTo>
                  <a:pt x="404" y="427"/>
                </a:lnTo>
                <a:lnTo>
                  <a:pt x="392" y="452"/>
                </a:lnTo>
                <a:lnTo>
                  <a:pt x="379" y="473"/>
                </a:lnTo>
                <a:lnTo>
                  <a:pt x="364" y="495"/>
                </a:lnTo>
                <a:lnTo>
                  <a:pt x="347" y="514"/>
                </a:lnTo>
                <a:lnTo>
                  <a:pt x="330" y="531"/>
                </a:lnTo>
                <a:lnTo>
                  <a:pt x="310" y="549"/>
                </a:lnTo>
                <a:lnTo>
                  <a:pt x="300" y="558"/>
                </a:lnTo>
                <a:lnTo>
                  <a:pt x="288" y="566"/>
                </a:lnTo>
                <a:lnTo>
                  <a:pt x="277" y="575"/>
                </a:lnTo>
                <a:lnTo>
                  <a:pt x="264" y="583"/>
                </a:lnTo>
                <a:lnTo>
                  <a:pt x="239" y="600"/>
                </a:lnTo>
                <a:lnTo>
                  <a:pt x="213" y="617"/>
                </a:lnTo>
                <a:lnTo>
                  <a:pt x="189" y="634"/>
                </a:lnTo>
                <a:lnTo>
                  <a:pt x="168" y="651"/>
                </a:lnTo>
                <a:lnTo>
                  <a:pt x="159" y="661"/>
                </a:lnTo>
                <a:lnTo>
                  <a:pt x="150" y="670"/>
                </a:lnTo>
                <a:lnTo>
                  <a:pt x="143" y="680"/>
                </a:lnTo>
                <a:lnTo>
                  <a:pt x="138" y="690"/>
                </a:lnTo>
                <a:lnTo>
                  <a:pt x="134" y="695"/>
                </a:lnTo>
                <a:lnTo>
                  <a:pt x="131" y="700"/>
                </a:lnTo>
                <a:lnTo>
                  <a:pt x="128" y="705"/>
                </a:lnTo>
                <a:lnTo>
                  <a:pt x="125" y="709"/>
                </a:lnTo>
                <a:lnTo>
                  <a:pt x="116" y="717"/>
                </a:lnTo>
                <a:lnTo>
                  <a:pt x="107" y="723"/>
                </a:lnTo>
                <a:lnTo>
                  <a:pt x="88" y="733"/>
                </a:lnTo>
                <a:lnTo>
                  <a:pt x="71" y="745"/>
                </a:lnTo>
                <a:lnTo>
                  <a:pt x="52" y="763"/>
                </a:lnTo>
                <a:lnTo>
                  <a:pt x="36" y="783"/>
                </a:lnTo>
                <a:lnTo>
                  <a:pt x="19" y="801"/>
                </a:lnTo>
                <a:lnTo>
                  <a:pt x="5" y="819"/>
                </a:lnTo>
                <a:lnTo>
                  <a:pt x="5" y="567"/>
                </a:lnTo>
                <a:lnTo>
                  <a:pt x="2" y="564"/>
                </a:lnTo>
                <a:lnTo>
                  <a:pt x="0" y="560"/>
                </a:lnTo>
                <a:lnTo>
                  <a:pt x="0" y="557"/>
                </a:lnTo>
                <a:lnTo>
                  <a:pt x="3" y="554"/>
                </a:lnTo>
                <a:lnTo>
                  <a:pt x="8" y="547"/>
                </a:lnTo>
                <a:lnTo>
                  <a:pt x="17" y="540"/>
                </a:lnTo>
                <a:lnTo>
                  <a:pt x="27" y="533"/>
                </a:lnTo>
                <a:lnTo>
                  <a:pt x="36" y="525"/>
                </a:lnTo>
                <a:lnTo>
                  <a:pt x="39" y="521"/>
                </a:lnTo>
                <a:lnTo>
                  <a:pt x="42" y="516"/>
                </a:lnTo>
                <a:lnTo>
                  <a:pt x="43" y="511"/>
                </a:lnTo>
                <a:lnTo>
                  <a:pt x="44" y="505"/>
                </a:lnTo>
                <a:lnTo>
                  <a:pt x="60" y="497"/>
                </a:lnTo>
                <a:lnTo>
                  <a:pt x="75" y="490"/>
                </a:lnTo>
                <a:lnTo>
                  <a:pt x="92" y="485"/>
                </a:lnTo>
                <a:lnTo>
                  <a:pt x="111" y="480"/>
                </a:lnTo>
                <a:lnTo>
                  <a:pt x="114" y="479"/>
                </a:lnTo>
                <a:lnTo>
                  <a:pt x="116" y="475"/>
                </a:lnTo>
                <a:lnTo>
                  <a:pt x="119" y="470"/>
                </a:lnTo>
                <a:lnTo>
                  <a:pt x="121" y="464"/>
                </a:lnTo>
                <a:lnTo>
                  <a:pt x="125" y="458"/>
                </a:lnTo>
                <a:lnTo>
                  <a:pt x="129" y="452"/>
                </a:lnTo>
                <a:lnTo>
                  <a:pt x="132" y="447"/>
                </a:lnTo>
                <a:lnTo>
                  <a:pt x="138" y="444"/>
                </a:lnTo>
                <a:lnTo>
                  <a:pt x="152" y="440"/>
                </a:lnTo>
                <a:lnTo>
                  <a:pt x="162" y="439"/>
                </a:lnTo>
                <a:lnTo>
                  <a:pt x="168" y="438"/>
                </a:lnTo>
                <a:lnTo>
                  <a:pt x="174" y="439"/>
                </a:lnTo>
                <a:lnTo>
                  <a:pt x="179" y="439"/>
                </a:lnTo>
                <a:lnTo>
                  <a:pt x="186" y="440"/>
                </a:lnTo>
                <a:lnTo>
                  <a:pt x="196" y="439"/>
                </a:lnTo>
                <a:lnTo>
                  <a:pt x="210" y="438"/>
                </a:lnTo>
                <a:lnTo>
                  <a:pt x="220" y="434"/>
                </a:lnTo>
                <a:lnTo>
                  <a:pt x="228" y="429"/>
                </a:lnTo>
                <a:lnTo>
                  <a:pt x="235" y="424"/>
                </a:lnTo>
                <a:lnTo>
                  <a:pt x="241" y="418"/>
                </a:lnTo>
                <a:lnTo>
                  <a:pt x="251" y="405"/>
                </a:lnTo>
                <a:lnTo>
                  <a:pt x="257" y="394"/>
                </a:lnTo>
                <a:lnTo>
                  <a:pt x="261" y="387"/>
                </a:lnTo>
                <a:lnTo>
                  <a:pt x="265" y="379"/>
                </a:lnTo>
                <a:lnTo>
                  <a:pt x="272" y="371"/>
                </a:lnTo>
                <a:lnTo>
                  <a:pt x="278" y="363"/>
                </a:lnTo>
                <a:lnTo>
                  <a:pt x="296" y="347"/>
                </a:lnTo>
                <a:lnTo>
                  <a:pt x="316" y="329"/>
                </a:lnTo>
                <a:lnTo>
                  <a:pt x="335" y="310"/>
                </a:lnTo>
                <a:lnTo>
                  <a:pt x="354" y="293"/>
                </a:lnTo>
                <a:lnTo>
                  <a:pt x="363" y="284"/>
                </a:lnTo>
                <a:lnTo>
                  <a:pt x="370" y="276"/>
                </a:lnTo>
                <a:lnTo>
                  <a:pt x="377" y="266"/>
                </a:lnTo>
                <a:lnTo>
                  <a:pt x="384" y="258"/>
                </a:lnTo>
                <a:lnTo>
                  <a:pt x="351" y="252"/>
                </a:lnTo>
                <a:lnTo>
                  <a:pt x="324" y="246"/>
                </a:lnTo>
                <a:lnTo>
                  <a:pt x="300" y="240"/>
                </a:lnTo>
                <a:lnTo>
                  <a:pt x="278" y="234"/>
                </a:lnTo>
                <a:lnTo>
                  <a:pt x="257" y="228"/>
                </a:lnTo>
                <a:lnTo>
                  <a:pt x="235" y="223"/>
                </a:lnTo>
                <a:lnTo>
                  <a:pt x="211" y="216"/>
                </a:lnTo>
                <a:lnTo>
                  <a:pt x="184" y="209"/>
                </a:lnTo>
                <a:lnTo>
                  <a:pt x="177" y="205"/>
                </a:lnTo>
                <a:lnTo>
                  <a:pt x="165" y="198"/>
                </a:lnTo>
                <a:lnTo>
                  <a:pt x="149" y="187"/>
                </a:lnTo>
                <a:lnTo>
                  <a:pt x="131" y="173"/>
                </a:lnTo>
                <a:lnTo>
                  <a:pt x="121" y="164"/>
                </a:lnTo>
                <a:lnTo>
                  <a:pt x="112" y="154"/>
                </a:lnTo>
                <a:lnTo>
                  <a:pt x="104" y="144"/>
                </a:lnTo>
                <a:lnTo>
                  <a:pt x="96" y="133"/>
                </a:lnTo>
                <a:lnTo>
                  <a:pt x="89" y="121"/>
                </a:lnTo>
                <a:lnTo>
                  <a:pt x="84" y="109"/>
                </a:lnTo>
                <a:lnTo>
                  <a:pt x="79" y="94"/>
                </a:lnTo>
                <a:lnTo>
                  <a:pt x="77" y="80"/>
                </a:lnTo>
                <a:lnTo>
                  <a:pt x="69" y="86"/>
                </a:lnTo>
                <a:lnTo>
                  <a:pt x="64" y="88"/>
                </a:lnTo>
                <a:lnTo>
                  <a:pt x="65" y="87"/>
                </a:lnTo>
                <a:lnTo>
                  <a:pt x="69" y="83"/>
                </a:lnTo>
                <a:lnTo>
                  <a:pt x="78" y="73"/>
                </a:lnTo>
                <a:lnTo>
                  <a:pt x="84" y="6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405" name="Freeform 357"/>
          <p:cNvSpPr>
            <a:spLocks/>
          </p:cNvSpPr>
          <p:nvPr>
            <p:custDataLst>
              <p:tags r:id="rId260"/>
            </p:custDataLst>
          </p:nvPr>
        </p:nvSpPr>
        <p:spPr bwMode="auto">
          <a:xfrm>
            <a:off x="6573838" y="3262314"/>
            <a:ext cx="38100" cy="58737"/>
          </a:xfrm>
          <a:custGeom>
            <a:avLst/>
            <a:gdLst>
              <a:gd name="T0" fmla="*/ 59 w 86"/>
              <a:gd name="T1" fmla="*/ 0 h 97"/>
              <a:gd name="T2" fmla="*/ 56 w 86"/>
              <a:gd name="T3" fmla="*/ 2 h 97"/>
              <a:gd name="T4" fmla="*/ 52 w 86"/>
              <a:gd name="T5" fmla="*/ 3 h 97"/>
              <a:gd name="T6" fmla="*/ 46 w 86"/>
              <a:gd name="T7" fmla="*/ 3 h 97"/>
              <a:gd name="T8" fmla="*/ 40 w 86"/>
              <a:gd name="T9" fmla="*/ 3 h 97"/>
              <a:gd name="T10" fmla="*/ 33 w 86"/>
              <a:gd name="T11" fmla="*/ 3 h 97"/>
              <a:gd name="T12" fmla="*/ 27 w 86"/>
              <a:gd name="T13" fmla="*/ 3 h 97"/>
              <a:gd name="T14" fmla="*/ 23 w 86"/>
              <a:gd name="T15" fmla="*/ 4 h 97"/>
              <a:gd name="T16" fmla="*/ 20 w 86"/>
              <a:gd name="T17" fmla="*/ 6 h 97"/>
              <a:gd name="T18" fmla="*/ 16 w 86"/>
              <a:gd name="T19" fmla="*/ 9 h 97"/>
              <a:gd name="T20" fmla="*/ 13 w 86"/>
              <a:gd name="T21" fmla="*/ 12 h 97"/>
              <a:gd name="T22" fmla="*/ 11 w 86"/>
              <a:gd name="T23" fmla="*/ 15 h 97"/>
              <a:gd name="T24" fmla="*/ 8 w 86"/>
              <a:gd name="T25" fmla="*/ 20 h 97"/>
              <a:gd name="T26" fmla="*/ 4 w 86"/>
              <a:gd name="T27" fmla="*/ 29 h 97"/>
              <a:gd name="T28" fmla="*/ 2 w 86"/>
              <a:gd name="T29" fmla="*/ 38 h 97"/>
              <a:gd name="T30" fmla="*/ 0 w 86"/>
              <a:gd name="T31" fmla="*/ 57 h 97"/>
              <a:gd name="T32" fmla="*/ 0 w 86"/>
              <a:gd name="T33" fmla="*/ 75 h 97"/>
              <a:gd name="T34" fmla="*/ 0 w 86"/>
              <a:gd name="T35" fmla="*/ 81 h 97"/>
              <a:gd name="T36" fmla="*/ 1 w 86"/>
              <a:gd name="T37" fmla="*/ 86 h 97"/>
              <a:gd name="T38" fmla="*/ 3 w 86"/>
              <a:gd name="T39" fmla="*/ 90 h 97"/>
              <a:gd name="T40" fmla="*/ 7 w 86"/>
              <a:gd name="T41" fmla="*/ 93 h 97"/>
              <a:gd name="T42" fmla="*/ 10 w 86"/>
              <a:gd name="T43" fmla="*/ 95 h 97"/>
              <a:gd name="T44" fmla="*/ 13 w 86"/>
              <a:gd name="T45" fmla="*/ 96 h 97"/>
              <a:gd name="T46" fmla="*/ 18 w 86"/>
              <a:gd name="T47" fmla="*/ 97 h 97"/>
              <a:gd name="T48" fmla="*/ 21 w 86"/>
              <a:gd name="T49" fmla="*/ 97 h 97"/>
              <a:gd name="T50" fmla="*/ 40 w 86"/>
              <a:gd name="T51" fmla="*/ 95 h 97"/>
              <a:gd name="T52" fmla="*/ 53 w 86"/>
              <a:gd name="T53" fmla="*/ 93 h 97"/>
              <a:gd name="T54" fmla="*/ 86 w 86"/>
              <a:gd name="T55" fmla="*/ 68 h 97"/>
              <a:gd name="T56" fmla="*/ 59 w 86"/>
              <a:gd name="T57" fmla="*/ 0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" h="97">
                <a:moveTo>
                  <a:pt x="59" y="0"/>
                </a:moveTo>
                <a:lnTo>
                  <a:pt x="56" y="2"/>
                </a:lnTo>
                <a:lnTo>
                  <a:pt x="52" y="3"/>
                </a:lnTo>
                <a:lnTo>
                  <a:pt x="46" y="3"/>
                </a:lnTo>
                <a:lnTo>
                  <a:pt x="40" y="3"/>
                </a:lnTo>
                <a:lnTo>
                  <a:pt x="33" y="3"/>
                </a:lnTo>
                <a:lnTo>
                  <a:pt x="27" y="3"/>
                </a:lnTo>
                <a:lnTo>
                  <a:pt x="23" y="4"/>
                </a:lnTo>
                <a:lnTo>
                  <a:pt x="20" y="6"/>
                </a:lnTo>
                <a:lnTo>
                  <a:pt x="16" y="9"/>
                </a:lnTo>
                <a:lnTo>
                  <a:pt x="13" y="12"/>
                </a:lnTo>
                <a:lnTo>
                  <a:pt x="11" y="15"/>
                </a:lnTo>
                <a:lnTo>
                  <a:pt x="8" y="20"/>
                </a:lnTo>
                <a:lnTo>
                  <a:pt x="4" y="29"/>
                </a:lnTo>
                <a:lnTo>
                  <a:pt x="2" y="38"/>
                </a:lnTo>
                <a:lnTo>
                  <a:pt x="0" y="57"/>
                </a:lnTo>
                <a:lnTo>
                  <a:pt x="0" y="75"/>
                </a:lnTo>
                <a:lnTo>
                  <a:pt x="0" y="81"/>
                </a:lnTo>
                <a:lnTo>
                  <a:pt x="1" y="86"/>
                </a:lnTo>
                <a:lnTo>
                  <a:pt x="3" y="90"/>
                </a:lnTo>
                <a:lnTo>
                  <a:pt x="7" y="93"/>
                </a:lnTo>
                <a:lnTo>
                  <a:pt x="10" y="95"/>
                </a:lnTo>
                <a:lnTo>
                  <a:pt x="13" y="96"/>
                </a:lnTo>
                <a:lnTo>
                  <a:pt x="18" y="97"/>
                </a:lnTo>
                <a:lnTo>
                  <a:pt x="21" y="97"/>
                </a:lnTo>
                <a:lnTo>
                  <a:pt x="40" y="95"/>
                </a:lnTo>
                <a:lnTo>
                  <a:pt x="53" y="93"/>
                </a:lnTo>
                <a:lnTo>
                  <a:pt x="86" y="68"/>
                </a:lnTo>
                <a:lnTo>
                  <a:pt x="59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406" name="Freeform 358"/>
          <p:cNvSpPr>
            <a:spLocks/>
          </p:cNvSpPr>
          <p:nvPr>
            <p:custDataLst>
              <p:tags r:id="rId261"/>
            </p:custDataLst>
          </p:nvPr>
        </p:nvSpPr>
        <p:spPr bwMode="auto">
          <a:xfrm>
            <a:off x="6372225" y="3173414"/>
            <a:ext cx="363538" cy="376237"/>
          </a:xfrm>
          <a:custGeom>
            <a:avLst/>
            <a:gdLst>
              <a:gd name="T0" fmla="*/ 182 w 845"/>
              <a:gd name="T1" fmla="*/ 36 h 720"/>
              <a:gd name="T2" fmla="*/ 205 w 845"/>
              <a:gd name="T3" fmla="*/ 28 h 720"/>
              <a:gd name="T4" fmla="*/ 247 w 845"/>
              <a:gd name="T5" fmla="*/ 0 h 720"/>
              <a:gd name="T6" fmla="*/ 273 w 845"/>
              <a:gd name="T7" fmla="*/ 12 h 720"/>
              <a:gd name="T8" fmla="*/ 327 w 845"/>
              <a:gd name="T9" fmla="*/ 37 h 720"/>
              <a:gd name="T10" fmla="*/ 380 w 845"/>
              <a:gd name="T11" fmla="*/ 67 h 720"/>
              <a:gd name="T12" fmla="*/ 426 w 845"/>
              <a:gd name="T13" fmla="*/ 98 h 720"/>
              <a:gd name="T14" fmla="*/ 442 w 845"/>
              <a:gd name="T15" fmla="*/ 125 h 720"/>
              <a:gd name="T16" fmla="*/ 443 w 845"/>
              <a:gd name="T17" fmla="*/ 140 h 720"/>
              <a:gd name="T18" fmla="*/ 458 w 845"/>
              <a:gd name="T19" fmla="*/ 147 h 720"/>
              <a:gd name="T20" fmla="*/ 499 w 845"/>
              <a:gd name="T21" fmla="*/ 178 h 720"/>
              <a:gd name="T22" fmla="*/ 506 w 845"/>
              <a:gd name="T23" fmla="*/ 172 h 720"/>
              <a:gd name="T24" fmla="*/ 488 w 845"/>
              <a:gd name="T25" fmla="*/ 184 h 720"/>
              <a:gd name="T26" fmla="*/ 481 w 845"/>
              <a:gd name="T27" fmla="*/ 202 h 720"/>
              <a:gd name="T28" fmla="*/ 481 w 845"/>
              <a:gd name="T29" fmla="*/ 252 h 720"/>
              <a:gd name="T30" fmla="*/ 493 w 845"/>
              <a:gd name="T31" fmla="*/ 264 h 720"/>
              <a:gd name="T32" fmla="*/ 526 w 845"/>
              <a:gd name="T33" fmla="*/ 265 h 720"/>
              <a:gd name="T34" fmla="*/ 545 w 845"/>
              <a:gd name="T35" fmla="*/ 319 h 720"/>
              <a:gd name="T36" fmla="*/ 583 w 845"/>
              <a:gd name="T37" fmla="*/ 361 h 720"/>
              <a:gd name="T38" fmla="*/ 645 w 845"/>
              <a:gd name="T39" fmla="*/ 400 h 720"/>
              <a:gd name="T40" fmla="*/ 738 w 845"/>
              <a:gd name="T41" fmla="*/ 430 h 720"/>
              <a:gd name="T42" fmla="*/ 845 w 845"/>
              <a:gd name="T43" fmla="*/ 449 h 720"/>
              <a:gd name="T44" fmla="*/ 811 w 845"/>
              <a:gd name="T45" fmla="*/ 482 h 720"/>
              <a:gd name="T46" fmla="*/ 731 w 845"/>
              <a:gd name="T47" fmla="*/ 547 h 720"/>
              <a:gd name="T48" fmla="*/ 712 w 845"/>
              <a:gd name="T49" fmla="*/ 579 h 720"/>
              <a:gd name="T50" fmla="*/ 697 w 845"/>
              <a:gd name="T51" fmla="*/ 617 h 720"/>
              <a:gd name="T52" fmla="*/ 674 w 845"/>
              <a:gd name="T53" fmla="*/ 629 h 720"/>
              <a:gd name="T54" fmla="*/ 580 w 845"/>
              <a:gd name="T55" fmla="*/ 655 h 720"/>
              <a:gd name="T56" fmla="*/ 559 w 845"/>
              <a:gd name="T57" fmla="*/ 671 h 720"/>
              <a:gd name="T58" fmla="*/ 525 w 845"/>
              <a:gd name="T59" fmla="*/ 681 h 720"/>
              <a:gd name="T60" fmla="*/ 482 w 845"/>
              <a:gd name="T61" fmla="*/ 693 h 720"/>
              <a:gd name="T62" fmla="*/ 461 w 845"/>
              <a:gd name="T63" fmla="*/ 680 h 720"/>
              <a:gd name="T64" fmla="*/ 427 w 845"/>
              <a:gd name="T65" fmla="*/ 679 h 720"/>
              <a:gd name="T66" fmla="*/ 405 w 845"/>
              <a:gd name="T67" fmla="*/ 699 h 720"/>
              <a:gd name="T68" fmla="*/ 390 w 845"/>
              <a:gd name="T69" fmla="*/ 714 h 720"/>
              <a:gd name="T70" fmla="*/ 360 w 845"/>
              <a:gd name="T71" fmla="*/ 720 h 720"/>
              <a:gd name="T72" fmla="*/ 318 w 845"/>
              <a:gd name="T73" fmla="*/ 714 h 720"/>
              <a:gd name="T74" fmla="*/ 289 w 845"/>
              <a:gd name="T75" fmla="*/ 698 h 720"/>
              <a:gd name="T76" fmla="*/ 246 w 845"/>
              <a:gd name="T77" fmla="*/ 671 h 720"/>
              <a:gd name="T78" fmla="*/ 181 w 845"/>
              <a:gd name="T79" fmla="*/ 661 h 720"/>
              <a:gd name="T80" fmla="*/ 140 w 845"/>
              <a:gd name="T81" fmla="*/ 653 h 720"/>
              <a:gd name="T82" fmla="*/ 151 w 845"/>
              <a:gd name="T83" fmla="*/ 614 h 720"/>
              <a:gd name="T84" fmla="*/ 127 w 845"/>
              <a:gd name="T85" fmla="*/ 596 h 720"/>
              <a:gd name="T86" fmla="*/ 108 w 845"/>
              <a:gd name="T87" fmla="*/ 583 h 720"/>
              <a:gd name="T88" fmla="*/ 93 w 845"/>
              <a:gd name="T89" fmla="*/ 551 h 720"/>
              <a:gd name="T90" fmla="*/ 77 w 845"/>
              <a:gd name="T91" fmla="*/ 511 h 720"/>
              <a:gd name="T92" fmla="*/ 49 w 845"/>
              <a:gd name="T93" fmla="*/ 489 h 720"/>
              <a:gd name="T94" fmla="*/ 16 w 845"/>
              <a:gd name="T95" fmla="*/ 477 h 720"/>
              <a:gd name="T96" fmla="*/ 5 w 845"/>
              <a:gd name="T97" fmla="*/ 472 h 720"/>
              <a:gd name="T98" fmla="*/ 2 w 845"/>
              <a:gd name="T99" fmla="*/ 448 h 720"/>
              <a:gd name="T100" fmla="*/ 21 w 845"/>
              <a:gd name="T101" fmla="*/ 422 h 720"/>
              <a:gd name="T102" fmla="*/ 55 w 845"/>
              <a:gd name="T103" fmla="*/ 413 h 720"/>
              <a:gd name="T104" fmla="*/ 67 w 845"/>
              <a:gd name="T105" fmla="*/ 321 h 720"/>
              <a:gd name="T106" fmla="*/ 82 w 845"/>
              <a:gd name="T107" fmla="*/ 275 h 720"/>
              <a:gd name="T108" fmla="*/ 95 w 845"/>
              <a:gd name="T109" fmla="*/ 260 h 720"/>
              <a:gd name="T110" fmla="*/ 103 w 845"/>
              <a:gd name="T111" fmla="*/ 236 h 720"/>
              <a:gd name="T112" fmla="*/ 116 w 845"/>
              <a:gd name="T113" fmla="*/ 206 h 720"/>
              <a:gd name="T114" fmla="*/ 148 w 845"/>
              <a:gd name="T115" fmla="*/ 178 h 720"/>
              <a:gd name="T116" fmla="*/ 167 w 845"/>
              <a:gd name="T117" fmla="*/ 16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845" h="720">
                <a:moveTo>
                  <a:pt x="174" y="25"/>
                </a:moveTo>
                <a:lnTo>
                  <a:pt x="175" y="27"/>
                </a:lnTo>
                <a:lnTo>
                  <a:pt x="179" y="33"/>
                </a:lnTo>
                <a:lnTo>
                  <a:pt x="182" y="36"/>
                </a:lnTo>
                <a:lnTo>
                  <a:pt x="185" y="38"/>
                </a:lnTo>
                <a:lnTo>
                  <a:pt x="189" y="38"/>
                </a:lnTo>
                <a:lnTo>
                  <a:pt x="194" y="37"/>
                </a:lnTo>
                <a:lnTo>
                  <a:pt x="205" y="28"/>
                </a:lnTo>
                <a:lnTo>
                  <a:pt x="218" y="19"/>
                </a:lnTo>
                <a:lnTo>
                  <a:pt x="229" y="14"/>
                </a:lnTo>
                <a:lnTo>
                  <a:pt x="234" y="12"/>
                </a:lnTo>
                <a:lnTo>
                  <a:pt x="247" y="0"/>
                </a:lnTo>
                <a:lnTo>
                  <a:pt x="250" y="1"/>
                </a:lnTo>
                <a:lnTo>
                  <a:pt x="258" y="6"/>
                </a:lnTo>
                <a:lnTo>
                  <a:pt x="267" y="10"/>
                </a:lnTo>
                <a:lnTo>
                  <a:pt x="273" y="12"/>
                </a:lnTo>
                <a:lnTo>
                  <a:pt x="284" y="15"/>
                </a:lnTo>
                <a:lnTo>
                  <a:pt x="300" y="21"/>
                </a:lnTo>
                <a:lnTo>
                  <a:pt x="316" y="31"/>
                </a:lnTo>
                <a:lnTo>
                  <a:pt x="327" y="37"/>
                </a:lnTo>
                <a:lnTo>
                  <a:pt x="337" y="41"/>
                </a:lnTo>
                <a:lnTo>
                  <a:pt x="353" y="50"/>
                </a:lnTo>
                <a:lnTo>
                  <a:pt x="370" y="60"/>
                </a:lnTo>
                <a:lnTo>
                  <a:pt x="380" y="67"/>
                </a:lnTo>
                <a:lnTo>
                  <a:pt x="393" y="76"/>
                </a:lnTo>
                <a:lnTo>
                  <a:pt x="406" y="86"/>
                </a:lnTo>
                <a:lnTo>
                  <a:pt x="419" y="95"/>
                </a:lnTo>
                <a:lnTo>
                  <a:pt x="426" y="98"/>
                </a:lnTo>
                <a:lnTo>
                  <a:pt x="430" y="105"/>
                </a:lnTo>
                <a:lnTo>
                  <a:pt x="440" y="116"/>
                </a:lnTo>
                <a:lnTo>
                  <a:pt x="441" y="121"/>
                </a:lnTo>
                <a:lnTo>
                  <a:pt x="442" y="125"/>
                </a:lnTo>
                <a:lnTo>
                  <a:pt x="443" y="130"/>
                </a:lnTo>
                <a:lnTo>
                  <a:pt x="443" y="134"/>
                </a:lnTo>
                <a:lnTo>
                  <a:pt x="443" y="137"/>
                </a:lnTo>
                <a:lnTo>
                  <a:pt x="443" y="140"/>
                </a:lnTo>
                <a:lnTo>
                  <a:pt x="444" y="141"/>
                </a:lnTo>
                <a:lnTo>
                  <a:pt x="447" y="142"/>
                </a:lnTo>
                <a:lnTo>
                  <a:pt x="450" y="143"/>
                </a:lnTo>
                <a:lnTo>
                  <a:pt x="458" y="147"/>
                </a:lnTo>
                <a:lnTo>
                  <a:pt x="466" y="153"/>
                </a:lnTo>
                <a:lnTo>
                  <a:pt x="475" y="160"/>
                </a:lnTo>
                <a:lnTo>
                  <a:pt x="492" y="172"/>
                </a:lnTo>
                <a:lnTo>
                  <a:pt x="499" y="178"/>
                </a:lnTo>
                <a:lnTo>
                  <a:pt x="500" y="175"/>
                </a:lnTo>
                <a:lnTo>
                  <a:pt x="503" y="173"/>
                </a:lnTo>
                <a:lnTo>
                  <a:pt x="505" y="172"/>
                </a:lnTo>
                <a:lnTo>
                  <a:pt x="506" y="172"/>
                </a:lnTo>
                <a:lnTo>
                  <a:pt x="500" y="174"/>
                </a:lnTo>
                <a:lnTo>
                  <a:pt x="495" y="177"/>
                </a:lnTo>
                <a:lnTo>
                  <a:pt x="492" y="181"/>
                </a:lnTo>
                <a:lnTo>
                  <a:pt x="488" y="184"/>
                </a:lnTo>
                <a:lnTo>
                  <a:pt x="485" y="189"/>
                </a:lnTo>
                <a:lnTo>
                  <a:pt x="483" y="193"/>
                </a:lnTo>
                <a:lnTo>
                  <a:pt x="482" y="197"/>
                </a:lnTo>
                <a:lnTo>
                  <a:pt x="481" y="202"/>
                </a:lnTo>
                <a:lnTo>
                  <a:pt x="478" y="221"/>
                </a:lnTo>
                <a:lnTo>
                  <a:pt x="480" y="240"/>
                </a:lnTo>
                <a:lnTo>
                  <a:pt x="480" y="247"/>
                </a:lnTo>
                <a:lnTo>
                  <a:pt x="481" y="252"/>
                </a:lnTo>
                <a:lnTo>
                  <a:pt x="483" y="256"/>
                </a:lnTo>
                <a:lnTo>
                  <a:pt x="486" y="260"/>
                </a:lnTo>
                <a:lnTo>
                  <a:pt x="488" y="262"/>
                </a:lnTo>
                <a:lnTo>
                  <a:pt x="493" y="264"/>
                </a:lnTo>
                <a:lnTo>
                  <a:pt x="496" y="265"/>
                </a:lnTo>
                <a:lnTo>
                  <a:pt x="500" y="266"/>
                </a:lnTo>
                <a:lnTo>
                  <a:pt x="516" y="266"/>
                </a:lnTo>
                <a:lnTo>
                  <a:pt x="526" y="265"/>
                </a:lnTo>
                <a:lnTo>
                  <a:pt x="528" y="279"/>
                </a:lnTo>
                <a:lnTo>
                  <a:pt x="532" y="293"/>
                </a:lnTo>
                <a:lnTo>
                  <a:pt x="538" y="307"/>
                </a:lnTo>
                <a:lnTo>
                  <a:pt x="545" y="319"/>
                </a:lnTo>
                <a:lnTo>
                  <a:pt x="554" y="330"/>
                </a:lnTo>
                <a:lnTo>
                  <a:pt x="563" y="341"/>
                </a:lnTo>
                <a:lnTo>
                  <a:pt x="573" y="351"/>
                </a:lnTo>
                <a:lnTo>
                  <a:pt x="583" y="361"/>
                </a:lnTo>
                <a:lnTo>
                  <a:pt x="604" y="376"/>
                </a:lnTo>
                <a:lnTo>
                  <a:pt x="622" y="388"/>
                </a:lnTo>
                <a:lnTo>
                  <a:pt x="637" y="396"/>
                </a:lnTo>
                <a:lnTo>
                  <a:pt x="645" y="400"/>
                </a:lnTo>
                <a:lnTo>
                  <a:pt x="673" y="408"/>
                </a:lnTo>
                <a:lnTo>
                  <a:pt x="696" y="417"/>
                </a:lnTo>
                <a:lnTo>
                  <a:pt x="718" y="424"/>
                </a:lnTo>
                <a:lnTo>
                  <a:pt x="738" y="430"/>
                </a:lnTo>
                <a:lnTo>
                  <a:pt x="758" y="435"/>
                </a:lnTo>
                <a:lnTo>
                  <a:pt x="783" y="440"/>
                </a:lnTo>
                <a:lnTo>
                  <a:pt x="811" y="445"/>
                </a:lnTo>
                <a:lnTo>
                  <a:pt x="845" y="449"/>
                </a:lnTo>
                <a:lnTo>
                  <a:pt x="838" y="457"/>
                </a:lnTo>
                <a:lnTo>
                  <a:pt x="830" y="465"/>
                </a:lnTo>
                <a:lnTo>
                  <a:pt x="821" y="474"/>
                </a:lnTo>
                <a:lnTo>
                  <a:pt x="811" y="482"/>
                </a:lnTo>
                <a:lnTo>
                  <a:pt x="790" y="498"/>
                </a:lnTo>
                <a:lnTo>
                  <a:pt x="768" y="514"/>
                </a:lnTo>
                <a:lnTo>
                  <a:pt x="749" y="531"/>
                </a:lnTo>
                <a:lnTo>
                  <a:pt x="731" y="547"/>
                </a:lnTo>
                <a:lnTo>
                  <a:pt x="723" y="555"/>
                </a:lnTo>
                <a:lnTo>
                  <a:pt x="718" y="562"/>
                </a:lnTo>
                <a:lnTo>
                  <a:pt x="715" y="570"/>
                </a:lnTo>
                <a:lnTo>
                  <a:pt x="712" y="579"/>
                </a:lnTo>
                <a:lnTo>
                  <a:pt x="709" y="592"/>
                </a:lnTo>
                <a:lnTo>
                  <a:pt x="706" y="602"/>
                </a:lnTo>
                <a:lnTo>
                  <a:pt x="701" y="610"/>
                </a:lnTo>
                <a:lnTo>
                  <a:pt x="697" y="617"/>
                </a:lnTo>
                <a:lnTo>
                  <a:pt x="693" y="622"/>
                </a:lnTo>
                <a:lnTo>
                  <a:pt x="686" y="625"/>
                </a:lnTo>
                <a:lnTo>
                  <a:pt x="681" y="628"/>
                </a:lnTo>
                <a:lnTo>
                  <a:pt x="674" y="629"/>
                </a:lnTo>
                <a:lnTo>
                  <a:pt x="643" y="630"/>
                </a:lnTo>
                <a:lnTo>
                  <a:pt x="606" y="635"/>
                </a:lnTo>
                <a:lnTo>
                  <a:pt x="594" y="643"/>
                </a:lnTo>
                <a:lnTo>
                  <a:pt x="580" y="655"/>
                </a:lnTo>
                <a:lnTo>
                  <a:pt x="573" y="661"/>
                </a:lnTo>
                <a:lnTo>
                  <a:pt x="567" y="666"/>
                </a:lnTo>
                <a:lnTo>
                  <a:pt x="563" y="670"/>
                </a:lnTo>
                <a:lnTo>
                  <a:pt x="559" y="671"/>
                </a:lnTo>
                <a:lnTo>
                  <a:pt x="548" y="673"/>
                </a:lnTo>
                <a:lnTo>
                  <a:pt x="539" y="676"/>
                </a:lnTo>
                <a:lnTo>
                  <a:pt x="531" y="678"/>
                </a:lnTo>
                <a:lnTo>
                  <a:pt x="525" y="681"/>
                </a:lnTo>
                <a:lnTo>
                  <a:pt x="513" y="687"/>
                </a:lnTo>
                <a:lnTo>
                  <a:pt x="499" y="696"/>
                </a:lnTo>
                <a:lnTo>
                  <a:pt x="488" y="696"/>
                </a:lnTo>
                <a:lnTo>
                  <a:pt x="482" y="693"/>
                </a:lnTo>
                <a:lnTo>
                  <a:pt x="476" y="691"/>
                </a:lnTo>
                <a:lnTo>
                  <a:pt x="472" y="686"/>
                </a:lnTo>
                <a:lnTo>
                  <a:pt x="468" y="683"/>
                </a:lnTo>
                <a:lnTo>
                  <a:pt x="461" y="680"/>
                </a:lnTo>
                <a:lnTo>
                  <a:pt x="452" y="678"/>
                </a:lnTo>
                <a:lnTo>
                  <a:pt x="440" y="677"/>
                </a:lnTo>
                <a:lnTo>
                  <a:pt x="432" y="678"/>
                </a:lnTo>
                <a:lnTo>
                  <a:pt x="427" y="679"/>
                </a:lnTo>
                <a:lnTo>
                  <a:pt x="421" y="681"/>
                </a:lnTo>
                <a:lnTo>
                  <a:pt x="418" y="684"/>
                </a:lnTo>
                <a:lnTo>
                  <a:pt x="410" y="692"/>
                </a:lnTo>
                <a:lnTo>
                  <a:pt x="405" y="699"/>
                </a:lnTo>
                <a:lnTo>
                  <a:pt x="402" y="703"/>
                </a:lnTo>
                <a:lnTo>
                  <a:pt x="398" y="707"/>
                </a:lnTo>
                <a:lnTo>
                  <a:pt x="394" y="711"/>
                </a:lnTo>
                <a:lnTo>
                  <a:pt x="390" y="714"/>
                </a:lnTo>
                <a:lnTo>
                  <a:pt x="383" y="717"/>
                </a:lnTo>
                <a:lnTo>
                  <a:pt x="376" y="719"/>
                </a:lnTo>
                <a:lnTo>
                  <a:pt x="369" y="720"/>
                </a:lnTo>
                <a:lnTo>
                  <a:pt x="360" y="720"/>
                </a:lnTo>
                <a:lnTo>
                  <a:pt x="348" y="720"/>
                </a:lnTo>
                <a:lnTo>
                  <a:pt x="337" y="719"/>
                </a:lnTo>
                <a:lnTo>
                  <a:pt x="327" y="717"/>
                </a:lnTo>
                <a:lnTo>
                  <a:pt x="318" y="714"/>
                </a:lnTo>
                <a:lnTo>
                  <a:pt x="310" y="710"/>
                </a:lnTo>
                <a:lnTo>
                  <a:pt x="303" y="706"/>
                </a:lnTo>
                <a:lnTo>
                  <a:pt x="295" y="702"/>
                </a:lnTo>
                <a:lnTo>
                  <a:pt x="289" y="698"/>
                </a:lnTo>
                <a:lnTo>
                  <a:pt x="275" y="688"/>
                </a:lnTo>
                <a:lnTo>
                  <a:pt x="261" y="679"/>
                </a:lnTo>
                <a:lnTo>
                  <a:pt x="253" y="675"/>
                </a:lnTo>
                <a:lnTo>
                  <a:pt x="246" y="671"/>
                </a:lnTo>
                <a:lnTo>
                  <a:pt x="237" y="668"/>
                </a:lnTo>
                <a:lnTo>
                  <a:pt x="227" y="665"/>
                </a:lnTo>
                <a:lnTo>
                  <a:pt x="205" y="662"/>
                </a:lnTo>
                <a:lnTo>
                  <a:pt x="181" y="661"/>
                </a:lnTo>
                <a:lnTo>
                  <a:pt x="170" y="660"/>
                </a:lnTo>
                <a:lnTo>
                  <a:pt x="159" y="659"/>
                </a:lnTo>
                <a:lnTo>
                  <a:pt x="149" y="657"/>
                </a:lnTo>
                <a:lnTo>
                  <a:pt x="140" y="653"/>
                </a:lnTo>
                <a:lnTo>
                  <a:pt x="149" y="632"/>
                </a:lnTo>
                <a:lnTo>
                  <a:pt x="153" y="622"/>
                </a:lnTo>
                <a:lnTo>
                  <a:pt x="152" y="618"/>
                </a:lnTo>
                <a:lnTo>
                  <a:pt x="151" y="614"/>
                </a:lnTo>
                <a:lnTo>
                  <a:pt x="147" y="607"/>
                </a:lnTo>
                <a:lnTo>
                  <a:pt x="140" y="597"/>
                </a:lnTo>
                <a:lnTo>
                  <a:pt x="134" y="597"/>
                </a:lnTo>
                <a:lnTo>
                  <a:pt x="127" y="596"/>
                </a:lnTo>
                <a:lnTo>
                  <a:pt x="122" y="593"/>
                </a:lnTo>
                <a:lnTo>
                  <a:pt x="116" y="590"/>
                </a:lnTo>
                <a:lnTo>
                  <a:pt x="112" y="587"/>
                </a:lnTo>
                <a:lnTo>
                  <a:pt x="108" y="583"/>
                </a:lnTo>
                <a:lnTo>
                  <a:pt x="104" y="577"/>
                </a:lnTo>
                <a:lnTo>
                  <a:pt x="102" y="572"/>
                </a:lnTo>
                <a:lnTo>
                  <a:pt x="96" y="562"/>
                </a:lnTo>
                <a:lnTo>
                  <a:pt x="93" y="551"/>
                </a:lnTo>
                <a:lnTo>
                  <a:pt x="90" y="540"/>
                </a:lnTo>
                <a:lnTo>
                  <a:pt x="88" y="530"/>
                </a:lnTo>
                <a:lnTo>
                  <a:pt x="82" y="519"/>
                </a:lnTo>
                <a:lnTo>
                  <a:pt x="77" y="511"/>
                </a:lnTo>
                <a:lnTo>
                  <a:pt x="70" y="505"/>
                </a:lnTo>
                <a:lnTo>
                  <a:pt x="63" y="499"/>
                </a:lnTo>
                <a:lnTo>
                  <a:pt x="57" y="494"/>
                </a:lnTo>
                <a:lnTo>
                  <a:pt x="49" y="489"/>
                </a:lnTo>
                <a:lnTo>
                  <a:pt x="41" y="483"/>
                </a:lnTo>
                <a:lnTo>
                  <a:pt x="34" y="474"/>
                </a:lnTo>
                <a:lnTo>
                  <a:pt x="24" y="477"/>
                </a:lnTo>
                <a:lnTo>
                  <a:pt x="16" y="477"/>
                </a:lnTo>
                <a:lnTo>
                  <a:pt x="12" y="476"/>
                </a:lnTo>
                <a:lnTo>
                  <a:pt x="10" y="475"/>
                </a:lnTo>
                <a:lnTo>
                  <a:pt x="6" y="474"/>
                </a:lnTo>
                <a:lnTo>
                  <a:pt x="5" y="472"/>
                </a:lnTo>
                <a:lnTo>
                  <a:pt x="2" y="467"/>
                </a:lnTo>
                <a:lnTo>
                  <a:pt x="0" y="461"/>
                </a:lnTo>
                <a:lnTo>
                  <a:pt x="1" y="454"/>
                </a:lnTo>
                <a:lnTo>
                  <a:pt x="2" y="448"/>
                </a:lnTo>
                <a:lnTo>
                  <a:pt x="5" y="441"/>
                </a:lnTo>
                <a:lnTo>
                  <a:pt x="9" y="434"/>
                </a:lnTo>
                <a:lnTo>
                  <a:pt x="14" y="428"/>
                </a:lnTo>
                <a:lnTo>
                  <a:pt x="21" y="422"/>
                </a:lnTo>
                <a:lnTo>
                  <a:pt x="27" y="418"/>
                </a:lnTo>
                <a:lnTo>
                  <a:pt x="36" y="415"/>
                </a:lnTo>
                <a:lnTo>
                  <a:pt x="45" y="413"/>
                </a:lnTo>
                <a:lnTo>
                  <a:pt x="55" y="413"/>
                </a:lnTo>
                <a:lnTo>
                  <a:pt x="57" y="384"/>
                </a:lnTo>
                <a:lnTo>
                  <a:pt x="60" y="360"/>
                </a:lnTo>
                <a:lnTo>
                  <a:pt x="63" y="339"/>
                </a:lnTo>
                <a:lnTo>
                  <a:pt x="67" y="321"/>
                </a:lnTo>
                <a:lnTo>
                  <a:pt x="71" y="306"/>
                </a:lnTo>
                <a:lnTo>
                  <a:pt x="74" y="293"/>
                </a:lnTo>
                <a:lnTo>
                  <a:pt x="79" y="283"/>
                </a:lnTo>
                <a:lnTo>
                  <a:pt x="82" y="275"/>
                </a:lnTo>
                <a:lnTo>
                  <a:pt x="87" y="269"/>
                </a:lnTo>
                <a:lnTo>
                  <a:pt x="90" y="265"/>
                </a:lnTo>
                <a:lnTo>
                  <a:pt x="93" y="262"/>
                </a:lnTo>
                <a:lnTo>
                  <a:pt x="95" y="260"/>
                </a:lnTo>
                <a:lnTo>
                  <a:pt x="100" y="259"/>
                </a:lnTo>
                <a:lnTo>
                  <a:pt x="101" y="259"/>
                </a:lnTo>
                <a:lnTo>
                  <a:pt x="101" y="247"/>
                </a:lnTo>
                <a:lnTo>
                  <a:pt x="103" y="236"/>
                </a:lnTo>
                <a:lnTo>
                  <a:pt x="105" y="227"/>
                </a:lnTo>
                <a:lnTo>
                  <a:pt x="108" y="219"/>
                </a:lnTo>
                <a:lnTo>
                  <a:pt x="112" y="212"/>
                </a:lnTo>
                <a:lnTo>
                  <a:pt x="116" y="206"/>
                </a:lnTo>
                <a:lnTo>
                  <a:pt x="122" y="200"/>
                </a:lnTo>
                <a:lnTo>
                  <a:pt x="126" y="196"/>
                </a:lnTo>
                <a:lnTo>
                  <a:pt x="137" y="186"/>
                </a:lnTo>
                <a:lnTo>
                  <a:pt x="148" y="178"/>
                </a:lnTo>
                <a:lnTo>
                  <a:pt x="153" y="174"/>
                </a:lnTo>
                <a:lnTo>
                  <a:pt x="159" y="170"/>
                </a:lnTo>
                <a:lnTo>
                  <a:pt x="163" y="165"/>
                </a:lnTo>
                <a:lnTo>
                  <a:pt x="167" y="160"/>
                </a:lnTo>
                <a:lnTo>
                  <a:pt x="174" y="2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407" name="Line 359"/>
          <p:cNvSpPr>
            <a:spLocks noChangeShapeType="1"/>
          </p:cNvSpPr>
          <p:nvPr>
            <p:custDataLst>
              <p:tags r:id="rId262"/>
            </p:custDataLst>
          </p:nvPr>
        </p:nvSpPr>
        <p:spPr bwMode="auto">
          <a:xfrm flipH="1">
            <a:off x="3232151" y="3692525"/>
            <a:ext cx="4763" cy="7938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408" name="Freeform 360"/>
          <p:cNvSpPr>
            <a:spLocks/>
          </p:cNvSpPr>
          <p:nvPr>
            <p:custDataLst>
              <p:tags r:id="rId263"/>
            </p:custDataLst>
          </p:nvPr>
        </p:nvSpPr>
        <p:spPr bwMode="auto">
          <a:xfrm>
            <a:off x="3232150" y="3700464"/>
            <a:ext cx="12700" cy="58737"/>
          </a:xfrm>
          <a:custGeom>
            <a:avLst/>
            <a:gdLst>
              <a:gd name="T0" fmla="*/ 0 w 33"/>
              <a:gd name="T1" fmla="*/ 0 h 6"/>
              <a:gd name="T2" fmla="*/ 7 w 33"/>
              <a:gd name="T3" fmla="*/ 1 h 6"/>
              <a:gd name="T4" fmla="*/ 15 w 33"/>
              <a:gd name="T5" fmla="*/ 3 h 6"/>
              <a:gd name="T6" fmla="*/ 23 w 33"/>
              <a:gd name="T7" fmla="*/ 5 h 6"/>
              <a:gd name="T8" fmla="*/ 33 w 33"/>
              <a:gd name="T9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3" h="6">
                <a:moveTo>
                  <a:pt x="0" y="0"/>
                </a:moveTo>
                <a:lnTo>
                  <a:pt x="7" y="1"/>
                </a:lnTo>
                <a:lnTo>
                  <a:pt x="15" y="3"/>
                </a:lnTo>
                <a:lnTo>
                  <a:pt x="23" y="5"/>
                </a:lnTo>
                <a:lnTo>
                  <a:pt x="33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409" name="Freeform 361"/>
          <p:cNvSpPr>
            <a:spLocks/>
          </p:cNvSpPr>
          <p:nvPr>
            <p:custDataLst>
              <p:tags r:id="rId264"/>
            </p:custDataLst>
          </p:nvPr>
        </p:nvSpPr>
        <p:spPr bwMode="auto">
          <a:xfrm>
            <a:off x="3240088" y="3687763"/>
            <a:ext cx="4762" cy="57150"/>
          </a:xfrm>
          <a:custGeom>
            <a:avLst/>
            <a:gdLst>
              <a:gd name="T0" fmla="*/ 13 w 13"/>
              <a:gd name="T1" fmla="*/ 30 h 30"/>
              <a:gd name="T2" fmla="*/ 13 w 13"/>
              <a:gd name="T3" fmla="*/ 0 h 30"/>
              <a:gd name="T4" fmla="*/ 0 w 13"/>
              <a:gd name="T5" fmla="*/ 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3" h="30">
                <a:moveTo>
                  <a:pt x="13" y="30"/>
                </a:moveTo>
                <a:lnTo>
                  <a:pt x="13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grpSp>
        <p:nvGrpSpPr>
          <p:cNvPr id="2410" name="Group 362"/>
          <p:cNvGrpSpPr>
            <a:grpSpLocks/>
          </p:cNvGrpSpPr>
          <p:nvPr>
            <p:custDataLst>
              <p:tags r:id="rId265"/>
            </p:custDataLst>
          </p:nvPr>
        </p:nvGrpSpPr>
        <p:grpSpPr bwMode="auto">
          <a:xfrm>
            <a:off x="3232151" y="3622676"/>
            <a:ext cx="417513" cy="201613"/>
            <a:chOff x="912" y="2626"/>
            <a:chExt cx="311" cy="127"/>
          </a:xfrm>
        </p:grpSpPr>
        <p:sp>
          <p:nvSpPr>
            <p:cNvPr id="2411" name="Freeform 363"/>
            <p:cNvSpPr>
              <a:spLocks/>
            </p:cNvSpPr>
            <p:nvPr/>
          </p:nvSpPr>
          <p:spPr bwMode="auto">
            <a:xfrm>
              <a:off x="1110" y="2626"/>
              <a:ext cx="113" cy="127"/>
            </a:xfrm>
            <a:custGeom>
              <a:avLst/>
              <a:gdLst>
                <a:gd name="T0" fmla="*/ 312 w 352"/>
                <a:gd name="T1" fmla="*/ 79 h 387"/>
                <a:gd name="T2" fmla="*/ 286 w 352"/>
                <a:gd name="T3" fmla="*/ 79 h 387"/>
                <a:gd name="T4" fmla="*/ 265 w 352"/>
                <a:gd name="T5" fmla="*/ 79 h 387"/>
                <a:gd name="T6" fmla="*/ 249 w 352"/>
                <a:gd name="T7" fmla="*/ 74 h 387"/>
                <a:gd name="T8" fmla="*/ 222 w 352"/>
                <a:gd name="T9" fmla="*/ 59 h 387"/>
                <a:gd name="T10" fmla="*/ 168 w 352"/>
                <a:gd name="T11" fmla="*/ 20 h 387"/>
                <a:gd name="T12" fmla="*/ 137 w 352"/>
                <a:gd name="T13" fmla="*/ 6 h 387"/>
                <a:gd name="T14" fmla="*/ 129 w 352"/>
                <a:gd name="T15" fmla="*/ 19 h 387"/>
                <a:gd name="T16" fmla="*/ 119 w 352"/>
                <a:gd name="T17" fmla="*/ 29 h 387"/>
                <a:gd name="T18" fmla="*/ 107 w 352"/>
                <a:gd name="T19" fmla="*/ 35 h 387"/>
                <a:gd name="T20" fmla="*/ 86 w 352"/>
                <a:gd name="T21" fmla="*/ 56 h 387"/>
                <a:gd name="T22" fmla="*/ 53 w 352"/>
                <a:gd name="T23" fmla="*/ 97 h 387"/>
                <a:gd name="T24" fmla="*/ 30 w 352"/>
                <a:gd name="T25" fmla="*/ 131 h 387"/>
                <a:gd name="T26" fmla="*/ 17 w 352"/>
                <a:gd name="T27" fmla="*/ 154 h 387"/>
                <a:gd name="T28" fmla="*/ 7 w 352"/>
                <a:gd name="T29" fmla="*/ 177 h 387"/>
                <a:gd name="T30" fmla="*/ 0 w 352"/>
                <a:gd name="T31" fmla="*/ 198 h 387"/>
                <a:gd name="T32" fmla="*/ 0 w 352"/>
                <a:gd name="T33" fmla="*/ 213 h 387"/>
                <a:gd name="T34" fmla="*/ 3 w 352"/>
                <a:gd name="T35" fmla="*/ 222 h 387"/>
                <a:gd name="T36" fmla="*/ 9 w 352"/>
                <a:gd name="T37" fmla="*/ 231 h 387"/>
                <a:gd name="T38" fmla="*/ 24 w 352"/>
                <a:gd name="T39" fmla="*/ 241 h 387"/>
                <a:gd name="T40" fmla="*/ 39 w 352"/>
                <a:gd name="T41" fmla="*/ 245 h 387"/>
                <a:gd name="T42" fmla="*/ 52 w 352"/>
                <a:gd name="T43" fmla="*/ 245 h 387"/>
                <a:gd name="T44" fmla="*/ 63 w 352"/>
                <a:gd name="T45" fmla="*/ 241 h 387"/>
                <a:gd name="T46" fmla="*/ 73 w 352"/>
                <a:gd name="T47" fmla="*/ 236 h 387"/>
                <a:gd name="T48" fmla="*/ 78 w 352"/>
                <a:gd name="T49" fmla="*/ 236 h 387"/>
                <a:gd name="T50" fmla="*/ 80 w 352"/>
                <a:gd name="T51" fmla="*/ 238 h 387"/>
                <a:gd name="T52" fmla="*/ 80 w 352"/>
                <a:gd name="T53" fmla="*/ 257 h 387"/>
                <a:gd name="T54" fmla="*/ 76 w 352"/>
                <a:gd name="T55" fmla="*/ 279 h 387"/>
                <a:gd name="T56" fmla="*/ 71 w 352"/>
                <a:gd name="T57" fmla="*/ 290 h 387"/>
                <a:gd name="T58" fmla="*/ 73 w 352"/>
                <a:gd name="T59" fmla="*/ 307 h 387"/>
                <a:gd name="T60" fmla="*/ 80 w 352"/>
                <a:gd name="T61" fmla="*/ 331 h 387"/>
                <a:gd name="T62" fmla="*/ 89 w 352"/>
                <a:gd name="T63" fmla="*/ 351 h 387"/>
                <a:gd name="T64" fmla="*/ 122 w 352"/>
                <a:gd name="T65" fmla="*/ 373 h 387"/>
                <a:gd name="T66" fmla="*/ 142 w 352"/>
                <a:gd name="T67" fmla="*/ 385 h 387"/>
                <a:gd name="T68" fmla="*/ 152 w 352"/>
                <a:gd name="T69" fmla="*/ 386 h 387"/>
                <a:gd name="T70" fmla="*/ 163 w 352"/>
                <a:gd name="T71" fmla="*/ 377 h 387"/>
                <a:gd name="T72" fmla="*/ 173 w 352"/>
                <a:gd name="T73" fmla="*/ 363 h 387"/>
                <a:gd name="T74" fmla="*/ 178 w 352"/>
                <a:gd name="T75" fmla="*/ 350 h 387"/>
                <a:gd name="T76" fmla="*/ 181 w 352"/>
                <a:gd name="T77" fmla="*/ 338 h 387"/>
                <a:gd name="T78" fmla="*/ 184 w 352"/>
                <a:gd name="T79" fmla="*/ 323 h 387"/>
                <a:gd name="T80" fmla="*/ 195 w 352"/>
                <a:gd name="T81" fmla="*/ 304 h 387"/>
                <a:gd name="T82" fmla="*/ 216 w 352"/>
                <a:gd name="T83" fmla="*/ 281 h 387"/>
                <a:gd name="T84" fmla="*/ 238 w 352"/>
                <a:gd name="T85" fmla="*/ 263 h 387"/>
                <a:gd name="T86" fmla="*/ 264 w 352"/>
                <a:gd name="T87" fmla="*/ 249 h 387"/>
                <a:gd name="T88" fmla="*/ 300 w 352"/>
                <a:gd name="T89" fmla="*/ 229 h 387"/>
                <a:gd name="T90" fmla="*/ 324 w 352"/>
                <a:gd name="T91" fmla="*/ 212 h 387"/>
                <a:gd name="T92" fmla="*/ 338 w 352"/>
                <a:gd name="T93" fmla="*/ 199 h 387"/>
                <a:gd name="T94" fmla="*/ 346 w 352"/>
                <a:gd name="T95" fmla="*/ 185 h 387"/>
                <a:gd name="T96" fmla="*/ 352 w 352"/>
                <a:gd name="T97" fmla="*/ 169 h 387"/>
                <a:gd name="T98" fmla="*/ 351 w 352"/>
                <a:gd name="T99" fmla="*/ 149 h 387"/>
                <a:gd name="T100" fmla="*/ 344 w 352"/>
                <a:gd name="T101" fmla="*/ 125 h 387"/>
                <a:gd name="T102" fmla="*/ 330 w 352"/>
                <a:gd name="T103" fmla="*/ 91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52" h="387">
                  <a:moveTo>
                    <a:pt x="325" y="79"/>
                  </a:moveTo>
                  <a:lnTo>
                    <a:pt x="312" y="79"/>
                  </a:lnTo>
                  <a:lnTo>
                    <a:pt x="299" y="79"/>
                  </a:lnTo>
                  <a:lnTo>
                    <a:pt x="286" y="79"/>
                  </a:lnTo>
                  <a:lnTo>
                    <a:pt x="273" y="79"/>
                  </a:lnTo>
                  <a:lnTo>
                    <a:pt x="265" y="79"/>
                  </a:lnTo>
                  <a:lnTo>
                    <a:pt x="256" y="77"/>
                  </a:lnTo>
                  <a:lnTo>
                    <a:pt x="249" y="74"/>
                  </a:lnTo>
                  <a:lnTo>
                    <a:pt x="240" y="70"/>
                  </a:lnTo>
                  <a:lnTo>
                    <a:pt x="222" y="59"/>
                  </a:lnTo>
                  <a:lnTo>
                    <a:pt x="204" y="46"/>
                  </a:lnTo>
                  <a:lnTo>
                    <a:pt x="168" y="20"/>
                  </a:lnTo>
                  <a:lnTo>
                    <a:pt x="140" y="0"/>
                  </a:lnTo>
                  <a:lnTo>
                    <a:pt x="137" y="6"/>
                  </a:lnTo>
                  <a:lnTo>
                    <a:pt x="133" y="13"/>
                  </a:lnTo>
                  <a:lnTo>
                    <a:pt x="129" y="19"/>
                  </a:lnTo>
                  <a:lnTo>
                    <a:pt x="125" y="25"/>
                  </a:lnTo>
                  <a:lnTo>
                    <a:pt x="119" y="29"/>
                  </a:lnTo>
                  <a:lnTo>
                    <a:pt x="114" y="33"/>
                  </a:lnTo>
                  <a:lnTo>
                    <a:pt x="107" y="35"/>
                  </a:lnTo>
                  <a:lnTo>
                    <a:pt x="100" y="36"/>
                  </a:lnTo>
                  <a:lnTo>
                    <a:pt x="86" y="56"/>
                  </a:lnTo>
                  <a:lnTo>
                    <a:pt x="71" y="76"/>
                  </a:lnTo>
                  <a:lnTo>
                    <a:pt x="53" y="97"/>
                  </a:lnTo>
                  <a:lnTo>
                    <a:pt x="38" y="120"/>
                  </a:lnTo>
                  <a:lnTo>
                    <a:pt x="30" y="131"/>
                  </a:lnTo>
                  <a:lnTo>
                    <a:pt x="22" y="143"/>
                  </a:lnTo>
                  <a:lnTo>
                    <a:pt x="17" y="154"/>
                  </a:lnTo>
                  <a:lnTo>
                    <a:pt x="11" y="165"/>
                  </a:lnTo>
                  <a:lnTo>
                    <a:pt x="7" y="177"/>
                  </a:lnTo>
                  <a:lnTo>
                    <a:pt x="3" y="187"/>
                  </a:lnTo>
                  <a:lnTo>
                    <a:pt x="0" y="198"/>
                  </a:lnTo>
                  <a:lnTo>
                    <a:pt x="0" y="208"/>
                  </a:lnTo>
                  <a:lnTo>
                    <a:pt x="0" y="213"/>
                  </a:lnTo>
                  <a:lnTo>
                    <a:pt x="2" y="217"/>
                  </a:lnTo>
                  <a:lnTo>
                    <a:pt x="3" y="222"/>
                  </a:lnTo>
                  <a:lnTo>
                    <a:pt x="5" y="225"/>
                  </a:lnTo>
                  <a:lnTo>
                    <a:pt x="9" y="231"/>
                  </a:lnTo>
                  <a:lnTo>
                    <a:pt x="16" y="237"/>
                  </a:lnTo>
                  <a:lnTo>
                    <a:pt x="24" y="241"/>
                  </a:lnTo>
                  <a:lnTo>
                    <a:pt x="31" y="243"/>
                  </a:lnTo>
                  <a:lnTo>
                    <a:pt x="39" y="245"/>
                  </a:lnTo>
                  <a:lnTo>
                    <a:pt x="47" y="246"/>
                  </a:lnTo>
                  <a:lnTo>
                    <a:pt x="52" y="245"/>
                  </a:lnTo>
                  <a:lnTo>
                    <a:pt x="58" y="243"/>
                  </a:lnTo>
                  <a:lnTo>
                    <a:pt x="63" y="241"/>
                  </a:lnTo>
                  <a:lnTo>
                    <a:pt x="69" y="238"/>
                  </a:lnTo>
                  <a:lnTo>
                    <a:pt x="73" y="236"/>
                  </a:lnTo>
                  <a:lnTo>
                    <a:pt x="76" y="235"/>
                  </a:lnTo>
                  <a:lnTo>
                    <a:pt x="78" y="236"/>
                  </a:lnTo>
                  <a:lnTo>
                    <a:pt x="80" y="236"/>
                  </a:lnTo>
                  <a:lnTo>
                    <a:pt x="80" y="238"/>
                  </a:lnTo>
                  <a:lnTo>
                    <a:pt x="80" y="240"/>
                  </a:lnTo>
                  <a:lnTo>
                    <a:pt x="80" y="257"/>
                  </a:lnTo>
                  <a:lnTo>
                    <a:pt x="78" y="271"/>
                  </a:lnTo>
                  <a:lnTo>
                    <a:pt x="76" y="279"/>
                  </a:lnTo>
                  <a:lnTo>
                    <a:pt x="74" y="285"/>
                  </a:lnTo>
                  <a:lnTo>
                    <a:pt x="71" y="290"/>
                  </a:lnTo>
                  <a:lnTo>
                    <a:pt x="66" y="295"/>
                  </a:lnTo>
                  <a:lnTo>
                    <a:pt x="73" y="307"/>
                  </a:lnTo>
                  <a:lnTo>
                    <a:pt x="80" y="319"/>
                  </a:lnTo>
                  <a:lnTo>
                    <a:pt x="80" y="331"/>
                  </a:lnTo>
                  <a:lnTo>
                    <a:pt x="80" y="344"/>
                  </a:lnTo>
                  <a:lnTo>
                    <a:pt x="89" y="351"/>
                  </a:lnTo>
                  <a:lnTo>
                    <a:pt x="110" y="366"/>
                  </a:lnTo>
                  <a:lnTo>
                    <a:pt x="122" y="373"/>
                  </a:lnTo>
                  <a:lnTo>
                    <a:pt x="133" y="380"/>
                  </a:lnTo>
                  <a:lnTo>
                    <a:pt x="142" y="385"/>
                  </a:lnTo>
                  <a:lnTo>
                    <a:pt x="147" y="387"/>
                  </a:lnTo>
                  <a:lnTo>
                    <a:pt x="152" y="386"/>
                  </a:lnTo>
                  <a:lnTo>
                    <a:pt x="158" y="382"/>
                  </a:lnTo>
                  <a:lnTo>
                    <a:pt x="163" y="377"/>
                  </a:lnTo>
                  <a:lnTo>
                    <a:pt x="168" y="370"/>
                  </a:lnTo>
                  <a:lnTo>
                    <a:pt x="173" y="363"/>
                  </a:lnTo>
                  <a:lnTo>
                    <a:pt x="176" y="356"/>
                  </a:lnTo>
                  <a:lnTo>
                    <a:pt x="178" y="350"/>
                  </a:lnTo>
                  <a:lnTo>
                    <a:pt x="179" y="344"/>
                  </a:lnTo>
                  <a:lnTo>
                    <a:pt x="181" y="338"/>
                  </a:lnTo>
                  <a:lnTo>
                    <a:pt x="182" y="330"/>
                  </a:lnTo>
                  <a:lnTo>
                    <a:pt x="184" y="323"/>
                  </a:lnTo>
                  <a:lnTo>
                    <a:pt x="187" y="317"/>
                  </a:lnTo>
                  <a:lnTo>
                    <a:pt x="195" y="304"/>
                  </a:lnTo>
                  <a:lnTo>
                    <a:pt x="206" y="292"/>
                  </a:lnTo>
                  <a:lnTo>
                    <a:pt x="216" y="281"/>
                  </a:lnTo>
                  <a:lnTo>
                    <a:pt x="228" y="271"/>
                  </a:lnTo>
                  <a:lnTo>
                    <a:pt x="238" y="263"/>
                  </a:lnTo>
                  <a:lnTo>
                    <a:pt x="246" y="258"/>
                  </a:lnTo>
                  <a:lnTo>
                    <a:pt x="264" y="249"/>
                  </a:lnTo>
                  <a:lnTo>
                    <a:pt x="283" y="239"/>
                  </a:lnTo>
                  <a:lnTo>
                    <a:pt x="300" y="229"/>
                  </a:lnTo>
                  <a:lnTo>
                    <a:pt x="317" y="217"/>
                  </a:lnTo>
                  <a:lnTo>
                    <a:pt x="324" y="212"/>
                  </a:lnTo>
                  <a:lnTo>
                    <a:pt x="331" y="205"/>
                  </a:lnTo>
                  <a:lnTo>
                    <a:pt x="338" y="199"/>
                  </a:lnTo>
                  <a:lnTo>
                    <a:pt x="342" y="192"/>
                  </a:lnTo>
                  <a:lnTo>
                    <a:pt x="346" y="185"/>
                  </a:lnTo>
                  <a:lnTo>
                    <a:pt x="350" y="177"/>
                  </a:lnTo>
                  <a:lnTo>
                    <a:pt x="352" y="169"/>
                  </a:lnTo>
                  <a:lnTo>
                    <a:pt x="352" y="159"/>
                  </a:lnTo>
                  <a:lnTo>
                    <a:pt x="351" y="149"/>
                  </a:lnTo>
                  <a:lnTo>
                    <a:pt x="349" y="137"/>
                  </a:lnTo>
                  <a:lnTo>
                    <a:pt x="344" y="125"/>
                  </a:lnTo>
                  <a:lnTo>
                    <a:pt x="339" y="113"/>
                  </a:lnTo>
                  <a:lnTo>
                    <a:pt x="330" y="91"/>
                  </a:lnTo>
                  <a:lnTo>
                    <a:pt x="325" y="7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12" name="Freeform 364"/>
            <p:cNvSpPr>
              <a:spLocks/>
            </p:cNvSpPr>
            <p:nvPr/>
          </p:nvSpPr>
          <p:spPr bwMode="auto">
            <a:xfrm>
              <a:off x="923" y="2662"/>
              <a:ext cx="17" cy="26"/>
            </a:xfrm>
            <a:custGeom>
              <a:avLst/>
              <a:gdLst>
                <a:gd name="T0" fmla="*/ 14 w 52"/>
                <a:gd name="T1" fmla="*/ 0 h 78"/>
                <a:gd name="T2" fmla="*/ 20 w 52"/>
                <a:gd name="T3" fmla="*/ 0 h 78"/>
                <a:gd name="T4" fmla="*/ 25 w 52"/>
                <a:gd name="T5" fmla="*/ 2 h 78"/>
                <a:gd name="T6" fmla="*/ 30 w 52"/>
                <a:gd name="T7" fmla="*/ 6 h 78"/>
                <a:gd name="T8" fmla="*/ 36 w 52"/>
                <a:gd name="T9" fmla="*/ 9 h 78"/>
                <a:gd name="T10" fmla="*/ 40 w 52"/>
                <a:gd name="T11" fmla="*/ 13 h 78"/>
                <a:gd name="T12" fmla="*/ 45 w 52"/>
                <a:gd name="T13" fmla="*/ 17 h 78"/>
                <a:gd name="T14" fmla="*/ 47 w 52"/>
                <a:gd name="T15" fmla="*/ 21 h 78"/>
                <a:gd name="T16" fmla="*/ 48 w 52"/>
                <a:gd name="T17" fmla="*/ 24 h 78"/>
                <a:gd name="T18" fmla="*/ 51 w 52"/>
                <a:gd name="T19" fmla="*/ 34 h 78"/>
                <a:gd name="T20" fmla="*/ 52 w 52"/>
                <a:gd name="T21" fmla="*/ 41 h 78"/>
                <a:gd name="T22" fmla="*/ 51 w 52"/>
                <a:gd name="T23" fmla="*/ 46 h 78"/>
                <a:gd name="T24" fmla="*/ 49 w 52"/>
                <a:gd name="T25" fmla="*/ 50 h 78"/>
                <a:gd name="T26" fmla="*/ 47 w 52"/>
                <a:gd name="T27" fmla="*/ 54 h 78"/>
                <a:gd name="T28" fmla="*/ 44 w 52"/>
                <a:gd name="T29" fmla="*/ 60 h 78"/>
                <a:gd name="T30" fmla="*/ 41 w 52"/>
                <a:gd name="T31" fmla="*/ 65 h 78"/>
                <a:gd name="T32" fmla="*/ 41 w 52"/>
                <a:gd name="T33" fmla="*/ 73 h 78"/>
                <a:gd name="T34" fmla="*/ 29 w 52"/>
                <a:gd name="T35" fmla="*/ 75 h 78"/>
                <a:gd name="T36" fmla="*/ 16 w 52"/>
                <a:gd name="T37" fmla="*/ 78 h 78"/>
                <a:gd name="T38" fmla="*/ 11 w 52"/>
                <a:gd name="T39" fmla="*/ 78 h 78"/>
                <a:gd name="T40" fmla="*/ 5 w 52"/>
                <a:gd name="T41" fmla="*/ 78 h 78"/>
                <a:gd name="T42" fmla="*/ 4 w 52"/>
                <a:gd name="T43" fmla="*/ 78 h 78"/>
                <a:gd name="T44" fmla="*/ 2 w 52"/>
                <a:gd name="T45" fmla="*/ 77 h 78"/>
                <a:gd name="T46" fmla="*/ 2 w 52"/>
                <a:gd name="T47" fmla="*/ 75 h 78"/>
                <a:gd name="T48" fmla="*/ 1 w 52"/>
                <a:gd name="T49" fmla="*/ 73 h 78"/>
                <a:gd name="T50" fmla="*/ 0 w 52"/>
                <a:gd name="T51" fmla="*/ 69 h 78"/>
                <a:gd name="T52" fmla="*/ 1 w 52"/>
                <a:gd name="T53" fmla="*/ 64 h 78"/>
                <a:gd name="T54" fmla="*/ 3 w 52"/>
                <a:gd name="T55" fmla="*/ 60 h 78"/>
                <a:gd name="T56" fmla="*/ 7 w 52"/>
                <a:gd name="T57" fmla="*/ 56 h 78"/>
                <a:gd name="T58" fmla="*/ 17 w 52"/>
                <a:gd name="T59" fmla="*/ 47 h 78"/>
                <a:gd name="T60" fmla="*/ 28 w 52"/>
                <a:gd name="T61" fmla="*/ 42 h 78"/>
                <a:gd name="T62" fmla="*/ 24 w 52"/>
                <a:gd name="T63" fmla="*/ 32 h 78"/>
                <a:gd name="T64" fmla="*/ 21 w 52"/>
                <a:gd name="T65" fmla="*/ 21 h 78"/>
                <a:gd name="T66" fmla="*/ 18 w 52"/>
                <a:gd name="T67" fmla="*/ 10 h 78"/>
                <a:gd name="T68" fmla="*/ 14 w 52"/>
                <a:gd name="T6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2" h="78">
                  <a:moveTo>
                    <a:pt x="14" y="0"/>
                  </a:moveTo>
                  <a:lnTo>
                    <a:pt x="20" y="0"/>
                  </a:lnTo>
                  <a:lnTo>
                    <a:pt x="25" y="2"/>
                  </a:lnTo>
                  <a:lnTo>
                    <a:pt x="30" y="6"/>
                  </a:lnTo>
                  <a:lnTo>
                    <a:pt x="36" y="9"/>
                  </a:lnTo>
                  <a:lnTo>
                    <a:pt x="40" y="13"/>
                  </a:lnTo>
                  <a:lnTo>
                    <a:pt x="45" y="17"/>
                  </a:lnTo>
                  <a:lnTo>
                    <a:pt x="47" y="21"/>
                  </a:lnTo>
                  <a:lnTo>
                    <a:pt x="48" y="24"/>
                  </a:lnTo>
                  <a:lnTo>
                    <a:pt x="51" y="34"/>
                  </a:lnTo>
                  <a:lnTo>
                    <a:pt x="52" y="41"/>
                  </a:lnTo>
                  <a:lnTo>
                    <a:pt x="51" y="46"/>
                  </a:lnTo>
                  <a:lnTo>
                    <a:pt x="49" y="50"/>
                  </a:lnTo>
                  <a:lnTo>
                    <a:pt x="47" y="54"/>
                  </a:lnTo>
                  <a:lnTo>
                    <a:pt x="44" y="60"/>
                  </a:lnTo>
                  <a:lnTo>
                    <a:pt x="41" y="65"/>
                  </a:lnTo>
                  <a:lnTo>
                    <a:pt x="41" y="73"/>
                  </a:lnTo>
                  <a:lnTo>
                    <a:pt x="29" y="75"/>
                  </a:lnTo>
                  <a:lnTo>
                    <a:pt x="16" y="78"/>
                  </a:lnTo>
                  <a:lnTo>
                    <a:pt x="11" y="78"/>
                  </a:lnTo>
                  <a:lnTo>
                    <a:pt x="5" y="78"/>
                  </a:lnTo>
                  <a:lnTo>
                    <a:pt x="4" y="78"/>
                  </a:lnTo>
                  <a:lnTo>
                    <a:pt x="2" y="77"/>
                  </a:lnTo>
                  <a:lnTo>
                    <a:pt x="2" y="75"/>
                  </a:lnTo>
                  <a:lnTo>
                    <a:pt x="1" y="73"/>
                  </a:lnTo>
                  <a:lnTo>
                    <a:pt x="0" y="69"/>
                  </a:lnTo>
                  <a:lnTo>
                    <a:pt x="1" y="64"/>
                  </a:lnTo>
                  <a:lnTo>
                    <a:pt x="3" y="60"/>
                  </a:lnTo>
                  <a:lnTo>
                    <a:pt x="7" y="56"/>
                  </a:lnTo>
                  <a:lnTo>
                    <a:pt x="17" y="47"/>
                  </a:lnTo>
                  <a:lnTo>
                    <a:pt x="28" y="42"/>
                  </a:lnTo>
                  <a:lnTo>
                    <a:pt x="24" y="32"/>
                  </a:lnTo>
                  <a:lnTo>
                    <a:pt x="21" y="21"/>
                  </a:lnTo>
                  <a:lnTo>
                    <a:pt x="18" y="10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13" name="Freeform 365"/>
            <p:cNvSpPr>
              <a:spLocks/>
            </p:cNvSpPr>
            <p:nvPr/>
          </p:nvSpPr>
          <p:spPr bwMode="auto">
            <a:xfrm>
              <a:off x="912" y="2666"/>
              <a:ext cx="9" cy="10"/>
            </a:xfrm>
            <a:custGeom>
              <a:avLst/>
              <a:gdLst>
                <a:gd name="T0" fmla="*/ 13 w 33"/>
                <a:gd name="T1" fmla="*/ 6 h 30"/>
                <a:gd name="T2" fmla="*/ 0 w 33"/>
                <a:gd name="T3" fmla="*/ 24 h 30"/>
                <a:gd name="T4" fmla="*/ 7 w 33"/>
                <a:gd name="T5" fmla="*/ 25 h 30"/>
                <a:gd name="T6" fmla="*/ 15 w 33"/>
                <a:gd name="T7" fmla="*/ 27 h 30"/>
                <a:gd name="T8" fmla="*/ 23 w 33"/>
                <a:gd name="T9" fmla="*/ 29 h 30"/>
                <a:gd name="T10" fmla="*/ 33 w 33"/>
                <a:gd name="T11" fmla="*/ 30 h 30"/>
                <a:gd name="T12" fmla="*/ 33 w 33"/>
                <a:gd name="T13" fmla="*/ 0 h 30"/>
                <a:gd name="T14" fmla="*/ 20 w 33"/>
                <a:gd name="T15" fmla="*/ 0 h 30"/>
                <a:gd name="T16" fmla="*/ 13 w 33"/>
                <a:gd name="T17" fmla="*/ 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30">
                  <a:moveTo>
                    <a:pt x="13" y="6"/>
                  </a:moveTo>
                  <a:lnTo>
                    <a:pt x="0" y="24"/>
                  </a:lnTo>
                  <a:lnTo>
                    <a:pt x="7" y="25"/>
                  </a:lnTo>
                  <a:lnTo>
                    <a:pt x="15" y="27"/>
                  </a:lnTo>
                  <a:lnTo>
                    <a:pt x="23" y="29"/>
                  </a:lnTo>
                  <a:lnTo>
                    <a:pt x="33" y="30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2414" name="Freeform 366"/>
          <p:cNvSpPr>
            <a:spLocks/>
          </p:cNvSpPr>
          <p:nvPr>
            <p:custDataLst>
              <p:tags r:id="rId266"/>
            </p:custDataLst>
          </p:nvPr>
        </p:nvSpPr>
        <p:spPr bwMode="auto">
          <a:xfrm>
            <a:off x="6880225" y="4340225"/>
            <a:ext cx="19050" cy="58738"/>
          </a:xfrm>
          <a:custGeom>
            <a:avLst/>
            <a:gdLst>
              <a:gd name="T0" fmla="*/ 13 w 47"/>
              <a:gd name="T1" fmla="*/ 0 h 28"/>
              <a:gd name="T2" fmla="*/ 25 w 47"/>
              <a:gd name="T3" fmla="*/ 0 h 28"/>
              <a:gd name="T4" fmla="*/ 31 w 47"/>
              <a:gd name="T5" fmla="*/ 2 h 28"/>
              <a:gd name="T6" fmla="*/ 33 w 47"/>
              <a:gd name="T7" fmla="*/ 4 h 28"/>
              <a:gd name="T8" fmla="*/ 33 w 47"/>
              <a:gd name="T9" fmla="*/ 6 h 28"/>
              <a:gd name="T10" fmla="*/ 32 w 47"/>
              <a:gd name="T11" fmla="*/ 8 h 28"/>
              <a:gd name="T12" fmla="*/ 33 w 47"/>
              <a:gd name="T13" fmla="*/ 10 h 28"/>
              <a:gd name="T14" fmla="*/ 37 w 47"/>
              <a:gd name="T15" fmla="*/ 12 h 28"/>
              <a:gd name="T16" fmla="*/ 47 w 47"/>
              <a:gd name="T17" fmla="*/ 12 h 28"/>
              <a:gd name="T18" fmla="*/ 42 w 47"/>
              <a:gd name="T19" fmla="*/ 19 h 28"/>
              <a:gd name="T20" fmla="*/ 37 w 47"/>
              <a:gd name="T21" fmla="*/ 25 h 28"/>
              <a:gd name="T22" fmla="*/ 33 w 47"/>
              <a:gd name="T23" fmla="*/ 27 h 28"/>
              <a:gd name="T24" fmla="*/ 28 w 47"/>
              <a:gd name="T25" fmla="*/ 28 h 28"/>
              <a:gd name="T26" fmla="*/ 16 w 47"/>
              <a:gd name="T27" fmla="*/ 27 h 28"/>
              <a:gd name="T28" fmla="*/ 0 w 47"/>
              <a:gd name="T29" fmla="*/ 25 h 28"/>
              <a:gd name="T30" fmla="*/ 1 w 47"/>
              <a:gd name="T31" fmla="*/ 19 h 28"/>
              <a:gd name="T32" fmla="*/ 2 w 47"/>
              <a:gd name="T33" fmla="*/ 15 h 28"/>
              <a:gd name="T34" fmla="*/ 4 w 47"/>
              <a:gd name="T35" fmla="*/ 13 h 28"/>
              <a:gd name="T36" fmla="*/ 6 w 47"/>
              <a:gd name="T37" fmla="*/ 12 h 28"/>
              <a:gd name="T38" fmla="*/ 9 w 47"/>
              <a:gd name="T39" fmla="*/ 11 h 28"/>
              <a:gd name="T40" fmla="*/ 11 w 47"/>
              <a:gd name="T41" fmla="*/ 9 h 28"/>
              <a:gd name="T42" fmla="*/ 13 w 47"/>
              <a:gd name="T43" fmla="*/ 5 h 28"/>
              <a:gd name="T44" fmla="*/ 13 w 47"/>
              <a:gd name="T45" fmla="*/ 0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47" h="28">
                <a:moveTo>
                  <a:pt x="13" y="0"/>
                </a:moveTo>
                <a:lnTo>
                  <a:pt x="25" y="0"/>
                </a:lnTo>
                <a:lnTo>
                  <a:pt x="31" y="2"/>
                </a:lnTo>
                <a:lnTo>
                  <a:pt x="33" y="4"/>
                </a:lnTo>
                <a:lnTo>
                  <a:pt x="33" y="6"/>
                </a:lnTo>
                <a:lnTo>
                  <a:pt x="32" y="8"/>
                </a:lnTo>
                <a:lnTo>
                  <a:pt x="33" y="10"/>
                </a:lnTo>
                <a:lnTo>
                  <a:pt x="37" y="12"/>
                </a:lnTo>
                <a:lnTo>
                  <a:pt x="47" y="12"/>
                </a:lnTo>
                <a:lnTo>
                  <a:pt x="42" y="19"/>
                </a:lnTo>
                <a:lnTo>
                  <a:pt x="37" y="25"/>
                </a:lnTo>
                <a:lnTo>
                  <a:pt x="33" y="27"/>
                </a:lnTo>
                <a:lnTo>
                  <a:pt x="28" y="28"/>
                </a:lnTo>
                <a:lnTo>
                  <a:pt x="16" y="27"/>
                </a:lnTo>
                <a:lnTo>
                  <a:pt x="0" y="25"/>
                </a:lnTo>
                <a:lnTo>
                  <a:pt x="1" y="19"/>
                </a:lnTo>
                <a:lnTo>
                  <a:pt x="2" y="15"/>
                </a:lnTo>
                <a:lnTo>
                  <a:pt x="4" y="13"/>
                </a:lnTo>
                <a:lnTo>
                  <a:pt x="6" y="12"/>
                </a:lnTo>
                <a:lnTo>
                  <a:pt x="9" y="11"/>
                </a:lnTo>
                <a:lnTo>
                  <a:pt x="11" y="9"/>
                </a:lnTo>
                <a:lnTo>
                  <a:pt x="13" y="5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415" name="Freeform 367"/>
          <p:cNvSpPr>
            <a:spLocks/>
          </p:cNvSpPr>
          <p:nvPr>
            <p:custDataLst>
              <p:tags r:id="rId267"/>
            </p:custDataLst>
          </p:nvPr>
        </p:nvSpPr>
        <p:spPr bwMode="auto">
          <a:xfrm>
            <a:off x="6851651" y="4367213"/>
            <a:ext cx="23813" cy="57150"/>
          </a:xfrm>
          <a:custGeom>
            <a:avLst/>
            <a:gdLst>
              <a:gd name="T0" fmla="*/ 13 w 53"/>
              <a:gd name="T1" fmla="*/ 0 h 33"/>
              <a:gd name="T2" fmla="*/ 26 w 53"/>
              <a:gd name="T3" fmla="*/ 1 h 33"/>
              <a:gd name="T4" fmla="*/ 34 w 53"/>
              <a:gd name="T5" fmla="*/ 1 h 33"/>
              <a:gd name="T6" fmla="*/ 37 w 53"/>
              <a:gd name="T7" fmla="*/ 3 h 33"/>
              <a:gd name="T8" fmla="*/ 37 w 53"/>
              <a:gd name="T9" fmla="*/ 4 h 33"/>
              <a:gd name="T10" fmla="*/ 37 w 53"/>
              <a:gd name="T11" fmla="*/ 6 h 33"/>
              <a:gd name="T12" fmla="*/ 39 w 53"/>
              <a:gd name="T13" fmla="*/ 8 h 33"/>
              <a:gd name="T14" fmla="*/ 44 w 53"/>
              <a:gd name="T15" fmla="*/ 10 h 33"/>
              <a:gd name="T16" fmla="*/ 53 w 53"/>
              <a:gd name="T17" fmla="*/ 12 h 33"/>
              <a:gd name="T18" fmla="*/ 48 w 53"/>
              <a:gd name="T19" fmla="*/ 22 h 33"/>
              <a:gd name="T20" fmla="*/ 44 w 53"/>
              <a:gd name="T21" fmla="*/ 28 h 33"/>
              <a:gd name="T22" fmla="*/ 42 w 53"/>
              <a:gd name="T23" fmla="*/ 31 h 33"/>
              <a:gd name="T24" fmla="*/ 38 w 53"/>
              <a:gd name="T25" fmla="*/ 32 h 33"/>
              <a:gd name="T26" fmla="*/ 36 w 53"/>
              <a:gd name="T27" fmla="*/ 33 h 33"/>
              <a:gd name="T28" fmla="*/ 34 w 53"/>
              <a:gd name="T29" fmla="*/ 33 h 33"/>
              <a:gd name="T30" fmla="*/ 20 w 53"/>
              <a:gd name="T31" fmla="*/ 30 h 33"/>
              <a:gd name="T32" fmla="*/ 0 w 53"/>
              <a:gd name="T33" fmla="*/ 24 h 33"/>
              <a:gd name="T34" fmla="*/ 0 w 53"/>
              <a:gd name="T35" fmla="*/ 19 h 33"/>
              <a:gd name="T36" fmla="*/ 2 w 53"/>
              <a:gd name="T37" fmla="*/ 16 h 33"/>
              <a:gd name="T38" fmla="*/ 4 w 53"/>
              <a:gd name="T39" fmla="*/ 14 h 33"/>
              <a:gd name="T40" fmla="*/ 7 w 53"/>
              <a:gd name="T41" fmla="*/ 12 h 33"/>
              <a:gd name="T42" fmla="*/ 9 w 53"/>
              <a:gd name="T43" fmla="*/ 11 h 33"/>
              <a:gd name="T44" fmla="*/ 11 w 53"/>
              <a:gd name="T45" fmla="*/ 9 h 33"/>
              <a:gd name="T46" fmla="*/ 12 w 53"/>
              <a:gd name="T47" fmla="*/ 6 h 33"/>
              <a:gd name="T48" fmla="*/ 13 w 53"/>
              <a:gd name="T49" fmla="*/ 0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53" h="33">
                <a:moveTo>
                  <a:pt x="13" y="0"/>
                </a:moveTo>
                <a:lnTo>
                  <a:pt x="26" y="1"/>
                </a:lnTo>
                <a:lnTo>
                  <a:pt x="34" y="1"/>
                </a:lnTo>
                <a:lnTo>
                  <a:pt x="37" y="3"/>
                </a:lnTo>
                <a:lnTo>
                  <a:pt x="37" y="4"/>
                </a:lnTo>
                <a:lnTo>
                  <a:pt x="37" y="6"/>
                </a:lnTo>
                <a:lnTo>
                  <a:pt x="39" y="8"/>
                </a:lnTo>
                <a:lnTo>
                  <a:pt x="44" y="10"/>
                </a:lnTo>
                <a:lnTo>
                  <a:pt x="53" y="12"/>
                </a:lnTo>
                <a:lnTo>
                  <a:pt x="48" y="22"/>
                </a:lnTo>
                <a:lnTo>
                  <a:pt x="44" y="28"/>
                </a:lnTo>
                <a:lnTo>
                  <a:pt x="42" y="31"/>
                </a:lnTo>
                <a:lnTo>
                  <a:pt x="38" y="32"/>
                </a:lnTo>
                <a:lnTo>
                  <a:pt x="36" y="33"/>
                </a:lnTo>
                <a:lnTo>
                  <a:pt x="34" y="33"/>
                </a:lnTo>
                <a:lnTo>
                  <a:pt x="20" y="30"/>
                </a:lnTo>
                <a:lnTo>
                  <a:pt x="0" y="24"/>
                </a:lnTo>
                <a:lnTo>
                  <a:pt x="0" y="19"/>
                </a:lnTo>
                <a:lnTo>
                  <a:pt x="2" y="16"/>
                </a:lnTo>
                <a:lnTo>
                  <a:pt x="4" y="14"/>
                </a:lnTo>
                <a:lnTo>
                  <a:pt x="7" y="12"/>
                </a:lnTo>
                <a:lnTo>
                  <a:pt x="9" y="11"/>
                </a:lnTo>
                <a:lnTo>
                  <a:pt x="11" y="9"/>
                </a:lnTo>
                <a:lnTo>
                  <a:pt x="12" y="6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grpSp>
        <p:nvGrpSpPr>
          <p:cNvPr id="2416" name="Group 368"/>
          <p:cNvGrpSpPr>
            <a:grpSpLocks/>
          </p:cNvGrpSpPr>
          <p:nvPr>
            <p:custDataLst>
              <p:tags r:id="rId268"/>
            </p:custDataLst>
          </p:nvPr>
        </p:nvGrpSpPr>
        <p:grpSpPr bwMode="auto">
          <a:xfrm>
            <a:off x="6692901" y="3859214"/>
            <a:ext cx="168275" cy="103187"/>
            <a:chOff x="3481" y="2773"/>
            <a:chExt cx="125" cy="65"/>
          </a:xfrm>
        </p:grpSpPr>
        <p:sp>
          <p:nvSpPr>
            <p:cNvPr id="2417" name="Freeform 369"/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>
                <a:gd name="T0" fmla="*/ 13 w 13"/>
                <a:gd name="T1" fmla="*/ 0 h 18"/>
                <a:gd name="T2" fmla="*/ 10 w 13"/>
                <a:gd name="T3" fmla="*/ 9 h 18"/>
                <a:gd name="T4" fmla="*/ 6 w 13"/>
                <a:gd name="T5" fmla="*/ 18 h 18"/>
                <a:gd name="T6" fmla="*/ 5 w 13"/>
                <a:gd name="T7" fmla="*/ 17 h 18"/>
                <a:gd name="T8" fmla="*/ 3 w 13"/>
                <a:gd name="T9" fmla="*/ 14 h 18"/>
                <a:gd name="T10" fmla="*/ 1 w 13"/>
                <a:gd name="T11" fmla="*/ 10 h 18"/>
                <a:gd name="T12" fmla="*/ 0 w 13"/>
                <a:gd name="T1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18" name="Line 370"/>
            <p:cNvSpPr>
              <a:spLocks noChangeShapeType="1"/>
            </p:cNvSpPr>
            <p:nvPr/>
          </p:nvSpPr>
          <p:spPr bwMode="auto">
            <a:xfrm>
              <a:off x="3583" y="2800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19" name="Freeform 371"/>
            <p:cNvSpPr>
              <a:spLocks/>
            </p:cNvSpPr>
            <p:nvPr/>
          </p:nvSpPr>
          <p:spPr bwMode="auto">
            <a:xfrm>
              <a:off x="3554" y="2819"/>
              <a:ext cx="5" cy="6"/>
            </a:xfrm>
            <a:custGeom>
              <a:avLst/>
              <a:gdLst>
                <a:gd name="T0" fmla="*/ 14 w 14"/>
                <a:gd name="T1" fmla="*/ 19 h 19"/>
                <a:gd name="T2" fmla="*/ 0 w 14"/>
                <a:gd name="T3" fmla="*/ 0 h 19"/>
                <a:gd name="T4" fmla="*/ 14 w 14"/>
                <a:gd name="T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9">
                  <a:moveTo>
                    <a:pt x="14" y="19"/>
                  </a:moveTo>
                  <a:lnTo>
                    <a:pt x="0" y="0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20" name="Freeform 372"/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>
                <a:gd name="T0" fmla="*/ 0 w 7"/>
                <a:gd name="T1" fmla="*/ 6 h 18"/>
                <a:gd name="T2" fmla="*/ 7 w 7"/>
                <a:gd name="T3" fmla="*/ 18 h 18"/>
                <a:gd name="T4" fmla="*/ 0 w 7"/>
                <a:gd name="T5" fmla="*/ 18 h 18"/>
                <a:gd name="T6" fmla="*/ 0 w 7"/>
                <a:gd name="T7" fmla="*/ 0 h 18"/>
                <a:gd name="T8" fmla="*/ 7 w 7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21" name="Freeform 373"/>
            <p:cNvSpPr>
              <a:spLocks/>
            </p:cNvSpPr>
            <p:nvPr/>
          </p:nvSpPr>
          <p:spPr bwMode="auto">
            <a:xfrm>
              <a:off x="3599" y="2773"/>
              <a:ext cx="7" cy="4"/>
            </a:xfrm>
            <a:custGeom>
              <a:avLst/>
              <a:gdLst>
                <a:gd name="T0" fmla="*/ 20 w 20"/>
                <a:gd name="T1" fmla="*/ 12 h 12"/>
                <a:gd name="T2" fmla="*/ 10 w 20"/>
                <a:gd name="T3" fmla="*/ 9 h 12"/>
                <a:gd name="T4" fmla="*/ 0 w 20"/>
                <a:gd name="T5" fmla="*/ 6 h 12"/>
                <a:gd name="T6" fmla="*/ 1 w 20"/>
                <a:gd name="T7" fmla="*/ 5 h 12"/>
                <a:gd name="T8" fmla="*/ 3 w 20"/>
                <a:gd name="T9" fmla="*/ 3 h 12"/>
                <a:gd name="T10" fmla="*/ 8 w 20"/>
                <a:gd name="T11" fmla="*/ 1 h 12"/>
                <a:gd name="T12" fmla="*/ 13 w 20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10" y="9"/>
                  </a:lnTo>
                  <a:lnTo>
                    <a:pt x="0" y="6"/>
                  </a:lnTo>
                  <a:lnTo>
                    <a:pt x="1" y="5"/>
                  </a:lnTo>
                  <a:lnTo>
                    <a:pt x="3" y="3"/>
                  </a:lnTo>
                  <a:lnTo>
                    <a:pt x="8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22" name="Line 374"/>
            <p:cNvSpPr>
              <a:spLocks noChangeShapeType="1"/>
            </p:cNvSpPr>
            <p:nvPr/>
          </p:nvSpPr>
          <p:spPr bwMode="auto">
            <a:xfrm>
              <a:off x="3603" y="2773"/>
              <a:ext cx="1" cy="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23" name="Freeform 375"/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18 h 18"/>
                <a:gd name="T4" fmla="*/ 20 w 20"/>
                <a:gd name="T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24" name="Freeform 376"/>
            <p:cNvSpPr>
              <a:spLocks/>
            </p:cNvSpPr>
            <p:nvPr/>
          </p:nvSpPr>
          <p:spPr bwMode="auto">
            <a:xfrm>
              <a:off x="3485" y="2830"/>
              <a:ext cx="3" cy="4"/>
            </a:xfrm>
            <a:custGeom>
              <a:avLst/>
              <a:gdLst>
                <a:gd name="T0" fmla="*/ 7 w 7"/>
                <a:gd name="T1" fmla="*/ 12 h 12"/>
                <a:gd name="T2" fmla="*/ 4 w 7"/>
                <a:gd name="T3" fmla="*/ 6 h 12"/>
                <a:gd name="T4" fmla="*/ 0 w 7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2">
                  <a:moveTo>
                    <a:pt x="7" y="12"/>
                  </a:moveTo>
                  <a:lnTo>
                    <a:pt x="4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25" name="Freeform 377"/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18 h 18"/>
                <a:gd name="T4" fmla="*/ 20 w 20"/>
                <a:gd name="T5" fmla="*/ 18 h 18"/>
                <a:gd name="T6" fmla="*/ 17 w 20"/>
                <a:gd name="T7" fmla="*/ 12 h 18"/>
                <a:gd name="T8" fmla="*/ 13 w 20"/>
                <a:gd name="T9" fmla="*/ 6 h 18"/>
                <a:gd name="T10" fmla="*/ 0 w 20"/>
                <a:gd name="T1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  <a:lnTo>
                    <a:pt x="17" y="12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26" name="Freeform 378"/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>
                <a:gd name="T0" fmla="*/ 0 w 7"/>
                <a:gd name="T1" fmla="*/ 6 h 18"/>
                <a:gd name="T2" fmla="*/ 7 w 7"/>
                <a:gd name="T3" fmla="*/ 18 h 18"/>
                <a:gd name="T4" fmla="*/ 0 w 7"/>
                <a:gd name="T5" fmla="*/ 18 h 18"/>
                <a:gd name="T6" fmla="*/ 0 w 7"/>
                <a:gd name="T7" fmla="*/ 0 h 18"/>
                <a:gd name="T8" fmla="*/ 7 w 7"/>
                <a:gd name="T9" fmla="*/ 0 h 18"/>
                <a:gd name="T10" fmla="*/ 0 w 7"/>
                <a:gd name="T11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27" name="Freeform 379"/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>
                <a:gd name="T0" fmla="*/ 13 w 13"/>
                <a:gd name="T1" fmla="*/ 0 h 18"/>
                <a:gd name="T2" fmla="*/ 10 w 13"/>
                <a:gd name="T3" fmla="*/ 9 h 18"/>
                <a:gd name="T4" fmla="*/ 6 w 13"/>
                <a:gd name="T5" fmla="*/ 18 h 18"/>
                <a:gd name="T6" fmla="*/ 5 w 13"/>
                <a:gd name="T7" fmla="*/ 17 h 18"/>
                <a:gd name="T8" fmla="*/ 3 w 13"/>
                <a:gd name="T9" fmla="*/ 14 h 18"/>
                <a:gd name="T10" fmla="*/ 1 w 13"/>
                <a:gd name="T11" fmla="*/ 10 h 18"/>
                <a:gd name="T12" fmla="*/ 0 w 13"/>
                <a:gd name="T13" fmla="*/ 6 h 18"/>
                <a:gd name="T14" fmla="*/ 6 w 13"/>
                <a:gd name="T15" fmla="*/ 6 h 18"/>
                <a:gd name="T16" fmla="*/ 13 w 13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  <a:lnTo>
                    <a:pt x="6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2428" name="Freeform 380"/>
          <p:cNvSpPr>
            <a:spLocks/>
          </p:cNvSpPr>
          <p:nvPr>
            <p:custDataLst>
              <p:tags r:id="rId269"/>
            </p:custDataLst>
          </p:nvPr>
        </p:nvSpPr>
        <p:spPr bwMode="auto">
          <a:xfrm>
            <a:off x="5821364" y="3851276"/>
            <a:ext cx="319087" cy="379413"/>
          </a:xfrm>
          <a:custGeom>
            <a:avLst/>
            <a:gdLst>
              <a:gd name="T0" fmla="*/ 60 w 736"/>
              <a:gd name="T1" fmla="*/ 685 h 721"/>
              <a:gd name="T2" fmla="*/ 91 w 736"/>
              <a:gd name="T3" fmla="*/ 668 h 721"/>
              <a:gd name="T4" fmla="*/ 126 w 736"/>
              <a:gd name="T5" fmla="*/ 668 h 721"/>
              <a:gd name="T6" fmla="*/ 196 w 736"/>
              <a:gd name="T7" fmla="*/ 692 h 721"/>
              <a:gd name="T8" fmla="*/ 245 w 736"/>
              <a:gd name="T9" fmla="*/ 705 h 721"/>
              <a:gd name="T10" fmla="*/ 292 w 736"/>
              <a:gd name="T11" fmla="*/ 703 h 721"/>
              <a:gd name="T12" fmla="*/ 611 w 736"/>
              <a:gd name="T13" fmla="*/ 717 h 721"/>
              <a:gd name="T14" fmla="*/ 651 w 736"/>
              <a:gd name="T15" fmla="*/ 707 h 721"/>
              <a:gd name="T16" fmla="*/ 627 w 736"/>
              <a:gd name="T17" fmla="*/ 657 h 721"/>
              <a:gd name="T18" fmla="*/ 664 w 736"/>
              <a:gd name="T19" fmla="*/ 433 h 721"/>
              <a:gd name="T20" fmla="*/ 709 w 736"/>
              <a:gd name="T21" fmla="*/ 429 h 721"/>
              <a:gd name="T22" fmla="*/ 723 w 736"/>
              <a:gd name="T23" fmla="*/ 416 h 721"/>
              <a:gd name="T24" fmla="*/ 734 w 736"/>
              <a:gd name="T25" fmla="*/ 360 h 721"/>
              <a:gd name="T26" fmla="*/ 722 w 736"/>
              <a:gd name="T27" fmla="*/ 302 h 721"/>
              <a:gd name="T28" fmla="*/ 708 w 736"/>
              <a:gd name="T29" fmla="*/ 304 h 721"/>
              <a:gd name="T30" fmla="*/ 676 w 736"/>
              <a:gd name="T31" fmla="*/ 300 h 721"/>
              <a:gd name="T32" fmla="*/ 634 w 736"/>
              <a:gd name="T33" fmla="*/ 299 h 721"/>
              <a:gd name="T34" fmla="*/ 623 w 736"/>
              <a:gd name="T35" fmla="*/ 290 h 721"/>
              <a:gd name="T36" fmla="*/ 617 w 736"/>
              <a:gd name="T37" fmla="*/ 253 h 721"/>
              <a:gd name="T38" fmla="*/ 607 w 736"/>
              <a:gd name="T39" fmla="*/ 219 h 721"/>
              <a:gd name="T40" fmla="*/ 597 w 736"/>
              <a:gd name="T41" fmla="*/ 186 h 721"/>
              <a:gd name="T42" fmla="*/ 607 w 736"/>
              <a:gd name="T43" fmla="*/ 167 h 721"/>
              <a:gd name="T44" fmla="*/ 617 w 736"/>
              <a:gd name="T45" fmla="*/ 148 h 721"/>
              <a:gd name="T46" fmla="*/ 611 w 736"/>
              <a:gd name="T47" fmla="*/ 100 h 721"/>
              <a:gd name="T48" fmla="*/ 544 w 736"/>
              <a:gd name="T49" fmla="*/ 70 h 721"/>
              <a:gd name="T50" fmla="*/ 477 w 736"/>
              <a:gd name="T51" fmla="*/ 66 h 721"/>
              <a:gd name="T52" fmla="*/ 471 w 736"/>
              <a:gd name="T53" fmla="*/ 81 h 721"/>
              <a:gd name="T54" fmla="*/ 463 w 736"/>
              <a:gd name="T55" fmla="*/ 101 h 721"/>
              <a:gd name="T56" fmla="*/ 440 w 736"/>
              <a:gd name="T57" fmla="*/ 122 h 721"/>
              <a:gd name="T58" fmla="*/ 392 w 736"/>
              <a:gd name="T59" fmla="*/ 130 h 721"/>
              <a:gd name="T60" fmla="*/ 364 w 736"/>
              <a:gd name="T61" fmla="*/ 115 h 721"/>
              <a:gd name="T62" fmla="*/ 339 w 736"/>
              <a:gd name="T63" fmla="*/ 82 h 721"/>
              <a:gd name="T64" fmla="*/ 319 w 736"/>
              <a:gd name="T65" fmla="*/ 39 h 721"/>
              <a:gd name="T66" fmla="*/ 312 w 736"/>
              <a:gd name="T67" fmla="*/ 0 h 721"/>
              <a:gd name="T68" fmla="*/ 30 w 736"/>
              <a:gd name="T69" fmla="*/ 15 h 721"/>
              <a:gd name="T70" fmla="*/ 47 w 736"/>
              <a:gd name="T71" fmla="*/ 29 h 721"/>
              <a:gd name="T72" fmla="*/ 75 w 736"/>
              <a:gd name="T73" fmla="*/ 75 h 721"/>
              <a:gd name="T74" fmla="*/ 102 w 736"/>
              <a:gd name="T75" fmla="*/ 130 h 721"/>
              <a:gd name="T76" fmla="*/ 103 w 736"/>
              <a:gd name="T77" fmla="*/ 171 h 721"/>
              <a:gd name="T78" fmla="*/ 93 w 736"/>
              <a:gd name="T79" fmla="*/ 203 h 721"/>
              <a:gd name="T80" fmla="*/ 96 w 736"/>
              <a:gd name="T81" fmla="*/ 229 h 721"/>
              <a:gd name="T82" fmla="*/ 119 w 736"/>
              <a:gd name="T83" fmla="*/ 272 h 721"/>
              <a:gd name="T84" fmla="*/ 131 w 736"/>
              <a:gd name="T85" fmla="*/ 307 h 721"/>
              <a:gd name="T86" fmla="*/ 127 w 736"/>
              <a:gd name="T87" fmla="*/ 352 h 721"/>
              <a:gd name="T88" fmla="*/ 106 w 736"/>
              <a:gd name="T89" fmla="*/ 403 h 721"/>
              <a:gd name="T90" fmla="*/ 77 w 736"/>
              <a:gd name="T91" fmla="*/ 446 h 721"/>
              <a:gd name="T92" fmla="*/ 41 w 736"/>
              <a:gd name="T93" fmla="*/ 477 h 721"/>
              <a:gd name="T94" fmla="*/ 25 w 736"/>
              <a:gd name="T95" fmla="*/ 591 h 721"/>
              <a:gd name="T96" fmla="*/ 11 w 736"/>
              <a:gd name="T97" fmla="*/ 627 h 7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736" h="721">
                <a:moveTo>
                  <a:pt x="0" y="691"/>
                </a:moveTo>
                <a:lnTo>
                  <a:pt x="46" y="697"/>
                </a:lnTo>
                <a:lnTo>
                  <a:pt x="53" y="690"/>
                </a:lnTo>
                <a:lnTo>
                  <a:pt x="60" y="685"/>
                </a:lnTo>
                <a:lnTo>
                  <a:pt x="68" y="679"/>
                </a:lnTo>
                <a:lnTo>
                  <a:pt x="75" y="674"/>
                </a:lnTo>
                <a:lnTo>
                  <a:pt x="83" y="671"/>
                </a:lnTo>
                <a:lnTo>
                  <a:pt x="91" y="668"/>
                </a:lnTo>
                <a:lnTo>
                  <a:pt x="97" y="666"/>
                </a:lnTo>
                <a:lnTo>
                  <a:pt x="105" y="666"/>
                </a:lnTo>
                <a:lnTo>
                  <a:pt x="116" y="666"/>
                </a:lnTo>
                <a:lnTo>
                  <a:pt x="126" y="668"/>
                </a:lnTo>
                <a:lnTo>
                  <a:pt x="137" y="671"/>
                </a:lnTo>
                <a:lnTo>
                  <a:pt x="149" y="674"/>
                </a:lnTo>
                <a:lnTo>
                  <a:pt x="172" y="683"/>
                </a:lnTo>
                <a:lnTo>
                  <a:pt x="196" y="692"/>
                </a:lnTo>
                <a:lnTo>
                  <a:pt x="208" y="696"/>
                </a:lnTo>
                <a:lnTo>
                  <a:pt x="220" y="700"/>
                </a:lnTo>
                <a:lnTo>
                  <a:pt x="232" y="703"/>
                </a:lnTo>
                <a:lnTo>
                  <a:pt x="245" y="705"/>
                </a:lnTo>
                <a:lnTo>
                  <a:pt x="257" y="706"/>
                </a:lnTo>
                <a:lnTo>
                  <a:pt x="269" y="707"/>
                </a:lnTo>
                <a:lnTo>
                  <a:pt x="280" y="706"/>
                </a:lnTo>
                <a:lnTo>
                  <a:pt x="292" y="703"/>
                </a:lnTo>
                <a:lnTo>
                  <a:pt x="411" y="703"/>
                </a:lnTo>
                <a:lnTo>
                  <a:pt x="411" y="721"/>
                </a:lnTo>
                <a:lnTo>
                  <a:pt x="604" y="721"/>
                </a:lnTo>
                <a:lnTo>
                  <a:pt x="611" y="717"/>
                </a:lnTo>
                <a:lnTo>
                  <a:pt x="619" y="714"/>
                </a:lnTo>
                <a:lnTo>
                  <a:pt x="627" y="712"/>
                </a:lnTo>
                <a:lnTo>
                  <a:pt x="634" y="710"/>
                </a:lnTo>
                <a:lnTo>
                  <a:pt x="651" y="707"/>
                </a:lnTo>
                <a:lnTo>
                  <a:pt x="671" y="703"/>
                </a:lnTo>
                <a:lnTo>
                  <a:pt x="658" y="691"/>
                </a:lnTo>
                <a:lnTo>
                  <a:pt x="643" y="674"/>
                </a:lnTo>
                <a:lnTo>
                  <a:pt x="627" y="657"/>
                </a:lnTo>
                <a:lnTo>
                  <a:pt x="610" y="641"/>
                </a:lnTo>
                <a:lnTo>
                  <a:pt x="610" y="432"/>
                </a:lnTo>
                <a:lnTo>
                  <a:pt x="631" y="433"/>
                </a:lnTo>
                <a:lnTo>
                  <a:pt x="664" y="433"/>
                </a:lnTo>
                <a:lnTo>
                  <a:pt x="680" y="433"/>
                </a:lnTo>
                <a:lnTo>
                  <a:pt x="696" y="432"/>
                </a:lnTo>
                <a:lnTo>
                  <a:pt x="703" y="431"/>
                </a:lnTo>
                <a:lnTo>
                  <a:pt x="709" y="429"/>
                </a:lnTo>
                <a:lnTo>
                  <a:pt x="713" y="428"/>
                </a:lnTo>
                <a:lnTo>
                  <a:pt x="717" y="426"/>
                </a:lnTo>
                <a:lnTo>
                  <a:pt x="720" y="421"/>
                </a:lnTo>
                <a:lnTo>
                  <a:pt x="723" y="416"/>
                </a:lnTo>
                <a:lnTo>
                  <a:pt x="725" y="408"/>
                </a:lnTo>
                <a:lnTo>
                  <a:pt x="728" y="400"/>
                </a:lnTo>
                <a:lnTo>
                  <a:pt x="732" y="380"/>
                </a:lnTo>
                <a:lnTo>
                  <a:pt x="734" y="360"/>
                </a:lnTo>
                <a:lnTo>
                  <a:pt x="736" y="324"/>
                </a:lnTo>
                <a:lnTo>
                  <a:pt x="736" y="309"/>
                </a:lnTo>
                <a:lnTo>
                  <a:pt x="728" y="304"/>
                </a:lnTo>
                <a:lnTo>
                  <a:pt x="722" y="302"/>
                </a:lnTo>
                <a:lnTo>
                  <a:pt x="718" y="302"/>
                </a:lnTo>
                <a:lnTo>
                  <a:pt x="714" y="303"/>
                </a:lnTo>
                <a:lnTo>
                  <a:pt x="711" y="304"/>
                </a:lnTo>
                <a:lnTo>
                  <a:pt x="708" y="304"/>
                </a:lnTo>
                <a:lnTo>
                  <a:pt x="703" y="302"/>
                </a:lnTo>
                <a:lnTo>
                  <a:pt x="697" y="297"/>
                </a:lnTo>
                <a:lnTo>
                  <a:pt x="685" y="298"/>
                </a:lnTo>
                <a:lnTo>
                  <a:pt x="676" y="300"/>
                </a:lnTo>
                <a:lnTo>
                  <a:pt x="666" y="302"/>
                </a:lnTo>
                <a:lnTo>
                  <a:pt x="650" y="303"/>
                </a:lnTo>
                <a:lnTo>
                  <a:pt x="641" y="302"/>
                </a:lnTo>
                <a:lnTo>
                  <a:pt x="634" y="299"/>
                </a:lnTo>
                <a:lnTo>
                  <a:pt x="631" y="298"/>
                </a:lnTo>
                <a:lnTo>
                  <a:pt x="628" y="295"/>
                </a:lnTo>
                <a:lnTo>
                  <a:pt x="626" y="293"/>
                </a:lnTo>
                <a:lnTo>
                  <a:pt x="623" y="290"/>
                </a:lnTo>
                <a:lnTo>
                  <a:pt x="620" y="282"/>
                </a:lnTo>
                <a:lnTo>
                  <a:pt x="619" y="274"/>
                </a:lnTo>
                <a:lnTo>
                  <a:pt x="618" y="264"/>
                </a:lnTo>
                <a:lnTo>
                  <a:pt x="617" y="253"/>
                </a:lnTo>
                <a:lnTo>
                  <a:pt x="616" y="244"/>
                </a:lnTo>
                <a:lnTo>
                  <a:pt x="613" y="236"/>
                </a:lnTo>
                <a:lnTo>
                  <a:pt x="610" y="227"/>
                </a:lnTo>
                <a:lnTo>
                  <a:pt x="607" y="219"/>
                </a:lnTo>
                <a:lnTo>
                  <a:pt x="604" y="211"/>
                </a:lnTo>
                <a:lnTo>
                  <a:pt x="600" y="203"/>
                </a:lnTo>
                <a:lnTo>
                  <a:pt x="598" y="195"/>
                </a:lnTo>
                <a:lnTo>
                  <a:pt x="597" y="186"/>
                </a:lnTo>
                <a:lnTo>
                  <a:pt x="598" y="181"/>
                </a:lnTo>
                <a:lnTo>
                  <a:pt x="600" y="177"/>
                </a:lnTo>
                <a:lnTo>
                  <a:pt x="604" y="171"/>
                </a:lnTo>
                <a:lnTo>
                  <a:pt x="607" y="167"/>
                </a:lnTo>
                <a:lnTo>
                  <a:pt x="610" y="162"/>
                </a:lnTo>
                <a:lnTo>
                  <a:pt x="613" y="157"/>
                </a:lnTo>
                <a:lnTo>
                  <a:pt x="616" y="153"/>
                </a:lnTo>
                <a:lnTo>
                  <a:pt x="617" y="148"/>
                </a:lnTo>
                <a:lnTo>
                  <a:pt x="616" y="136"/>
                </a:lnTo>
                <a:lnTo>
                  <a:pt x="612" y="120"/>
                </a:lnTo>
                <a:lnTo>
                  <a:pt x="611" y="109"/>
                </a:lnTo>
                <a:lnTo>
                  <a:pt x="611" y="100"/>
                </a:lnTo>
                <a:lnTo>
                  <a:pt x="613" y="90"/>
                </a:lnTo>
                <a:lnTo>
                  <a:pt x="617" y="81"/>
                </a:lnTo>
                <a:lnTo>
                  <a:pt x="594" y="77"/>
                </a:lnTo>
                <a:lnTo>
                  <a:pt x="544" y="70"/>
                </a:lnTo>
                <a:lnTo>
                  <a:pt x="517" y="67"/>
                </a:lnTo>
                <a:lnTo>
                  <a:pt x="494" y="66"/>
                </a:lnTo>
                <a:lnTo>
                  <a:pt x="484" y="65"/>
                </a:lnTo>
                <a:lnTo>
                  <a:pt x="477" y="66"/>
                </a:lnTo>
                <a:lnTo>
                  <a:pt x="473" y="67"/>
                </a:lnTo>
                <a:lnTo>
                  <a:pt x="471" y="69"/>
                </a:lnTo>
                <a:lnTo>
                  <a:pt x="471" y="73"/>
                </a:lnTo>
                <a:lnTo>
                  <a:pt x="471" y="81"/>
                </a:lnTo>
                <a:lnTo>
                  <a:pt x="470" y="86"/>
                </a:lnTo>
                <a:lnTo>
                  <a:pt x="469" y="91"/>
                </a:lnTo>
                <a:lnTo>
                  <a:pt x="466" y="96"/>
                </a:lnTo>
                <a:lnTo>
                  <a:pt x="463" y="101"/>
                </a:lnTo>
                <a:lnTo>
                  <a:pt x="460" y="107"/>
                </a:lnTo>
                <a:lnTo>
                  <a:pt x="454" y="112"/>
                </a:lnTo>
                <a:lnTo>
                  <a:pt x="448" y="117"/>
                </a:lnTo>
                <a:lnTo>
                  <a:pt x="440" y="122"/>
                </a:lnTo>
                <a:lnTo>
                  <a:pt x="430" y="125"/>
                </a:lnTo>
                <a:lnTo>
                  <a:pt x="419" y="128"/>
                </a:lnTo>
                <a:lnTo>
                  <a:pt x="406" y="130"/>
                </a:lnTo>
                <a:lnTo>
                  <a:pt x="392" y="130"/>
                </a:lnTo>
                <a:lnTo>
                  <a:pt x="385" y="129"/>
                </a:lnTo>
                <a:lnTo>
                  <a:pt x="378" y="127"/>
                </a:lnTo>
                <a:lnTo>
                  <a:pt x="372" y="122"/>
                </a:lnTo>
                <a:lnTo>
                  <a:pt x="364" y="115"/>
                </a:lnTo>
                <a:lnTo>
                  <a:pt x="358" y="108"/>
                </a:lnTo>
                <a:lnTo>
                  <a:pt x="351" y="100"/>
                </a:lnTo>
                <a:lnTo>
                  <a:pt x="344" y="91"/>
                </a:lnTo>
                <a:lnTo>
                  <a:pt x="339" y="82"/>
                </a:lnTo>
                <a:lnTo>
                  <a:pt x="333" y="72"/>
                </a:lnTo>
                <a:lnTo>
                  <a:pt x="328" y="60"/>
                </a:lnTo>
                <a:lnTo>
                  <a:pt x="324" y="50"/>
                </a:lnTo>
                <a:lnTo>
                  <a:pt x="319" y="39"/>
                </a:lnTo>
                <a:lnTo>
                  <a:pt x="316" y="29"/>
                </a:lnTo>
                <a:lnTo>
                  <a:pt x="314" y="19"/>
                </a:lnTo>
                <a:lnTo>
                  <a:pt x="312" y="10"/>
                </a:lnTo>
                <a:lnTo>
                  <a:pt x="312" y="0"/>
                </a:lnTo>
                <a:lnTo>
                  <a:pt x="26" y="0"/>
                </a:lnTo>
                <a:lnTo>
                  <a:pt x="26" y="5"/>
                </a:lnTo>
                <a:lnTo>
                  <a:pt x="28" y="10"/>
                </a:lnTo>
                <a:lnTo>
                  <a:pt x="30" y="15"/>
                </a:lnTo>
                <a:lnTo>
                  <a:pt x="34" y="19"/>
                </a:lnTo>
                <a:lnTo>
                  <a:pt x="38" y="22"/>
                </a:lnTo>
                <a:lnTo>
                  <a:pt x="42" y="26"/>
                </a:lnTo>
                <a:lnTo>
                  <a:pt x="47" y="29"/>
                </a:lnTo>
                <a:lnTo>
                  <a:pt x="52" y="31"/>
                </a:lnTo>
                <a:lnTo>
                  <a:pt x="58" y="47"/>
                </a:lnTo>
                <a:lnTo>
                  <a:pt x="67" y="61"/>
                </a:lnTo>
                <a:lnTo>
                  <a:pt x="75" y="75"/>
                </a:lnTo>
                <a:lnTo>
                  <a:pt x="84" y="89"/>
                </a:lnTo>
                <a:lnTo>
                  <a:pt x="92" y="104"/>
                </a:lnTo>
                <a:lnTo>
                  <a:pt x="98" y="121"/>
                </a:lnTo>
                <a:lnTo>
                  <a:pt x="102" y="130"/>
                </a:lnTo>
                <a:lnTo>
                  <a:pt x="104" y="139"/>
                </a:lnTo>
                <a:lnTo>
                  <a:pt x="105" y="150"/>
                </a:lnTo>
                <a:lnTo>
                  <a:pt x="105" y="161"/>
                </a:lnTo>
                <a:lnTo>
                  <a:pt x="103" y="171"/>
                </a:lnTo>
                <a:lnTo>
                  <a:pt x="98" y="183"/>
                </a:lnTo>
                <a:lnTo>
                  <a:pt x="96" y="190"/>
                </a:lnTo>
                <a:lnTo>
                  <a:pt x="94" y="196"/>
                </a:lnTo>
                <a:lnTo>
                  <a:pt x="93" y="203"/>
                </a:lnTo>
                <a:lnTo>
                  <a:pt x="92" y="210"/>
                </a:lnTo>
                <a:lnTo>
                  <a:pt x="93" y="217"/>
                </a:lnTo>
                <a:lnTo>
                  <a:pt x="94" y="223"/>
                </a:lnTo>
                <a:lnTo>
                  <a:pt x="96" y="229"/>
                </a:lnTo>
                <a:lnTo>
                  <a:pt x="98" y="236"/>
                </a:lnTo>
                <a:lnTo>
                  <a:pt x="105" y="248"/>
                </a:lnTo>
                <a:lnTo>
                  <a:pt x="112" y="260"/>
                </a:lnTo>
                <a:lnTo>
                  <a:pt x="119" y="272"/>
                </a:lnTo>
                <a:lnTo>
                  <a:pt x="126" y="285"/>
                </a:lnTo>
                <a:lnTo>
                  <a:pt x="128" y="293"/>
                </a:lnTo>
                <a:lnTo>
                  <a:pt x="130" y="300"/>
                </a:lnTo>
                <a:lnTo>
                  <a:pt x="131" y="307"/>
                </a:lnTo>
                <a:lnTo>
                  <a:pt x="133" y="315"/>
                </a:lnTo>
                <a:lnTo>
                  <a:pt x="131" y="326"/>
                </a:lnTo>
                <a:lnTo>
                  <a:pt x="129" y="338"/>
                </a:lnTo>
                <a:lnTo>
                  <a:pt x="127" y="352"/>
                </a:lnTo>
                <a:lnTo>
                  <a:pt x="123" y="364"/>
                </a:lnTo>
                <a:lnTo>
                  <a:pt x="118" y="377"/>
                </a:lnTo>
                <a:lnTo>
                  <a:pt x="113" y="389"/>
                </a:lnTo>
                <a:lnTo>
                  <a:pt x="106" y="403"/>
                </a:lnTo>
                <a:lnTo>
                  <a:pt x="100" y="414"/>
                </a:lnTo>
                <a:lnTo>
                  <a:pt x="92" y="426"/>
                </a:lnTo>
                <a:lnTo>
                  <a:pt x="84" y="436"/>
                </a:lnTo>
                <a:lnTo>
                  <a:pt x="77" y="446"/>
                </a:lnTo>
                <a:lnTo>
                  <a:pt x="68" y="457"/>
                </a:lnTo>
                <a:lnTo>
                  <a:pt x="59" y="465"/>
                </a:lnTo>
                <a:lnTo>
                  <a:pt x="50" y="471"/>
                </a:lnTo>
                <a:lnTo>
                  <a:pt x="41" y="477"/>
                </a:lnTo>
                <a:lnTo>
                  <a:pt x="33" y="481"/>
                </a:lnTo>
                <a:lnTo>
                  <a:pt x="33" y="586"/>
                </a:lnTo>
                <a:lnTo>
                  <a:pt x="28" y="588"/>
                </a:lnTo>
                <a:lnTo>
                  <a:pt x="25" y="591"/>
                </a:lnTo>
                <a:lnTo>
                  <a:pt x="23" y="595"/>
                </a:lnTo>
                <a:lnTo>
                  <a:pt x="19" y="600"/>
                </a:lnTo>
                <a:lnTo>
                  <a:pt x="15" y="612"/>
                </a:lnTo>
                <a:lnTo>
                  <a:pt x="11" y="627"/>
                </a:lnTo>
                <a:lnTo>
                  <a:pt x="4" y="659"/>
                </a:lnTo>
                <a:lnTo>
                  <a:pt x="0" y="69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429" name="Freeform 381"/>
          <p:cNvSpPr>
            <a:spLocks/>
          </p:cNvSpPr>
          <p:nvPr>
            <p:custDataLst>
              <p:tags r:id="rId270"/>
            </p:custDataLst>
          </p:nvPr>
        </p:nvSpPr>
        <p:spPr bwMode="auto">
          <a:xfrm>
            <a:off x="5832476" y="3824289"/>
            <a:ext cx="15875" cy="60325"/>
          </a:xfrm>
          <a:custGeom>
            <a:avLst/>
            <a:gdLst>
              <a:gd name="T0" fmla="*/ 0 w 39"/>
              <a:gd name="T1" fmla="*/ 31 h 31"/>
              <a:gd name="T2" fmla="*/ 12 w 39"/>
              <a:gd name="T3" fmla="*/ 28 h 31"/>
              <a:gd name="T4" fmla="*/ 22 w 39"/>
              <a:gd name="T5" fmla="*/ 28 h 31"/>
              <a:gd name="T6" fmla="*/ 26 w 39"/>
              <a:gd name="T7" fmla="*/ 28 h 31"/>
              <a:gd name="T8" fmla="*/ 30 w 39"/>
              <a:gd name="T9" fmla="*/ 28 h 31"/>
              <a:gd name="T10" fmla="*/ 35 w 39"/>
              <a:gd name="T11" fmla="*/ 27 h 31"/>
              <a:gd name="T12" fmla="*/ 39 w 39"/>
              <a:gd name="T13" fmla="*/ 25 h 31"/>
              <a:gd name="T14" fmla="*/ 39 w 39"/>
              <a:gd name="T15" fmla="*/ 0 h 31"/>
              <a:gd name="T16" fmla="*/ 26 w 39"/>
              <a:gd name="T17" fmla="*/ 0 h 31"/>
              <a:gd name="T18" fmla="*/ 17 w 39"/>
              <a:gd name="T19" fmla="*/ 0 h 31"/>
              <a:gd name="T20" fmla="*/ 8 w 39"/>
              <a:gd name="T21" fmla="*/ 0 h 31"/>
              <a:gd name="T22" fmla="*/ 0 w 39"/>
              <a:gd name="T23" fmla="*/ 0 h 31"/>
              <a:gd name="T24" fmla="*/ 0 w 39"/>
              <a:gd name="T25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9" h="31">
                <a:moveTo>
                  <a:pt x="0" y="31"/>
                </a:moveTo>
                <a:lnTo>
                  <a:pt x="12" y="28"/>
                </a:lnTo>
                <a:lnTo>
                  <a:pt x="22" y="28"/>
                </a:lnTo>
                <a:lnTo>
                  <a:pt x="26" y="28"/>
                </a:lnTo>
                <a:lnTo>
                  <a:pt x="30" y="28"/>
                </a:lnTo>
                <a:lnTo>
                  <a:pt x="35" y="27"/>
                </a:lnTo>
                <a:lnTo>
                  <a:pt x="39" y="25"/>
                </a:lnTo>
                <a:lnTo>
                  <a:pt x="39" y="0"/>
                </a:lnTo>
                <a:lnTo>
                  <a:pt x="26" y="0"/>
                </a:lnTo>
                <a:lnTo>
                  <a:pt x="17" y="0"/>
                </a:lnTo>
                <a:lnTo>
                  <a:pt x="8" y="0"/>
                </a:lnTo>
                <a:lnTo>
                  <a:pt x="0" y="0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430" name="Freeform 382"/>
          <p:cNvSpPr>
            <a:spLocks/>
          </p:cNvSpPr>
          <p:nvPr>
            <p:custDataLst>
              <p:tags r:id="rId271"/>
            </p:custDataLst>
          </p:nvPr>
        </p:nvSpPr>
        <p:spPr bwMode="auto">
          <a:xfrm>
            <a:off x="5934076" y="4367213"/>
            <a:ext cx="396875" cy="398462"/>
          </a:xfrm>
          <a:custGeom>
            <a:avLst/>
            <a:gdLst>
              <a:gd name="T0" fmla="*/ 899 w 903"/>
              <a:gd name="T1" fmla="*/ 291 h 759"/>
              <a:gd name="T2" fmla="*/ 863 w 903"/>
              <a:gd name="T3" fmla="*/ 388 h 759"/>
              <a:gd name="T4" fmla="*/ 832 w 903"/>
              <a:gd name="T5" fmla="*/ 414 h 759"/>
              <a:gd name="T6" fmla="*/ 761 w 903"/>
              <a:gd name="T7" fmla="*/ 507 h 759"/>
              <a:gd name="T8" fmla="*/ 720 w 903"/>
              <a:gd name="T9" fmla="*/ 561 h 759"/>
              <a:gd name="T10" fmla="*/ 647 w 903"/>
              <a:gd name="T11" fmla="*/ 613 h 759"/>
              <a:gd name="T12" fmla="*/ 583 w 903"/>
              <a:gd name="T13" fmla="*/ 666 h 759"/>
              <a:gd name="T14" fmla="*/ 557 w 903"/>
              <a:gd name="T15" fmla="*/ 698 h 759"/>
              <a:gd name="T16" fmla="*/ 520 w 903"/>
              <a:gd name="T17" fmla="*/ 705 h 759"/>
              <a:gd name="T18" fmla="*/ 496 w 903"/>
              <a:gd name="T19" fmla="*/ 710 h 759"/>
              <a:gd name="T20" fmla="*/ 485 w 903"/>
              <a:gd name="T21" fmla="*/ 727 h 759"/>
              <a:gd name="T22" fmla="*/ 372 w 903"/>
              <a:gd name="T23" fmla="*/ 727 h 759"/>
              <a:gd name="T24" fmla="*/ 339 w 903"/>
              <a:gd name="T25" fmla="*/ 732 h 759"/>
              <a:gd name="T26" fmla="*/ 316 w 903"/>
              <a:gd name="T27" fmla="*/ 732 h 759"/>
              <a:gd name="T28" fmla="*/ 286 w 903"/>
              <a:gd name="T29" fmla="*/ 727 h 759"/>
              <a:gd name="T30" fmla="*/ 263 w 903"/>
              <a:gd name="T31" fmla="*/ 737 h 759"/>
              <a:gd name="T32" fmla="*/ 146 w 903"/>
              <a:gd name="T33" fmla="*/ 759 h 759"/>
              <a:gd name="T34" fmla="*/ 116 w 903"/>
              <a:gd name="T35" fmla="*/ 753 h 759"/>
              <a:gd name="T36" fmla="*/ 90 w 903"/>
              <a:gd name="T37" fmla="*/ 739 h 759"/>
              <a:gd name="T38" fmla="*/ 76 w 903"/>
              <a:gd name="T39" fmla="*/ 719 h 759"/>
              <a:gd name="T40" fmla="*/ 79 w 903"/>
              <a:gd name="T41" fmla="*/ 697 h 759"/>
              <a:gd name="T42" fmla="*/ 75 w 903"/>
              <a:gd name="T43" fmla="*/ 628 h 759"/>
              <a:gd name="T44" fmla="*/ 79 w 903"/>
              <a:gd name="T45" fmla="*/ 608 h 759"/>
              <a:gd name="T46" fmla="*/ 68 w 903"/>
              <a:gd name="T47" fmla="*/ 572 h 759"/>
              <a:gd name="T48" fmla="*/ 22 w 903"/>
              <a:gd name="T49" fmla="*/ 516 h 759"/>
              <a:gd name="T50" fmla="*/ 12 w 903"/>
              <a:gd name="T51" fmla="*/ 484 h 759"/>
              <a:gd name="T52" fmla="*/ 10 w 903"/>
              <a:gd name="T53" fmla="*/ 439 h 759"/>
              <a:gd name="T54" fmla="*/ 0 w 903"/>
              <a:gd name="T55" fmla="*/ 377 h 759"/>
              <a:gd name="T56" fmla="*/ 39 w 903"/>
              <a:gd name="T57" fmla="*/ 377 h 759"/>
              <a:gd name="T58" fmla="*/ 57 w 903"/>
              <a:gd name="T59" fmla="*/ 396 h 759"/>
              <a:gd name="T60" fmla="*/ 94 w 903"/>
              <a:gd name="T61" fmla="*/ 410 h 759"/>
              <a:gd name="T62" fmla="*/ 135 w 903"/>
              <a:gd name="T63" fmla="*/ 411 h 759"/>
              <a:gd name="T64" fmla="*/ 160 w 903"/>
              <a:gd name="T65" fmla="*/ 400 h 759"/>
              <a:gd name="T66" fmla="*/ 182 w 903"/>
              <a:gd name="T67" fmla="*/ 372 h 759"/>
              <a:gd name="T68" fmla="*/ 197 w 903"/>
              <a:gd name="T69" fmla="*/ 229 h 759"/>
              <a:gd name="T70" fmla="*/ 204 w 903"/>
              <a:gd name="T71" fmla="*/ 184 h 759"/>
              <a:gd name="T72" fmla="*/ 210 w 903"/>
              <a:gd name="T73" fmla="*/ 168 h 759"/>
              <a:gd name="T74" fmla="*/ 239 w 903"/>
              <a:gd name="T75" fmla="*/ 178 h 759"/>
              <a:gd name="T76" fmla="*/ 245 w 903"/>
              <a:gd name="T77" fmla="*/ 238 h 759"/>
              <a:gd name="T78" fmla="*/ 247 w 903"/>
              <a:gd name="T79" fmla="*/ 274 h 759"/>
              <a:gd name="T80" fmla="*/ 256 w 903"/>
              <a:gd name="T81" fmla="*/ 287 h 759"/>
              <a:gd name="T82" fmla="*/ 287 w 903"/>
              <a:gd name="T83" fmla="*/ 295 h 759"/>
              <a:gd name="T84" fmla="*/ 312 w 903"/>
              <a:gd name="T85" fmla="*/ 293 h 759"/>
              <a:gd name="T86" fmla="*/ 333 w 903"/>
              <a:gd name="T87" fmla="*/ 272 h 759"/>
              <a:gd name="T88" fmla="*/ 350 w 903"/>
              <a:gd name="T89" fmla="*/ 234 h 759"/>
              <a:gd name="T90" fmla="*/ 368 w 903"/>
              <a:gd name="T91" fmla="*/ 201 h 759"/>
              <a:gd name="T92" fmla="*/ 387 w 903"/>
              <a:gd name="T93" fmla="*/ 191 h 759"/>
              <a:gd name="T94" fmla="*/ 414 w 903"/>
              <a:gd name="T95" fmla="*/ 193 h 759"/>
              <a:gd name="T96" fmla="*/ 451 w 903"/>
              <a:gd name="T97" fmla="*/ 208 h 759"/>
              <a:gd name="T98" fmla="*/ 478 w 903"/>
              <a:gd name="T99" fmla="*/ 216 h 759"/>
              <a:gd name="T100" fmla="*/ 512 w 903"/>
              <a:gd name="T101" fmla="*/ 213 h 759"/>
              <a:gd name="T102" fmla="*/ 531 w 903"/>
              <a:gd name="T103" fmla="*/ 200 h 759"/>
              <a:gd name="T104" fmla="*/ 564 w 903"/>
              <a:gd name="T105" fmla="*/ 127 h 759"/>
              <a:gd name="T106" fmla="*/ 620 w 903"/>
              <a:gd name="T107" fmla="*/ 80 h 759"/>
              <a:gd name="T108" fmla="*/ 732 w 903"/>
              <a:gd name="T109" fmla="*/ 11 h 759"/>
              <a:gd name="T110" fmla="*/ 806 w 903"/>
              <a:gd name="T111" fmla="*/ 3 h 759"/>
              <a:gd name="T112" fmla="*/ 830 w 903"/>
              <a:gd name="T113" fmla="*/ 6 h 759"/>
              <a:gd name="T114" fmla="*/ 854 w 903"/>
              <a:gd name="T115" fmla="*/ 35 h 759"/>
              <a:gd name="T116" fmla="*/ 873 w 903"/>
              <a:gd name="T117" fmla="*/ 71 h 759"/>
              <a:gd name="T118" fmla="*/ 883 w 903"/>
              <a:gd name="T119" fmla="*/ 107 h 759"/>
              <a:gd name="T120" fmla="*/ 868 w 903"/>
              <a:gd name="T121" fmla="*/ 207 h 759"/>
              <a:gd name="T122" fmla="*/ 830 w 903"/>
              <a:gd name="T123" fmla="*/ 204 h 759"/>
              <a:gd name="T124" fmla="*/ 826 w 903"/>
              <a:gd name="T125" fmla="*/ 281 h 7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903" h="759">
                <a:moveTo>
                  <a:pt x="870" y="296"/>
                </a:moveTo>
                <a:lnTo>
                  <a:pt x="875" y="295"/>
                </a:lnTo>
                <a:lnTo>
                  <a:pt x="886" y="293"/>
                </a:lnTo>
                <a:lnTo>
                  <a:pt x="899" y="291"/>
                </a:lnTo>
                <a:lnTo>
                  <a:pt x="903" y="290"/>
                </a:lnTo>
                <a:lnTo>
                  <a:pt x="863" y="364"/>
                </a:lnTo>
                <a:lnTo>
                  <a:pt x="863" y="376"/>
                </a:lnTo>
                <a:lnTo>
                  <a:pt x="863" y="388"/>
                </a:lnTo>
                <a:lnTo>
                  <a:pt x="857" y="392"/>
                </a:lnTo>
                <a:lnTo>
                  <a:pt x="849" y="397"/>
                </a:lnTo>
                <a:lnTo>
                  <a:pt x="840" y="405"/>
                </a:lnTo>
                <a:lnTo>
                  <a:pt x="832" y="414"/>
                </a:lnTo>
                <a:lnTo>
                  <a:pt x="813" y="436"/>
                </a:lnTo>
                <a:lnTo>
                  <a:pt x="794" y="460"/>
                </a:lnTo>
                <a:lnTo>
                  <a:pt x="776" y="485"/>
                </a:lnTo>
                <a:lnTo>
                  <a:pt x="761" y="507"/>
                </a:lnTo>
                <a:lnTo>
                  <a:pt x="749" y="525"/>
                </a:lnTo>
                <a:lnTo>
                  <a:pt x="744" y="537"/>
                </a:lnTo>
                <a:lnTo>
                  <a:pt x="732" y="550"/>
                </a:lnTo>
                <a:lnTo>
                  <a:pt x="720" y="561"/>
                </a:lnTo>
                <a:lnTo>
                  <a:pt x="706" y="571"/>
                </a:lnTo>
                <a:lnTo>
                  <a:pt x="694" y="581"/>
                </a:lnTo>
                <a:lnTo>
                  <a:pt x="670" y="598"/>
                </a:lnTo>
                <a:lnTo>
                  <a:pt x="647" y="613"/>
                </a:lnTo>
                <a:lnTo>
                  <a:pt x="624" y="628"/>
                </a:lnTo>
                <a:lnTo>
                  <a:pt x="603" y="646"/>
                </a:lnTo>
                <a:lnTo>
                  <a:pt x="592" y="655"/>
                </a:lnTo>
                <a:lnTo>
                  <a:pt x="583" y="666"/>
                </a:lnTo>
                <a:lnTo>
                  <a:pt x="574" y="677"/>
                </a:lnTo>
                <a:lnTo>
                  <a:pt x="565" y="690"/>
                </a:lnTo>
                <a:lnTo>
                  <a:pt x="561" y="694"/>
                </a:lnTo>
                <a:lnTo>
                  <a:pt x="557" y="698"/>
                </a:lnTo>
                <a:lnTo>
                  <a:pt x="553" y="700"/>
                </a:lnTo>
                <a:lnTo>
                  <a:pt x="546" y="702"/>
                </a:lnTo>
                <a:lnTo>
                  <a:pt x="534" y="704"/>
                </a:lnTo>
                <a:lnTo>
                  <a:pt x="520" y="705"/>
                </a:lnTo>
                <a:lnTo>
                  <a:pt x="513" y="705"/>
                </a:lnTo>
                <a:lnTo>
                  <a:pt x="507" y="706"/>
                </a:lnTo>
                <a:lnTo>
                  <a:pt x="501" y="708"/>
                </a:lnTo>
                <a:lnTo>
                  <a:pt x="496" y="710"/>
                </a:lnTo>
                <a:lnTo>
                  <a:pt x="491" y="713"/>
                </a:lnTo>
                <a:lnTo>
                  <a:pt x="488" y="716"/>
                </a:lnTo>
                <a:lnTo>
                  <a:pt x="486" y="721"/>
                </a:lnTo>
                <a:lnTo>
                  <a:pt x="485" y="727"/>
                </a:lnTo>
                <a:lnTo>
                  <a:pt x="444" y="727"/>
                </a:lnTo>
                <a:lnTo>
                  <a:pt x="415" y="727"/>
                </a:lnTo>
                <a:lnTo>
                  <a:pt x="395" y="727"/>
                </a:lnTo>
                <a:lnTo>
                  <a:pt x="372" y="727"/>
                </a:lnTo>
                <a:lnTo>
                  <a:pt x="359" y="727"/>
                </a:lnTo>
                <a:lnTo>
                  <a:pt x="348" y="729"/>
                </a:lnTo>
                <a:lnTo>
                  <a:pt x="344" y="730"/>
                </a:lnTo>
                <a:lnTo>
                  <a:pt x="339" y="732"/>
                </a:lnTo>
                <a:lnTo>
                  <a:pt x="332" y="735"/>
                </a:lnTo>
                <a:lnTo>
                  <a:pt x="325" y="739"/>
                </a:lnTo>
                <a:lnTo>
                  <a:pt x="320" y="735"/>
                </a:lnTo>
                <a:lnTo>
                  <a:pt x="316" y="732"/>
                </a:lnTo>
                <a:lnTo>
                  <a:pt x="310" y="730"/>
                </a:lnTo>
                <a:lnTo>
                  <a:pt x="306" y="729"/>
                </a:lnTo>
                <a:lnTo>
                  <a:pt x="296" y="727"/>
                </a:lnTo>
                <a:lnTo>
                  <a:pt x="286" y="727"/>
                </a:lnTo>
                <a:lnTo>
                  <a:pt x="283" y="730"/>
                </a:lnTo>
                <a:lnTo>
                  <a:pt x="278" y="732"/>
                </a:lnTo>
                <a:lnTo>
                  <a:pt x="272" y="735"/>
                </a:lnTo>
                <a:lnTo>
                  <a:pt x="263" y="737"/>
                </a:lnTo>
                <a:lnTo>
                  <a:pt x="242" y="742"/>
                </a:lnTo>
                <a:lnTo>
                  <a:pt x="218" y="747"/>
                </a:lnTo>
                <a:lnTo>
                  <a:pt x="173" y="756"/>
                </a:lnTo>
                <a:lnTo>
                  <a:pt x="146" y="759"/>
                </a:lnTo>
                <a:lnTo>
                  <a:pt x="139" y="758"/>
                </a:lnTo>
                <a:lnTo>
                  <a:pt x="131" y="757"/>
                </a:lnTo>
                <a:lnTo>
                  <a:pt x="123" y="756"/>
                </a:lnTo>
                <a:lnTo>
                  <a:pt x="116" y="753"/>
                </a:lnTo>
                <a:lnTo>
                  <a:pt x="109" y="750"/>
                </a:lnTo>
                <a:lnTo>
                  <a:pt x="103" y="746"/>
                </a:lnTo>
                <a:lnTo>
                  <a:pt x="96" y="743"/>
                </a:lnTo>
                <a:lnTo>
                  <a:pt x="90" y="739"/>
                </a:lnTo>
                <a:lnTo>
                  <a:pt x="85" y="734"/>
                </a:lnTo>
                <a:lnTo>
                  <a:pt x="82" y="730"/>
                </a:lnTo>
                <a:lnTo>
                  <a:pt x="78" y="725"/>
                </a:lnTo>
                <a:lnTo>
                  <a:pt x="76" y="719"/>
                </a:lnTo>
                <a:lnTo>
                  <a:pt x="75" y="714"/>
                </a:lnTo>
                <a:lnTo>
                  <a:pt x="75" y="708"/>
                </a:lnTo>
                <a:lnTo>
                  <a:pt x="76" y="703"/>
                </a:lnTo>
                <a:lnTo>
                  <a:pt x="79" y="697"/>
                </a:lnTo>
                <a:lnTo>
                  <a:pt x="60" y="648"/>
                </a:lnTo>
                <a:lnTo>
                  <a:pt x="65" y="639"/>
                </a:lnTo>
                <a:lnTo>
                  <a:pt x="72" y="632"/>
                </a:lnTo>
                <a:lnTo>
                  <a:pt x="75" y="628"/>
                </a:lnTo>
                <a:lnTo>
                  <a:pt x="77" y="625"/>
                </a:lnTo>
                <a:lnTo>
                  <a:pt x="79" y="621"/>
                </a:lnTo>
                <a:lnTo>
                  <a:pt x="79" y="616"/>
                </a:lnTo>
                <a:lnTo>
                  <a:pt x="79" y="608"/>
                </a:lnTo>
                <a:lnTo>
                  <a:pt x="78" y="600"/>
                </a:lnTo>
                <a:lnTo>
                  <a:pt x="76" y="592"/>
                </a:lnTo>
                <a:lnTo>
                  <a:pt x="74" y="584"/>
                </a:lnTo>
                <a:lnTo>
                  <a:pt x="68" y="572"/>
                </a:lnTo>
                <a:lnTo>
                  <a:pt x="61" y="561"/>
                </a:lnTo>
                <a:lnTo>
                  <a:pt x="43" y="542"/>
                </a:lnTo>
                <a:lnTo>
                  <a:pt x="27" y="524"/>
                </a:lnTo>
                <a:lnTo>
                  <a:pt x="22" y="516"/>
                </a:lnTo>
                <a:lnTo>
                  <a:pt x="18" y="509"/>
                </a:lnTo>
                <a:lnTo>
                  <a:pt x="16" y="502"/>
                </a:lnTo>
                <a:lnTo>
                  <a:pt x="14" y="496"/>
                </a:lnTo>
                <a:lnTo>
                  <a:pt x="12" y="484"/>
                </a:lnTo>
                <a:lnTo>
                  <a:pt x="11" y="472"/>
                </a:lnTo>
                <a:lnTo>
                  <a:pt x="11" y="461"/>
                </a:lnTo>
                <a:lnTo>
                  <a:pt x="11" y="450"/>
                </a:lnTo>
                <a:lnTo>
                  <a:pt x="10" y="439"/>
                </a:lnTo>
                <a:lnTo>
                  <a:pt x="7" y="426"/>
                </a:lnTo>
                <a:lnTo>
                  <a:pt x="6" y="412"/>
                </a:lnTo>
                <a:lnTo>
                  <a:pt x="4" y="395"/>
                </a:lnTo>
                <a:lnTo>
                  <a:pt x="0" y="377"/>
                </a:lnTo>
                <a:lnTo>
                  <a:pt x="0" y="364"/>
                </a:lnTo>
                <a:lnTo>
                  <a:pt x="33" y="364"/>
                </a:lnTo>
                <a:lnTo>
                  <a:pt x="36" y="371"/>
                </a:lnTo>
                <a:lnTo>
                  <a:pt x="39" y="377"/>
                </a:lnTo>
                <a:lnTo>
                  <a:pt x="43" y="382"/>
                </a:lnTo>
                <a:lnTo>
                  <a:pt x="48" y="387"/>
                </a:lnTo>
                <a:lnTo>
                  <a:pt x="52" y="392"/>
                </a:lnTo>
                <a:lnTo>
                  <a:pt x="57" y="396"/>
                </a:lnTo>
                <a:lnTo>
                  <a:pt x="63" y="399"/>
                </a:lnTo>
                <a:lnTo>
                  <a:pt x="68" y="402"/>
                </a:lnTo>
                <a:lnTo>
                  <a:pt x="81" y="407"/>
                </a:lnTo>
                <a:lnTo>
                  <a:pt x="94" y="410"/>
                </a:lnTo>
                <a:lnTo>
                  <a:pt x="107" y="412"/>
                </a:lnTo>
                <a:lnTo>
                  <a:pt x="119" y="413"/>
                </a:lnTo>
                <a:lnTo>
                  <a:pt x="128" y="412"/>
                </a:lnTo>
                <a:lnTo>
                  <a:pt x="135" y="411"/>
                </a:lnTo>
                <a:lnTo>
                  <a:pt x="142" y="409"/>
                </a:lnTo>
                <a:lnTo>
                  <a:pt x="149" y="407"/>
                </a:lnTo>
                <a:lnTo>
                  <a:pt x="154" y="404"/>
                </a:lnTo>
                <a:lnTo>
                  <a:pt x="160" y="400"/>
                </a:lnTo>
                <a:lnTo>
                  <a:pt x="164" y="396"/>
                </a:lnTo>
                <a:lnTo>
                  <a:pt x="168" y="392"/>
                </a:lnTo>
                <a:lnTo>
                  <a:pt x="176" y="382"/>
                </a:lnTo>
                <a:lnTo>
                  <a:pt x="182" y="372"/>
                </a:lnTo>
                <a:lnTo>
                  <a:pt x="187" y="361"/>
                </a:lnTo>
                <a:lnTo>
                  <a:pt x="193" y="351"/>
                </a:lnTo>
                <a:lnTo>
                  <a:pt x="193" y="240"/>
                </a:lnTo>
                <a:lnTo>
                  <a:pt x="197" y="229"/>
                </a:lnTo>
                <a:lnTo>
                  <a:pt x="199" y="217"/>
                </a:lnTo>
                <a:lnTo>
                  <a:pt x="201" y="206"/>
                </a:lnTo>
                <a:lnTo>
                  <a:pt x="202" y="194"/>
                </a:lnTo>
                <a:lnTo>
                  <a:pt x="204" y="184"/>
                </a:lnTo>
                <a:lnTo>
                  <a:pt x="206" y="176"/>
                </a:lnTo>
                <a:lnTo>
                  <a:pt x="207" y="173"/>
                </a:lnTo>
                <a:lnTo>
                  <a:pt x="208" y="170"/>
                </a:lnTo>
                <a:lnTo>
                  <a:pt x="210" y="168"/>
                </a:lnTo>
                <a:lnTo>
                  <a:pt x="212" y="167"/>
                </a:lnTo>
                <a:lnTo>
                  <a:pt x="220" y="171"/>
                </a:lnTo>
                <a:lnTo>
                  <a:pt x="229" y="175"/>
                </a:lnTo>
                <a:lnTo>
                  <a:pt x="239" y="178"/>
                </a:lnTo>
                <a:lnTo>
                  <a:pt x="245" y="179"/>
                </a:lnTo>
                <a:lnTo>
                  <a:pt x="245" y="201"/>
                </a:lnTo>
                <a:lnTo>
                  <a:pt x="245" y="219"/>
                </a:lnTo>
                <a:lnTo>
                  <a:pt x="245" y="238"/>
                </a:lnTo>
                <a:lnTo>
                  <a:pt x="245" y="259"/>
                </a:lnTo>
                <a:lnTo>
                  <a:pt x="246" y="265"/>
                </a:lnTo>
                <a:lnTo>
                  <a:pt x="246" y="270"/>
                </a:lnTo>
                <a:lnTo>
                  <a:pt x="247" y="274"/>
                </a:lnTo>
                <a:lnTo>
                  <a:pt x="250" y="278"/>
                </a:lnTo>
                <a:lnTo>
                  <a:pt x="252" y="281"/>
                </a:lnTo>
                <a:lnTo>
                  <a:pt x="254" y="284"/>
                </a:lnTo>
                <a:lnTo>
                  <a:pt x="256" y="287"/>
                </a:lnTo>
                <a:lnTo>
                  <a:pt x="260" y="289"/>
                </a:lnTo>
                <a:lnTo>
                  <a:pt x="267" y="292"/>
                </a:lnTo>
                <a:lnTo>
                  <a:pt x="276" y="294"/>
                </a:lnTo>
                <a:lnTo>
                  <a:pt x="287" y="295"/>
                </a:lnTo>
                <a:lnTo>
                  <a:pt x="299" y="296"/>
                </a:lnTo>
                <a:lnTo>
                  <a:pt x="303" y="295"/>
                </a:lnTo>
                <a:lnTo>
                  <a:pt x="308" y="295"/>
                </a:lnTo>
                <a:lnTo>
                  <a:pt x="312" y="293"/>
                </a:lnTo>
                <a:lnTo>
                  <a:pt x="316" y="291"/>
                </a:lnTo>
                <a:lnTo>
                  <a:pt x="322" y="286"/>
                </a:lnTo>
                <a:lnTo>
                  <a:pt x="329" y="280"/>
                </a:lnTo>
                <a:lnTo>
                  <a:pt x="333" y="272"/>
                </a:lnTo>
                <a:lnTo>
                  <a:pt x="337" y="263"/>
                </a:lnTo>
                <a:lnTo>
                  <a:pt x="342" y="254"/>
                </a:lnTo>
                <a:lnTo>
                  <a:pt x="345" y="243"/>
                </a:lnTo>
                <a:lnTo>
                  <a:pt x="350" y="234"/>
                </a:lnTo>
                <a:lnTo>
                  <a:pt x="353" y="224"/>
                </a:lnTo>
                <a:lnTo>
                  <a:pt x="357" y="216"/>
                </a:lnTo>
                <a:lnTo>
                  <a:pt x="363" y="208"/>
                </a:lnTo>
                <a:lnTo>
                  <a:pt x="368" y="201"/>
                </a:lnTo>
                <a:lnTo>
                  <a:pt x="375" y="195"/>
                </a:lnTo>
                <a:lnTo>
                  <a:pt x="378" y="193"/>
                </a:lnTo>
                <a:lnTo>
                  <a:pt x="382" y="192"/>
                </a:lnTo>
                <a:lnTo>
                  <a:pt x="387" y="191"/>
                </a:lnTo>
                <a:lnTo>
                  <a:pt x="392" y="191"/>
                </a:lnTo>
                <a:lnTo>
                  <a:pt x="400" y="191"/>
                </a:lnTo>
                <a:lnTo>
                  <a:pt x="408" y="192"/>
                </a:lnTo>
                <a:lnTo>
                  <a:pt x="414" y="193"/>
                </a:lnTo>
                <a:lnTo>
                  <a:pt x="421" y="195"/>
                </a:lnTo>
                <a:lnTo>
                  <a:pt x="431" y="200"/>
                </a:lnTo>
                <a:lnTo>
                  <a:pt x="441" y="204"/>
                </a:lnTo>
                <a:lnTo>
                  <a:pt x="451" y="208"/>
                </a:lnTo>
                <a:lnTo>
                  <a:pt x="460" y="212"/>
                </a:lnTo>
                <a:lnTo>
                  <a:pt x="466" y="214"/>
                </a:lnTo>
                <a:lnTo>
                  <a:pt x="471" y="215"/>
                </a:lnTo>
                <a:lnTo>
                  <a:pt x="478" y="216"/>
                </a:lnTo>
                <a:lnTo>
                  <a:pt x="485" y="216"/>
                </a:lnTo>
                <a:lnTo>
                  <a:pt x="496" y="216"/>
                </a:lnTo>
                <a:lnTo>
                  <a:pt x="504" y="215"/>
                </a:lnTo>
                <a:lnTo>
                  <a:pt x="512" y="213"/>
                </a:lnTo>
                <a:lnTo>
                  <a:pt x="518" y="211"/>
                </a:lnTo>
                <a:lnTo>
                  <a:pt x="523" y="208"/>
                </a:lnTo>
                <a:lnTo>
                  <a:pt x="527" y="204"/>
                </a:lnTo>
                <a:lnTo>
                  <a:pt x="531" y="200"/>
                </a:lnTo>
                <a:lnTo>
                  <a:pt x="534" y="194"/>
                </a:lnTo>
                <a:lnTo>
                  <a:pt x="544" y="169"/>
                </a:lnTo>
                <a:lnTo>
                  <a:pt x="558" y="135"/>
                </a:lnTo>
                <a:lnTo>
                  <a:pt x="564" y="127"/>
                </a:lnTo>
                <a:lnTo>
                  <a:pt x="572" y="119"/>
                </a:lnTo>
                <a:lnTo>
                  <a:pt x="582" y="110"/>
                </a:lnTo>
                <a:lnTo>
                  <a:pt x="593" y="100"/>
                </a:lnTo>
                <a:lnTo>
                  <a:pt x="620" y="80"/>
                </a:lnTo>
                <a:lnTo>
                  <a:pt x="649" y="61"/>
                </a:lnTo>
                <a:lnTo>
                  <a:pt x="679" y="43"/>
                </a:lnTo>
                <a:lnTo>
                  <a:pt x="708" y="25"/>
                </a:lnTo>
                <a:lnTo>
                  <a:pt x="732" y="11"/>
                </a:lnTo>
                <a:lnTo>
                  <a:pt x="750" y="0"/>
                </a:lnTo>
                <a:lnTo>
                  <a:pt x="777" y="1"/>
                </a:lnTo>
                <a:lnTo>
                  <a:pt x="798" y="3"/>
                </a:lnTo>
                <a:lnTo>
                  <a:pt x="806" y="3"/>
                </a:lnTo>
                <a:lnTo>
                  <a:pt x="815" y="3"/>
                </a:lnTo>
                <a:lnTo>
                  <a:pt x="823" y="2"/>
                </a:lnTo>
                <a:lnTo>
                  <a:pt x="830" y="0"/>
                </a:lnTo>
                <a:lnTo>
                  <a:pt x="830" y="6"/>
                </a:lnTo>
                <a:lnTo>
                  <a:pt x="850" y="6"/>
                </a:lnTo>
                <a:lnTo>
                  <a:pt x="850" y="17"/>
                </a:lnTo>
                <a:lnTo>
                  <a:pt x="851" y="26"/>
                </a:lnTo>
                <a:lnTo>
                  <a:pt x="854" y="35"/>
                </a:lnTo>
                <a:lnTo>
                  <a:pt x="856" y="41"/>
                </a:lnTo>
                <a:lnTo>
                  <a:pt x="861" y="52"/>
                </a:lnTo>
                <a:lnTo>
                  <a:pt x="867" y="62"/>
                </a:lnTo>
                <a:lnTo>
                  <a:pt x="873" y="71"/>
                </a:lnTo>
                <a:lnTo>
                  <a:pt x="879" y="82"/>
                </a:lnTo>
                <a:lnTo>
                  <a:pt x="880" y="90"/>
                </a:lnTo>
                <a:lnTo>
                  <a:pt x="882" y="98"/>
                </a:lnTo>
                <a:lnTo>
                  <a:pt x="883" y="107"/>
                </a:lnTo>
                <a:lnTo>
                  <a:pt x="883" y="117"/>
                </a:lnTo>
                <a:lnTo>
                  <a:pt x="883" y="204"/>
                </a:lnTo>
                <a:lnTo>
                  <a:pt x="875" y="206"/>
                </a:lnTo>
                <a:lnTo>
                  <a:pt x="868" y="207"/>
                </a:lnTo>
                <a:lnTo>
                  <a:pt x="860" y="207"/>
                </a:lnTo>
                <a:lnTo>
                  <a:pt x="852" y="206"/>
                </a:lnTo>
                <a:lnTo>
                  <a:pt x="838" y="205"/>
                </a:lnTo>
                <a:lnTo>
                  <a:pt x="830" y="204"/>
                </a:lnTo>
                <a:lnTo>
                  <a:pt x="826" y="236"/>
                </a:lnTo>
                <a:lnTo>
                  <a:pt x="825" y="262"/>
                </a:lnTo>
                <a:lnTo>
                  <a:pt x="826" y="272"/>
                </a:lnTo>
                <a:lnTo>
                  <a:pt x="826" y="281"/>
                </a:lnTo>
                <a:lnTo>
                  <a:pt x="828" y="289"/>
                </a:lnTo>
                <a:lnTo>
                  <a:pt x="830" y="296"/>
                </a:lnTo>
                <a:lnTo>
                  <a:pt x="870" y="296"/>
                </a:lnTo>
              </a:path>
            </a:pathLst>
          </a:custGeom>
          <a:solidFill>
            <a:srgbClr val="29713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431" name="Freeform 383"/>
          <p:cNvSpPr>
            <a:spLocks/>
          </p:cNvSpPr>
          <p:nvPr>
            <p:custDataLst>
              <p:tags r:id="rId272"/>
            </p:custDataLst>
          </p:nvPr>
        </p:nvSpPr>
        <p:spPr bwMode="auto">
          <a:xfrm>
            <a:off x="6081713" y="2935289"/>
            <a:ext cx="411162" cy="611187"/>
          </a:xfrm>
          <a:custGeom>
            <a:avLst/>
            <a:gdLst>
              <a:gd name="T0" fmla="*/ 742 w 943"/>
              <a:gd name="T1" fmla="*/ 5 h 1172"/>
              <a:gd name="T2" fmla="*/ 765 w 943"/>
              <a:gd name="T3" fmla="*/ 23 h 1172"/>
              <a:gd name="T4" fmla="*/ 803 w 943"/>
              <a:gd name="T5" fmla="*/ 30 h 1172"/>
              <a:gd name="T6" fmla="*/ 814 w 943"/>
              <a:gd name="T7" fmla="*/ 55 h 1172"/>
              <a:gd name="T8" fmla="*/ 835 w 943"/>
              <a:gd name="T9" fmla="*/ 109 h 1172"/>
              <a:gd name="T10" fmla="*/ 837 w 943"/>
              <a:gd name="T11" fmla="*/ 187 h 1172"/>
              <a:gd name="T12" fmla="*/ 857 w 943"/>
              <a:gd name="T13" fmla="*/ 243 h 1172"/>
              <a:gd name="T14" fmla="*/ 922 w 943"/>
              <a:gd name="T15" fmla="*/ 292 h 1172"/>
              <a:gd name="T16" fmla="*/ 879 w 943"/>
              <a:gd name="T17" fmla="*/ 361 h 1172"/>
              <a:gd name="T18" fmla="*/ 851 w 943"/>
              <a:gd name="T19" fmla="*/ 410 h 1172"/>
              <a:gd name="T20" fmla="*/ 809 w 943"/>
              <a:gd name="T21" fmla="*/ 635 h 1172"/>
              <a:gd name="T22" fmla="*/ 770 w 943"/>
              <a:gd name="T23" fmla="*/ 677 h 1172"/>
              <a:gd name="T24" fmla="*/ 763 w 943"/>
              <a:gd name="T25" fmla="*/ 721 h 1172"/>
              <a:gd name="T26" fmla="*/ 745 w 943"/>
              <a:gd name="T27" fmla="*/ 735 h 1172"/>
              <a:gd name="T28" fmla="*/ 723 w 943"/>
              <a:gd name="T29" fmla="*/ 798 h 1172"/>
              <a:gd name="T30" fmla="*/ 692 w 943"/>
              <a:gd name="T31" fmla="*/ 877 h 1172"/>
              <a:gd name="T32" fmla="*/ 662 w 943"/>
              <a:gd name="T33" fmla="*/ 903 h 1172"/>
              <a:gd name="T34" fmla="*/ 664 w 943"/>
              <a:gd name="T35" fmla="*/ 934 h 1172"/>
              <a:gd name="T36" fmla="*/ 686 w 943"/>
              <a:gd name="T37" fmla="*/ 939 h 1172"/>
              <a:gd name="T38" fmla="*/ 709 w 943"/>
              <a:gd name="T39" fmla="*/ 950 h 1172"/>
              <a:gd name="T40" fmla="*/ 742 w 943"/>
              <a:gd name="T41" fmla="*/ 971 h 1172"/>
              <a:gd name="T42" fmla="*/ 756 w 943"/>
              <a:gd name="T43" fmla="*/ 1007 h 1172"/>
              <a:gd name="T44" fmla="*/ 775 w 943"/>
              <a:gd name="T45" fmla="*/ 1043 h 1172"/>
              <a:gd name="T46" fmla="*/ 803 w 943"/>
              <a:gd name="T47" fmla="*/ 1053 h 1172"/>
              <a:gd name="T48" fmla="*/ 809 w 943"/>
              <a:gd name="T49" fmla="*/ 1094 h 1172"/>
              <a:gd name="T50" fmla="*/ 718 w 943"/>
              <a:gd name="T51" fmla="*/ 1115 h 1172"/>
              <a:gd name="T52" fmla="*/ 687 w 943"/>
              <a:gd name="T53" fmla="*/ 1157 h 1172"/>
              <a:gd name="T54" fmla="*/ 598 w 943"/>
              <a:gd name="T55" fmla="*/ 1170 h 1172"/>
              <a:gd name="T56" fmla="*/ 515 w 943"/>
              <a:gd name="T57" fmla="*/ 1158 h 1172"/>
              <a:gd name="T58" fmla="*/ 464 w 943"/>
              <a:gd name="T59" fmla="*/ 1123 h 1172"/>
              <a:gd name="T60" fmla="*/ 390 w 943"/>
              <a:gd name="T61" fmla="*/ 1125 h 1172"/>
              <a:gd name="T62" fmla="*/ 319 w 943"/>
              <a:gd name="T63" fmla="*/ 1120 h 1172"/>
              <a:gd name="T64" fmla="*/ 297 w 943"/>
              <a:gd name="T65" fmla="*/ 1104 h 1172"/>
              <a:gd name="T66" fmla="*/ 294 w 943"/>
              <a:gd name="T67" fmla="*/ 1075 h 1172"/>
              <a:gd name="T68" fmla="*/ 274 w 943"/>
              <a:gd name="T69" fmla="*/ 1029 h 1172"/>
              <a:gd name="T70" fmla="*/ 216 w 943"/>
              <a:gd name="T71" fmla="*/ 974 h 1172"/>
              <a:gd name="T72" fmla="*/ 193 w 943"/>
              <a:gd name="T73" fmla="*/ 925 h 1172"/>
              <a:gd name="T74" fmla="*/ 152 w 943"/>
              <a:gd name="T75" fmla="*/ 903 h 1172"/>
              <a:gd name="T76" fmla="*/ 120 w 943"/>
              <a:gd name="T77" fmla="*/ 846 h 1172"/>
              <a:gd name="T78" fmla="*/ 97 w 943"/>
              <a:gd name="T79" fmla="*/ 788 h 1172"/>
              <a:gd name="T80" fmla="*/ 65 w 943"/>
              <a:gd name="T81" fmla="*/ 758 h 1172"/>
              <a:gd name="T82" fmla="*/ 33 w 943"/>
              <a:gd name="T83" fmla="*/ 676 h 1172"/>
              <a:gd name="T84" fmla="*/ 4 w 943"/>
              <a:gd name="T85" fmla="*/ 611 h 1172"/>
              <a:gd name="T86" fmla="*/ 18 w 943"/>
              <a:gd name="T87" fmla="*/ 577 h 1172"/>
              <a:gd name="T88" fmla="*/ 29 w 943"/>
              <a:gd name="T89" fmla="*/ 521 h 1172"/>
              <a:gd name="T90" fmla="*/ 64 w 943"/>
              <a:gd name="T91" fmla="*/ 474 h 1172"/>
              <a:gd name="T92" fmla="*/ 113 w 943"/>
              <a:gd name="T93" fmla="*/ 222 h 1172"/>
              <a:gd name="T94" fmla="*/ 123 w 943"/>
              <a:gd name="T95" fmla="*/ 179 h 1172"/>
              <a:gd name="T96" fmla="*/ 153 w 943"/>
              <a:gd name="T97" fmla="*/ 171 h 1172"/>
              <a:gd name="T98" fmla="*/ 160 w 943"/>
              <a:gd name="T99" fmla="*/ 122 h 1172"/>
              <a:gd name="T100" fmla="*/ 159 w 943"/>
              <a:gd name="T101" fmla="*/ 67 h 1172"/>
              <a:gd name="T102" fmla="*/ 679 w 943"/>
              <a:gd name="T103" fmla="*/ 69 h 1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grpSp>
        <p:nvGrpSpPr>
          <p:cNvPr id="2432" name="Group 384"/>
          <p:cNvGrpSpPr>
            <a:grpSpLocks/>
          </p:cNvGrpSpPr>
          <p:nvPr>
            <p:custDataLst>
              <p:tags r:id="rId273"/>
            </p:custDataLst>
          </p:nvPr>
        </p:nvGrpSpPr>
        <p:grpSpPr bwMode="auto">
          <a:xfrm>
            <a:off x="4865688" y="3136900"/>
            <a:ext cx="80962" cy="82550"/>
            <a:chOff x="2352" y="2343"/>
            <a:chExt cx="65" cy="53"/>
          </a:xfrm>
        </p:grpSpPr>
        <p:sp>
          <p:nvSpPr>
            <p:cNvPr id="2433" name="Freeform 385"/>
            <p:cNvSpPr>
              <a:spLocks/>
            </p:cNvSpPr>
            <p:nvPr/>
          </p:nvSpPr>
          <p:spPr bwMode="auto">
            <a:xfrm>
              <a:off x="2352" y="2343"/>
              <a:ext cx="16" cy="11"/>
            </a:xfrm>
            <a:custGeom>
              <a:avLst/>
              <a:gdLst>
                <a:gd name="T0" fmla="*/ 46 w 51"/>
                <a:gd name="T1" fmla="*/ 0 h 33"/>
                <a:gd name="T2" fmla="*/ 0 w 51"/>
                <a:gd name="T3" fmla="*/ 5 h 33"/>
                <a:gd name="T4" fmla="*/ 4 w 51"/>
                <a:gd name="T5" fmla="*/ 28 h 33"/>
                <a:gd name="T6" fmla="*/ 10 w 51"/>
                <a:gd name="T7" fmla="*/ 33 h 33"/>
                <a:gd name="T8" fmla="*/ 35 w 51"/>
                <a:gd name="T9" fmla="*/ 25 h 33"/>
                <a:gd name="T10" fmla="*/ 48 w 51"/>
                <a:gd name="T11" fmla="*/ 15 h 33"/>
                <a:gd name="T12" fmla="*/ 51 w 51"/>
                <a:gd name="T13" fmla="*/ 8 h 33"/>
                <a:gd name="T14" fmla="*/ 46 w 51"/>
                <a:gd name="T15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33">
                  <a:moveTo>
                    <a:pt x="46" y="0"/>
                  </a:moveTo>
                  <a:lnTo>
                    <a:pt x="0" y="5"/>
                  </a:lnTo>
                  <a:lnTo>
                    <a:pt x="4" y="28"/>
                  </a:lnTo>
                  <a:lnTo>
                    <a:pt x="10" y="33"/>
                  </a:lnTo>
                  <a:lnTo>
                    <a:pt x="35" y="25"/>
                  </a:lnTo>
                  <a:lnTo>
                    <a:pt x="48" y="15"/>
                  </a:lnTo>
                  <a:lnTo>
                    <a:pt x="51" y="8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34" name="Freeform 386"/>
            <p:cNvSpPr>
              <a:spLocks/>
            </p:cNvSpPr>
            <p:nvPr/>
          </p:nvSpPr>
          <p:spPr bwMode="auto">
            <a:xfrm>
              <a:off x="2372" y="2354"/>
              <a:ext cx="20" cy="7"/>
            </a:xfrm>
            <a:custGeom>
              <a:avLst/>
              <a:gdLst>
                <a:gd name="T0" fmla="*/ 61 w 61"/>
                <a:gd name="T1" fmla="*/ 6 h 20"/>
                <a:gd name="T2" fmla="*/ 53 w 61"/>
                <a:gd name="T3" fmla="*/ 2 h 20"/>
                <a:gd name="T4" fmla="*/ 0 w 61"/>
                <a:gd name="T5" fmla="*/ 0 h 20"/>
                <a:gd name="T6" fmla="*/ 2 w 61"/>
                <a:gd name="T7" fmla="*/ 14 h 20"/>
                <a:gd name="T8" fmla="*/ 7 w 61"/>
                <a:gd name="T9" fmla="*/ 20 h 20"/>
                <a:gd name="T10" fmla="*/ 18 w 61"/>
                <a:gd name="T11" fmla="*/ 13 h 20"/>
                <a:gd name="T12" fmla="*/ 61 w 61"/>
                <a:gd name="T13" fmla="*/ 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20">
                  <a:moveTo>
                    <a:pt x="61" y="6"/>
                  </a:moveTo>
                  <a:lnTo>
                    <a:pt x="53" y="2"/>
                  </a:lnTo>
                  <a:lnTo>
                    <a:pt x="0" y="0"/>
                  </a:lnTo>
                  <a:lnTo>
                    <a:pt x="2" y="14"/>
                  </a:lnTo>
                  <a:lnTo>
                    <a:pt x="7" y="20"/>
                  </a:lnTo>
                  <a:lnTo>
                    <a:pt x="18" y="13"/>
                  </a:lnTo>
                  <a:lnTo>
                    <a:pt x="61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35" name="Freeform 387"/>
            <p:cNvSpPr>
              <a:spLocks/>
            </p:cNvSpPr>
            <p:nvPr/>
          </p:nvSpPr>
          <p:spPr bwMode="auto">
            <a:xfrm>
              <a:off x="2407" y="2346"/>
              <a:ext cx="5" cy="12"/>
            </a:xfrm>
            <a:custGeom>
              <a:avLst/>
              <a:gdLst>
                <a:gd name="T0" fmla="*/ 2 w 15"/>
                <a:gd name="T1" fmla="*/ 0 h 36"/>
                <a:gd name="T2" fmla="*/ 0 w 15"/>
                <a:gd name="T3" fmla="*/ 20 h 36"/>
                <a:gd name="T4" fmla="*/ 0 w 15"/>
                <a:gd name="T5" fmla="*/ 36 h 36"/>
                <a:gd name="T6" fmla="*/ 11 w 15"/>
                <a:gd name="T7" fmla="*/ 35 h 36"/>
                <a:gd name="T8" fmla="*/ 15 w 15"/>
                <a:gd name="T9" fmla="*/ 14 h 36"/>
                <a:gd name="T10" fmla="*/ 2 w 15"/>
                <a:gd name="T11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36">
                  <a:moveTo>
                    <a:pt x="2" y="0"/>
                  </a:moveTo>
                  <a:lnTo>
                    <a:pt x="0" y="20"/>
                  </a:lnTo>
                  <a:lnTo>
                    <a:pt x="0" y="36"/>
                  </a:lnTo>
                  <a:lnTo>
                    <a:pt x="11" y="35"/>
                  </a:lnTo>
                  <a:lnTo>
                    <a:pt x="15" y="14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36" name="Freeform 388"/>
            <p:cNvSpPr>
              <a:spLocks/>
            </p:cNvSpPr>
            <p:nvPr/>
          </p:nvSpPr>
          <p:spPr bwMode="auto">
            <a:xfrm>
              <a:off x="2406" y="2361"/>
              <a:ext cx="11" cy="11"/>
            </a:xfrm>
            <a:custGeom>
              <a:avLst/>
              <a:gdLst>
                <a:gd name="T0" fmla="*/ 4 w 37"/>
                <a:gd name="T1" fmla="*/ 4 h 33"/>
                <a:gd name="T2" fmla="*/ 22 w 37"/>
                <a:gd name="T3" fmla="*/ 0 h 33"/>
                <a:gd name="T4" fmla="*/ 35 w 37"/>
                <a:gd name="T5" fmla="*/ 6 h 33"/>
                <a:gd name="T6" fmla="*/ 37 w 37"/>
                <a:gd name="T7" fmla="*/ 22 h 33"/>
                <a:gd name="T8" fmla="*/ 24 w 37"/>
                <a:gd name="T9" fmla="*/ 33 h 33"/>
                <a:gd name="T10" fmla="*/ 11 w 37"/>
                <a:gd name="T11" fmla="*/ 33 h 33"/>
                <a:gd name="T12" fmla="*/ 2 w 37"/>
                <a:gd name="T13" fmla="*/ 24 h 33"/>
                <a:gd name="T14" fmla="*/ 0 w 37"/>
                <a:gd name="T15" fmla="*/ 16 h 33"/>
                <a:gd name="T16" fmla="*/ 4 w 37"/>
                <a:gd name="T17" fmla="*/ 4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33">
                  <a:moveTo>
                    <a:pt x="4" y="4"/>
                  </a:moveTo>
                  <a:lnTo>
                    <a:pt x="22" y="0"/>
                  </a:lnTo>
                  <a:lnTo>
                    <a:pt x="35" y="6"/>
                  </a:lnTo>
                  <a:lnTo>
                    <a:pt x="37" y="22"/>
                  </a:lnTo>
                  <a:lnTo>
                    <a:pt x="24" y="33"/>
                  </a:lnTo>
                  <a:lnTo>
                    <a:pt x="11" y="33"/>
                  </a:lnTo>
                  <a:lnTo>
                    <a:pt x="2" y="24"/>
                  </a:lnTo>
                  <a:lnTo>
                    <a:pt x="0" y="16"/>
                  </a:lnTo>
                  <a:lnTo>
                    <a:pt x="4" y="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37" name="Freeform 389"/>
            <p:cNvSpPr>
              <a:spLocks/>
            </p:cNvSpPr>
            <p:nvPr/>
          </p:nvSpPr>
          <p:spPr bwMode="auto">
            <a:xfrm>
              <a:off x="2388" y="2378"/>
              <a:ext cx="16" cy="18"/>
            </a:xfrm>
            <a:custGeom>
              <a:avLst/>
              <a:gdLst>
                <a:gd name="T0" fmla="*/ 2 w 49"/>
                <a:gd name="T1" fmla="*/ 0 h 54"/>
                <a:gd name="T2" fmla="*/ 0 w 49"/>
                <a:gd name="T3" fmla="*/ 0 h 54"/>
                <a:gd name="T4" fmla="*/ 2 w 49"/>
                <a:gd name="T5" fmla="*/ 50 h 54"/>
                <a:gd name="T6" fmla="*/ 18 w 49"/>
                <a:gd name="T7" fmla="*/ 54 h 54"/>
                <a:gd name="T8" fmla="*/ 44 w 49"/>
                <a:gd name="T9" fmla="*/ 45 h 54"/>
                <a:gd name="T10" fmla="*/ 49 w 49"/>
                <a:gd name="T11" fmla="*/ 31 h 54"/>
                <a:gd name="T12" fmla="*/ 40 w 49"/>
                <a:gd name="T13" fmla="*/ 21 h 54"/>
                <a:gd name="T14" fmla="*/ 19 w 49"/>
                <a:gd name="T15" fmla="*/ 8 h 54"/>
                <a:gd name="T16" fmla="*/ 2 w 49"/>
                <a:gd name="T17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" h="54">
                  <a:moveTo>
                    <a:pt x="2" y="0"/>
                  </a:moveTo>
                  <a:lnTo>
                    <a:pt x="0" y="0"/>
                  </a:lnTo>
                  <a:lnTo>
                    <a:pt x="2" y="50"/>
                  </a:lnTo>
                  <a:lnTo>
                    <a:pt x="18" y="54"/>
                  </a:lnTo>
                  <a:lnTo>
                    <a:pt x="44" y="45"/>
                  </a:lnTo>
                  <a:lnTo>
                    <a:pt x="49" y="31"/>
                  </a:lnTo>
                  <a:lnTo>
                    <a:pt x="40" y="21"/>
                  </a:lnTo>
                  <a:lnTo>
                    <a:pt x="19" y="8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38" name="Freeform 390"/>
            <p:cNvSpPr>
              <a:spLocks/>
            </p:cNvSpPr>
            <p:nvPr/>
          </p:nvSpPr>
          <p:spPr bwMode="auto">
            <a:xfrm>
              <a:off x="2374" y="2388"/>
              <a:ext cx="9" cy="7"/>
            </a:xfrm>
            <a:custGeom>
              <a:avLst/>
              <a:gdLst>
                <a:gd name="T0" fmla="*/ 18 w 26"/>
                <a:gd name="T1" fmla="*/ 0 h 22"/>
                <a:gd name="T2" fmla="*/ 3 w 26"/>
                <a:gd name="T3" fmla="*/ 2 h 22"/>
                <a:gd name="T4" fmla="*/ 0 w 26"/>
                <a:gd name="T5" fmla="*/ 15 h 22"/>
                <a:gd name="T6" fmla="*/ 6 w 26"/>
                <a:gd name="T7" fmla="*/ 21 h 22"/>
                <a:gd name="T8" fmla="*/ 19 w 26"/>
                <a:gd name="T9" fmla="*/ 22 h 22"/>
                <a:gd name="T10" fmla="*/ 26 w 26"/>
                <a:gd name="T11" fmla="*/ 11 h 22"/>
                <a:gd name="T12" fmla="*/ 18 w 26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2">
                  <a:moveTo>
                    <a:pt x="18" y="0"/>
                  </a:moveTo>
                  <a:lnTo>
                    <a:pt x="3" y="2"/>
                  </a:lnTo>
                  <a:lnTo>
                    <a:pt x="0" y="15"/>
                  </a:lnTo>
                  <a:lnTo>
                    <a:pt x="6" y="21"/>
                  </a:lnTo>
                  <a:lnTo>
                    <a:pt x="19" y="22"/>
                  </a:lnTo>
                  <a:lnTo>
                    <a:pt x="26" y="11"/>
                  </a:lnTo>
                  <a:lnTo>
                    <a:pt x="1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</p:grpSp>
      <p:grpSp>
        <p:nvGrpSpPr>
          <p:cNvPr id="2439" name="Group 391"/>
          <p:cNvGrpSpPr>
            <a:grpSpLocks/>
          </p:cNvGrpSpPr>
          <p:nvPr>
            <p:custDataLst>
              <p:tags r:id="rId274"/>
            </p:custDataLst>
          </p:nvPr>
        </p:nvGrpSpPr>
        <p:grpSpPr bwMode="auto">
          <a:xfrm>
            <a:off x="2711451" y="1196976"/>
            <a:ext cx="1897063" cy="1133475"/>
            <a:chOff x="527" y="1110"/>
            <a:chExt cx="1410" cy="709"/>
          </a:xfrm>
        </p:grpSpPr>
        <p:sp>
          <p:nvSpPr>
            <p:cNvPr id="2440" name="Freeform 392"/>
            <p:cNvSpPr>
              <a:spLocks/>
            </p:cNvSpPr>
            <p:nvPr/>
          </p:nvSpPr>
          <p:spPr bwMode="auto">
            <a:xfrm>
              <a:off x="1401" y="1427"/>
              <a:ext cx="31" cy="17"/>
            </a:xfrm>
            <a:custGeom>
              <a:avLst/>
              <a:gdLst>
                <a:gd name="T0" fmla="*/ 0 w 98"/>
                <a:gd name="T1" fmla="*/ 41 h 54"/>
                <a:gd name="T2" fmla="*/ 5 w 98"/>
                <a:gd name="T3" fmla="*/ 46 h 54"/>
                <a:gd name="T4" fmla="*/ 13 w 98"/>
                <a:gd name="T5" fmla="*/ 50 h 54"/>
                <a:gd name="T6" fmla="*/ 23 w 98"/>
                <a:gd name="T7" fmla="*/ 53 h 54"/>
                <a:gd name="T8" fmla="*/ 32 w 98"/>
                <a:gd name="T9" fmla="*/ 54 h 54"/>
                <a:gd name="T10" fmla="*/ 38 w 98"/>
                <a:gd name="T11" fmla="*/ 54 h 54"/>
                <a:gd name="T12" fmla="*/ 45 w 98"/>
                <a:gd name="T13" fmla="*/ 53 h 54"/>
                <a:gd name="T14" fmla="*/ 50 w 98"/>
                <a:gd name="T15" fmla="*/ 51 h 54"/>
                <a:gd name="T16" fmla="*/ 56 w 98"/>
                <a:gd name="T17" fmla="*/ 49 h 54"/>
                <a:gd name="T18" fmla="*/ 67 w 98"/>
                <a:gd name="T19" fmla="*/ 42 h 54"/>
                <a:gd name="T20" fmla="*/ 75 w 98"/>
                <a:gd name="T21" fmla="*/ 35 h 54"/>
                <a:gd name="T22" fmla="*/ 84 w 98"/>
                <a:gd name="T23" fmla="*/ 28 h 54"/>
                <a:gd name="T24" fmla="*/ 91 w 98"/>
                <a:gd name="T25" fmla="*/ 20 h 54"/>
                <a:gd name="T26" fmla="*/ 95 w 98"/>
                <a:gd name="T27" fmla="*/ 12 h 54"/>
                <a:gd name="T28" fmla="*/ 98 w 98"/>
                <a:gd name="T29" fmla="*/ 4 h 54"/>
                <a:gd name="T30" fmla="*/ 91 w 98"/>
                <a:gd name="T31" fmla="*/ 2 h 54"/>
                <a:gd name="T32" fmla="*/ 83 w 98"/>
                <a:gd name="T33" fmla="*/ 0 h 54"/>
                <a:gd name="T34" fmla="*/ 75 w 98"/>
                <a:gd name="T35" fmla="*/ 0 h 54"/>
                <a:gd name="T36" fmla="*/ 68 w 98"/>
                <a:gd name="T37" fmla="*/ 0 h 54"/>
                <a:gd name="T38" fmla="*/ 59 w 98"/>
                <a:gd name="T39" fmla="*/ 1 h 54"/>
                <a:gd name="T40" fmla="*/ 51 w 98"/>
                <a:gd name="T41" fmla="*/ 3 h 54"/>
                <a:gd name="T42" fmla="*/ 43 w 98"/>
                <a:gd name="T43" fmla="*/ 6 h 54"/>
                <a:gd name="T44" fmla="*/ 37 w 98"/>
                <a:gd name="T45" fmla="*/ 9 h 54"/>
                <a:gd name="T46" fmla="*/ 23 w 98"/>
                <a:gd name="T47" fmla="*/ 17 h 54"/>
                <a:gd name="T48" fmla="*/ 12 w 98"/>
                <a:gd name="T49" fmla="*/ 25 h 54"/>
                <a:gd name="T50" fmla="*/ 7 w 98"/>
                <a:gd name="T51" fmla="*/ 29 h 54"/>
                <a:gd name="T52" fmla="*/ 4 w 98"/>
                <a:gd name="T53" fmla="*/ 33 h 54"/>
                <a:gd name="T54" fmla="*/ 1 w 98"/>
                <a:gd name="T55" fmla="*/ 37 h 54"/>
                <a:gd name="T56" fmla="*/ 0 w 98"/>
                <a:gd name="T57" fmla="*/ 41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8" h="54">
                  <a:moveTo>
                    <a:pt x="0" y="41"/>
                  </a:moveTo>
                  <a:lnTo>
                    <a:pt x="5" y="46"/>
                  </a:lnTo>
                  <a:lnTo>
                    <a:pt x="13" y="50"/>
                  </a:lnTo>
                  <a:lnTo>
                    <a:pt x="23" y="53"/>
                  </a:lnTo>
                  <a:lnTo>
                    <a:pt x="32" y="54"/>
                  </a:lnTo>
                  <a:lnTo>
                    <a:pt x="38" y="54"/>
                  </a:lnTo>
                  <a:lnTo>
                    <a:pt x="45" y="53"/>
                  </a:lnTo>
                  <a:lnTo>
                    <a:pt x="50" y="51"/>
                  </a:lnTo>
                  <a:lnTo>
                    <a:pt x="56" y="49"/>
                  </a:lnTo>
                  <a:lnTo>
                    <a:pt x="67" y="42"/>
                  </a:lnTo>
                  <a:lnTo>
                    <a:pt x="75" y="35"/>
                  </a:lnTo>
                  <a:lnTo>
                    <a:pt x="84" y="28"/>
                  </a:lnTo>
                  <a:lnTo>
                    <a:pt x="91" y="20"/>
                  </a:lnTo>
                  <a:lnTo>
                    <a:pt x="95" y="12"/>
                  </a:lnTo>
                  <a:lnTo>
                    <a:pt x="98" y="4"/>
                  </a:lnTo>
                  <a:lnTo>
                    <a:pt x="91" y="2"/>
                  </a:lnTo>
                  <a:lnTo>
                    <a:pt x="83" y="0"/>
                  </a:lnTo>
                  <a:lnTo>
                    <a:pt x="75" y="0"/>
                  </a:lnTo>
                  <a:lnTo>
                    <a:pt x="68" y="0"/>
                  </a:lnTo>
                  <a:lnTo>
                    <a:pt x="59" y="1"/>
                  </a:lnTo>
                  <a:lnTo>
                    <a:pt x="51" y="3"/>
                  </a:lnTo>
                  <a:lnTo>
                    <a:pt x="43" y="6"/>
                  </a:lnTo>
                  <a:lnTo>
                    <a:pt x="37" y="9"/>
                  </a:lnTo>
                  <a:lnTo>
                    <a:pt x="23" y="17"/>
                  </a:lnTo>
                  <a:lnTo>
                    <a:pt x="12" y="25"/>
                  </a:lnTo>
                  <a:lnTo>
                    <a:pt x="7" y="29"/>
                  </a:lnTo>
                  <a:lnTo>
                    <a:pt x="4" y="33"/>
                  </a:lnTo>
                  <a:lnTo>
                    <a:pt x="1" y="37"/>
                  </a:lnTo>
                  <a:lnTo>
                    <a:pt x="0" y="4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41" name="Freeform 393"/>
            <p:cNvSpPr>
              <a:spLocks/>
            </p:cNvSpPr>
            <p:nvPr/>
          </p:nvSpPr>
          <p:spPr bwMode="auto">
            <a:xfrm>
              <a:off x="1387" y="1551"/>
              <a:ext cx="21" cy="8"/>
            </a:xfrm>
            <a:custGeom>
              <a:avLst/>
              <a:gdLst>
                <a:gd name="T0" fmla="*/ 0 w 67"/>
                <a:gd name="T1" fmla="*/ 27 h 28"/>
                <a:gd name="T2" fmla="*/ 11 w 67"/>
                <a:gd name="T3" fmla="*/ 28 h 28"/>
                <a:gd name="T4" fmla="*/ 21 w 67"/>
                <a:gd name="T5" fmla="*/ 27 h 28"/>
                <a:gd name="T6" fmla="*/ 31 w 67"/>
                <a:gd name="T7" fmla="*/ 25 h 28"/>
                <a:gd name="T8" fmla="*/ 41 w 67"/>
                <a:gd name="T9" fmla="*/ 21 h 28"/>
                <a:gd name="T10" fmla="*/ 49 w 67"/>
                <a:gd name="T11" fmla="*/ 17 h 28"/>
                <a:gd name="T12" fmla="*/ 57 w 67"/>
                <a:gd name="T13" fmla="*/ 12 h 28"/>
                <a:gd name="T14" fmla="*/ 63 w 67"/>
                <a:gd name="T15" fmla="*/ 7 h 28"/>
                <a:gd name="T16" fmla="*/ 67 w 67"/>
                <a:gd name="T17" fmla="*/ 3 h 28"/>
                <a:gd name="T18" fmla="*/ 57 w 67"/>
                <a:gd name="T19" fmla="*/ 1 h 28"/>
                <a:gd name="T20" fmla="*/ 46 w 67"/>
                <a:gd name="T21" fmla="*/ 0 h 28"/>
                <a:gd name="T22" fmla="*/ 36 w 67"/>
                <a:gd name="T23" fmla="*/ 1 h 28"/>
                <a:gd name="T24" fmla="*/ 26 w 67"/>
                <a:gd name="T25" fmla="*/ 3 h 28"/>
                <a:gd name="T26" fmla="*/ 17 w 67"/>
                <a:gd name="T27" fmla="*/ 7 h 28"/>
                <a:gd name="T28" fmla="*/ 10 w 67"/>
                <a:gd name="T29" fmla="*/ 12 h 28"/>
                <a:gd name="T30" fmla="*/ 7 w 67"/>
                <a:gd name="T31" fmla="*/ 15 h 28"/>
                <a:gd name="T32" fmla="*/ 4 w 67"/>
                <a:gd name="T33" fmla="*/ 19 h 28"/>
                <a:gd name="T34" fmla="*/ 2 w 67"/>
                <a:gd name="T35" fmla="*/ 22 h 28"/>
                <a:gd name="T36" fmla="*/ 0 w 67"/>
                <a:gd name="T37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7" h="28">
                  <a:moveTo>
                    <a:pt x="0" y="27"/>
                  </a:moveTo>
                  <a:lnTo>
                    <a:pt x="11" y="28"/>
                  </a:lnTo>
                  <a:lnTo>
                    <a:pt x="21" y="27"/>
                  </a:lnTo>
                  <a:lnTo>
                    <a:pt x="31" y="25"/>
                  </a:lnTo>
                  <a:lnTo>
                    <a:pt x="41" y="21"/>
                  </a:lnTo>
                  <a:lnTo>
                    <a:pt x="49" y="17"/>
                  </a:lnTo>
                  <a:lnTo>
                    <a:pt x="57" y="12"/>
                  </a:lnTo>
                  <a:lnTo>
                    <a:pt x="63" y="7"/>
                  </a:lnTo>
                  <a:lnTo>
                    <a:pt x="67" y="3"/>
                  </a:lnTo>
                  <a:lnTo>
                    <a:pt x="57" y="1"/>
                  </a:lnTo>
                  <a:lnTo>
                    <a:pt x="46" y="0"/>
                  </a:lnTo>
                  <a:lnTo>
                    <a:pt x="36" y="1"/>
                  </a:lnTo>
                  <a:lnTo>
                    <a:pt x="26" y="3"/>
                  </a:lnTo>
                  <a:lnTo>
                    <a:pt x="17" y="7"/>
                  </a:lnTo>
                  <a:lnTo>
                    <a:pt x="10" y="12"/>
                  </a:lnTo>
                  <a:lnTo>
                    <a:pt x="7" y="15"/>
                  </a:lnTo>
                  <a:lnTo>
                    <a:pt x="4" y="19"/>
                  </a:lnTo>
                  <a:lnTo>
                    <a:pt x="2" y="22"/>
                  </a:lnTo>
                  <a:lnTo>
                    <a:pt x="0" y="2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42" name="Freeform 394"/>
            <p:cNvSpPr>
              <a:spLocks/>
            </p:cNvSpPr>
            <p:nvPr/>
          </p:nvSpPr>
          <p:spPr bwMode="auto">
            <a:xfrm>
              <a:off x="1332" y="1608"/>
              <a:ext cx="11" cy="11"/>
            </a:xfrm>
            <a:custGeom>
              <a:avLst/>
              <a:gdLst>
                <a:gd name="T0" fmla="*/ 0 w 32"/>
                <a:gd name="T1" fmla="*/ 18 h 36"/>
                <a:gd name="T2" fmla="*/ 1 w 32"/>
                <a:gd name="T3" fmla="*/ 24 h 36"/>
                <a:gd name="T4" fmla="*/ 4 w 32"/>
                <a:gd name="T5" fmla="*/ 29 h 36"/>
                <a:gd name="T6" fmla="*/ 6 w 32"/>
                <a:gd name="T7" fmla="*/ 32 h 36"/>
                <a:gd name="T8" fmla="*/ 8 w 32"/>
                <a:gd name="T9" fmla="*/ 34 h 36"/>
                <a:gd name="T10" fmla="*/ 11 w 32"/>
                <a:gd name="T11" fmla="*/ 36 h 36"/>
                <a:gd name="T12" fmla="*/ 13 w 32"/>
                <a:gd name="T13" fmla="*/ 36 h 36"/>
                <a:gd name="T14" fmla="*/ 32 w 32"/>
                <a:gd name="T15" fmla="*/ 36 h 36"/>
                <a:gd name="T16" fmla="*/ 32 w 32"/>
                <a:gd name="T17" fmla="*/ 22 h 36"/>
                <a:gd name="T18" fmla="*/ 31 w 32"/>
                <a:gd name="T19" fmla="*/ 14 h 36"/>
                <a:gd name="T20" fmla="*/ 30 w 32"/>
                <a:gd name="T21" fmla="*/ 7 h 36"/>
                <a:gd name="T22" fmla="*/ 26 w 32"/>
                <a:gd name="T23" fmla="*/ 0 h 36"/>
                <a:gd name="T24" fmla="*/ 19 w 32"/>
                <a:gd name="T25" fmla="*/ 2 h 36"/>
                <a:gd name="T26" fmla="*/ 11 w 32"/>
                <a:gd name="T27" fmla="*/ 7 h 36"/>
                <a:gd name="T28" fmla="*/ 6 w 32"/>
                <a:gd name="T29" fmla="*/ 10 h 36"/>
                <a:gd name="T30" fmla="*/ 3 w 32"/>
                <a:gd name="T31" fmla="*/ 13 h 36"/>
                <a:gd name="T32" fmla="*/ 1 w 32"/>
                <a:gd name="T33" fmla="*/ 16 h 36"/>
                <a:gd name="T34" fmla="*/ 0 w 32"/>
                <a:gd name="T35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" h="36">
                  <a:moveTo>
                    <a:pt x="0" y="18"/>
                  </a:moveTo>
                  <a:lnTo>
                    <a:pt x="1" y="24"/>
                  </a:lnTo>
                  <a:lnTo>
                    <a:pt x="4" y="29"/>
                  </a:lnTo>
                  <a:lnTo>
                    <a:pt x="6" y="32"/>
                  </a:lnTo>
                  <a:lnTo>
                    <a:pt x="8" y="34"/>
                  </a:lnTo>
                  <a:lnTo>
                    <a:pt x="11" y="36"/>
                  </a:lnTo>
                  <a:lnTo>
                    <a:pt x="13" y="36"/>
                  </a:lnTo>
                  <a:lnTo>
                    <a:pt x="32" y="36"/>
                  </a:lnTo>
                  <a:lnTo>
                    <a:pt x="32" y="22"/>
                  </a:lnTo>
                  <a:lnTo>
                    <a:pt x="31" y="14"/>
                  </a:lnTo>
                  <a:lnTo>
                    <a:pt x="30" y="7"/>
                  </a:lnTo>
                  <a:lnTo>
                    <a:pt x="26" y="0"/>
                  </a:lnTo>
                  <a:lnTo>
                    <a:pt x="19" y="2"/>
                  </a:lnTo>
                  <a:lnTo>
                    <a:pt x="11" y="7"/>
                  </a:lnTo>
                  <a:lnTo>
                    <a:pt x="6" y="10"/>
                  </a:lnTo>
                  <a:lnTo>
                    <a:pt x="3" y="13"/>
                  </a:lnTo>
                  <a:lnTo>
                    <a:pt x="1" y="16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43" name="Freeform 395"/>
            <p:cNvSpPr>
              <a:spLocks/>
            </p:cNvSpPr>
            <p:nvPr/>
          </p:nvSpPr>
          <p:spPr bwMode="auto">
            <a:xfrm>
              <a:off x="1279" y="1314"/>
              <a:ext cx="46" cy="17"/>
            </a:xfrm>
            <a:custGeom>
              <a:avLst/>
              <a:gdLst>
                <a:gd name="T0" fmla="*/ 0 w 146"/>
                <a:gd name="T1" fmla="*/ 43 h 52"/>
                <a:gd name="T2" fmla="*/ 11 w 146"/>
                <a:gd name="T3" fmla="*/ 46 h 52"/>
                <a:gd name="T4" fmla="*/ 22 w 146"/>
                <a:gd name="T5" fmla="*/ 48 h 52"/>
                <a:gd name="T6" fmla="*/ 33 w 146"/>
                <a:gd name="T7" fmla="*/ 51 h 52"/>
                <a:gd name="T8" fmla="*/ 43 w 146"/>
                <a:gd name="T9" fmla="*/ 52 h 52"/>
                <a:gd name="T10" fmla="*/ 63 w 146"/>
                <a:gd name="T11" fmla="*/ 52 h 52"/>
                <a:gd name="T12" fmla="*/ 82 w 146"/>
                <a:gd name="T13" fmla="*/ 51 h 52"/>
                <a:gd name="T14" fmla="*/ 117 w 146"/>
                <a:gd name="T15" fmla="*/ 46 h 52"/>
                <a:gd name="T16" fmla="*/ 146 w 146"/>
                <a:gd name="T17" fmla="*/ 43 h 52"/>
                <a:gd name="T18" fmla="*/ 144 w 146"/>
                <a:gd name="T19" fmla="*/ 36 h 52"/>
                <a:gd name="T20" fmla="*/ 142 w 146"/>
                <a:gd name="T21" fmla="*/ 30 h 52"/>
                <a:gd name="T22" fmla="*/ 139 w 146"/>
                <a:gd name="T23" fmla="*/ 24 h 52"/>
                <a:gd name="T24" fmla="*/ 137 w 146"/>
                <a:gd name="T25" fmla="*/ 19 h 52"/>
                <a:gd name="T26" fmla="*/ 134 w 146"/>
                <a:gd name="T27" fmla="*/ 15 h 52"/>
                <a:gd name="T28" fmla="*/ 129 w 146"/>
                <a:gd name="T29" fmla="*/ 11 h 52"/>
                <a:gd name="T30" fmla="*/ 125 w 146"/>
                <a:gd name="T31" fmla="*/ 8 h 52"/>
                <a:gd name="T32" fmla="*/ 121 w 146"/>
                <a:gd name="T33" fmla="*/ 6 h 52"/>
                <a:gd name="T34" fmla="*/ 111 w 146"/>
                <a:gd name="T35" fmla="*/ 2 h 52"/>
                <a:gd name="T36" fmla="*/ 101 w 146"/>
                <a:gd name="T37" fmla="*/ 0 h 52"/>
                <a:gd name="T38" fmla="*/ 89 w 146"/>
                <a:gd name="T39" fmla="*/ 1 h 52"/>
                <a:gd name="T40" fmla="*/ 78 w 146"/>
                <a:gd name="T41" fmla="*/ 2 h 52"/>
                <a:gd name="T42" fmla="*/ 66 w 146"/>
                <a:gd name="T43" fmla="*/ 5 h 52"/>
                <a:gd name="T44" fmla="*/ 54 w 146"/>
                <a:gd name="T45" fmla="*/ 9 h 52"/>
                <a:gd name="T46" fmla="*/ 43 w 146"/>
                <a:gd name="T47" fmla="*/ 14 h 52"/>
                <a:gd name="T48" fmla="*/ 32 w 146"/>
                <a:gd name="T49" fmla="*/ 19 h 52"/>
                <a:gd name="T50" fmla="*/ 22 w 146"/>
                <a:gd name="T51" fmla="*/ 25 h 52"/>
                <a:gd name="T52" fmla="*/ 13 w 146"/>
                <a:gd name="T53" fmla="*/ 31 h 52"/>
                <a:gd name="T54" fmla="*/ 5 w 146"/>
                <a:gd name="T55" fmla="*/ 37 h 52"/>
                <a:gd name="T56" fmla="*/ 0 w 146"/>
                <a:gd name="T57" fmla="*/ 4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6" h="52">
                  <a:moveTo>
                    <a:pt x="0" y="43"/>
                  </a:moveTo>
                  <a:lnTo>
                    <a:pt x="11" y="46"/>
                  </a:lnTo>
                  <a:lnTo>
                    <a:pt x="22" y="48"/>
                  </a:lnTo>
                  <a:lnTo>
                    <a:pt x="33" y="51"/>
                  </a:lnTo>
                  <a:lnTo>
                    <a:pt x="43" y="52"/>
                  </a:lnTo>
                  <a:lnTo>
                    <a:pt x="63" y="52"/>
                  </a:lnTo>
                  <a:lnTo>
                    <a:pt x="82" y="51"/>
                  </a:lnTo>
                  <a:lnTo>
                    <a:pt x="117" y="46"/>
                  </a:lnTo>
                  <a:lnTo>
                    <a:pt x="146" y="43"/>
                  </a:lnTo>
                  <a:lnTo>
                    <a:pt x="144" y="36"/>
                  </a:lnTo>
                  <a:lnTo>
                    <a:pt x="142" y="30"/>
                  </a:lnTo>
                  <a:lnTo>
                    <a:pt x="139" y="24"/>
                  </a:lnTo>
                  <a:lnTo>
                    <a:pt x="137" y="19"/>
                  </a:lnTo>
                  <a:lnTo>
                    <a:pt x="134" y="15"/>
                  </a:lnTo>
                  <a:lnTo>
                    <a:pt x="129" y="11"/>
                  </a:lnTo>
                  <a:lnTo>
                    <a:pt x="125" y="8"/>
                  </a:lnTo>
                  <a:lnTo>
                    <a:pt x="121" y="6"/>
                  </a:lnTo>
                  <a:lnTo>
                    <a:pt x="111" y="2"/>
                  </a:lnTo>
                  <a:lnTo>
                    <a:pt x="101" y="0"/>
                  </a:lnTo>
                  <a:lnTo>
                    <a:pt x="89" y="1"/>
                  </a:lnTo>
                  <a:lnTo>
                    <a:pt x="78" y="2"/>
                  </a:lnTo>
                  <a:lnTo>
                    <a:pt x="66" y="5"/>
                  </a:lnTo>
                  <a:lnTo>
                    <a:pt x="54" y="9"/>
                  </a:lnTo>
                  <a:lnTo>
                    <a:pt x="43" y="14"/>
                  </a:lnTo>
                  <a:lnTo>
                    <a:pt x="32" y="19"/>
                  </a:lnTo>
                  <a:lnTo>
                    <a:pt x="22" y="25"/>
                  </a:lnTo>
                  <a:lnTo>
                    <a:pt x="13" y="31"/>
                  </a:lnTo>
                  <a:lnTo>
                    <a:pt x="5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44" name="Freeform 396"/>
            <p:cNvSpPr>
              <a:spLocks/>
            </p:cNvSpPr>
            <p:nvPr/>
          </p:nvSpPr>
          <p:spPr bwMode="auto">
            <a:xfrm>
              <a:off x="1261" y="1252"/>
              <a:ext cx="20" cy="10"/>
            </a:xfrm>
            <a:custGeom>
              <a:avLst/>
              <a:gdLst>
                <a:gd name="T0" fmla="*/ 60 w 60"/>
                <a:gd name="T1" fmla="*/ 0 h 31"/>
                <a:gd name="T2" fmla="*/ 49 w 60"/>
                <a:gd name="T3" fmla="*/ 0 h 31"/>
                <a:gd name="T4" fmla="*/ 38 w 60"/>
                <a:gd name="T5" fmla="*/ 0 h 31"/>
                <a:gd name="T6" fmla="*/ 31 w 60"/>
                <a:gd name="T7" fmla="*/ 0 h 31"/>
                <a:gd name="T8" fmla="*/ 27 w 60"/>
                <a:gd name="T9" fmla="*/ 0 h 31"/>
                <a:gd name="T10" fmla="*/ 18 w 60"/>
                <a:gd name="T11" fmla="*/ 0 h 31"/>
                <a:gd name="T12" fmla="*/ 9 w 60"/>
                <a:gd name="T13" fmla="*/ 2 h 31"/>
                <a:gd name="T14" fmla="*/ 5 w 60"/>
                <a:gd name="T15" fmla="*/ 3 h 31"/>
                <a:gd name="T16" fmla="*/ 2 w 60"/>
                <a:gd name="T17" fmla="*/ 5 h 31"/>
                <a:gd name="T18" fmla="*/ 1 w 60"/>
                <a:gd name="T19" fmla="*/ 8 h 31"/>
                <a:gd name="T20" fmla="*/ 0 w 60"/>
                <a:gd name="T21" fmla="*/ 12 h 31"/>
                <a:gd name="T22" fmla="*/ 1 w 60"/>
                <a:gd name="T23" fmla="*/ 15 h 31"/>
                <a:gd name="T24" fmla="*/ 2 w 60"/>
                <a:gd name="T25" fmla="*/ 18 h 31"/>
                <a:gd name="T26" fmla="*/ 5 w 60"/>
                <a:gd name="T27" fmla="*/ 22 h 31"/>
                <a:gd name="T28" fmla="*/ 9 w 60"/>
                <a:gd name="T29" fmla="*/ 24 h 31"/>
                <a:gd name="T30" fmla="*/ 12 w 60"/>
                <a:gd name="T31" fmla="*/ 27 h 31"/>
                <a:gd name="T32" fmla="*/ 18 w 60"/>
                <a:gd name="T33" fmla="*/ 29 h 31"/>
                <a:gd name="T34" fmla="*/ 22 w 60"/>
                <a:gd name="T35" fmla="*/ 31 h 31"/>
                <a:gd name="T36" fmla="*/ 27 w 60"/>
                <a:gd name="T37" fmla="*/ 31 h 31"/>
                <a:gd name="T38" fmla="*/ 32 w 60"/>
                <a:gd name="T39" fmla="*/ 30 h 31"/>
                <a:gd name="T40" fmla="*/ 37 w 60"/>
                <a:gd name="T41" fmla="*/ 28 h 31"/>
                <a:gd name="T42" fmla="*/ 43 w 60"/>
                <a:gd name="T43" fmla="*/ 24 h 31"/>
                <a:gd name="T44" fmla="*/ 48 w 60"/>
                <a:gd name="T45" fmla="*/ 18 h 31"/>
                <a:gd name="T46" fmla="*/ 57 w 60"/>
                <a:gd name="T47" fmla="*/ 10 h 31"/>
                <a:gd name="T48" fmla="*/ 60 w 60"/>
                <a:gd name="T49" fmla="*/ 6 h 31"/>
                <a:gd name="T50" fmla="*/ 60 w 60"/>
                <a:gd name="T51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0" h="31">
                  <a:moveTo>
                    <a:pt x="60" y="0"/>
                  </a:moveTo>
                  <a:lnTo>
                    <a:pt x="49" y="0"/>
                  </a:lnTo>
                  <a:lnTo>
                    <a:pt x="38" y="0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9" y="2"/>
                  </a:lnTo>
                  <a:lnTo>
                    <a:pt x="5" y="3"/>
                  </a:lnTo>
                  <a:lnTo>
                    <a:pt x="2" y="5"/>
                  </a:lnTo>
                  <a:lnTo>
                    <a:pt x="1" y="8"/>
                  </a:lnTo>
                  <a:lnTo>
                    <a:pt x="0" y="12"/>
                  </a:lnTo>
                  <a:lnTo>
                    <a:pt x="1" y="15"/>
                  </a:lnTo>
                  <a:lnTo>
                    <a:pt x="2" y="18"/>
                  </a:lnTo>
                  <a:lnTo>
                    <a:pt x="5" y="22"/>
                  </a:lnTo>
                  <a:lnTo>
                    <a:pt x="9" y="24"/>
                  </a:lnTo>
                  <a:lnTo>
                    <a:pt x="12" y="27"/>
                  </a:lnTo>
                  <a:lnTo>
                    <a:pt x="18" y="29"/>
                  </a:lnTo>
                  <a:lnTo>
                    <a:pt x="22" y="31"/>
                  </a:lnTo>
                  <a:lnTo>
                    <a:pt x="27" y="31"/>
                  </a:lnTo>
                  <a:lnTo>
                    <a:pt x="32" y="30"/>
                  </a:lnTo>
                  <a:lnTo>
                    <a:pt x="37" y="28"/>
                  </a:lnTo>
                  <a:lnTo>
                    <a:pt x="43" y="24"/>
                  </a:lnTo>
                  <a:lnTo>
                    <a:pt x="48" y="18"/>
                  </a:lnTo>
                  <a:lnTo>
                    <a:pt x="57" y="10"/>
                  </a:lnTo>
                  <a:lnTo>
                    <a:pt x="60" y="6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45" name="Freeform 397"/>
            <p:cNvSpPr>
              <a:spLocks/>
            </p:cNvSpPr>
            <p:nvPr/>
          </p:nvSpPr>
          <p:spPr bwMode="auto">
            <a:xfrm>
              <a:off x="1730" y="1713"/>
              <a:ext cx="26" cy="20"/>
            </a:xfrm>
            <a:custGeom>
              <a:avLst/>
              <a:gdLst>
                <a:gd name="T0" fmla="*/ 0 w 80"/>
                <a:gd name="T1" fmla="*/ 43 h 62"/>
                <a:gd name="T2" fmla="*/ 1 w 80"/>
                <a:gd name="T3" fmla="*/ 46 h 62"/>
                <a:gd name="T4" fmla="*/ 1 w 80"/>
                <a:gd name="T5" fmla="*/ 49 h 62"/>
                <a:gd name="T6" fmla="*/ 3 w 80"/>
                <a:gd name="T7" fmla="*/ 51 h 62"/>
                <a:gd name="T8" fmla="*/ 4 w 80"/>
                <a:gd name="T9" fmla="*/ 53 h 62"/>
                <a:gd name="T10" fmla="*/ 10 w 80"/>
                <a:gd name="T11" fmla="*/ 57 h 62"/>
                <a:gd name="T12" fmla="*/ 15 w 80"/>
                <a:gd name="T13" fmla="*/ 59 h 62"/>
                <a:gd name="T14" fmla="*/ 28 w 80"/>
                <a:gd name="T15" fmla="*/ 62 h 62"/>
                <a:gd name="T16" fmla="*/ 40 w 80"/>
                <a:gd name="T17" fmla="*/ 62 h 62"/>
                <a:gd name="T18" fmla="*/ 45 w 80"/>
                <a:gd name="T19" fmla="*/ 62 h 62"/>
                <a:gd name="T20" fmla="*/ 49 w 80"/>
                <a:gd name="T21" fmla="*/ 59 h 62"/>
                <a:gd name="T22" fmla="*/ 54 w 80"/>
                <a:gd name="T23" fmla="*/ 57 h 62"/>
                <a:gd name="T24" fmla="*/ 58 w 80"/>
                <a:gd name="T25" fmla="*/ 54 h 62"/>
                <a:gd name="T26" fmla="*/ 65 w 80"/>
                <a:gd name="T27" fmla="*/ 47 h 62"/>
                <a:gd name="T28" fmla="*/ 70 w 80"/>
                <a:gd name="T29" fmla="*/ 38 h 62"/>
                <a:gd name="T30" fmla="*/ 74 w 80"/>
                <a:gd name="T31" fmla="*/ 28 h 62"/>
                <a:gd name="T32" fmla="*/ 78 w 80"/>
                <a:gd name="T33" fmla="*/ 18 h 62"/>
                <a:gd name="T34" fmla="*/ 79 w 80"/>
                <a:gd name="T35" fmla="*/ 8 h 62"/>
                <a:gd name="T36" fmla="*/ 80 w 80"/>
                <a:gd name="T37" fmla="*/ 0 h 62"/>
                <a:gd name="T38" fmla="*/ 71 w 80"/>
                <a:gd name="T39" fmla="*/ 0 h 62"/>
                <a:gd name="T40" fmla="*/ 59 w 80"/>
                <a:gd name="T41" fmla="*/ 3 h 62"/>
                <a:gd name="T42" fmla="*/ 46 w 80"/>
                <a:gd name="T43" fmla="*/ 8 h 62"/>
                <a:gd name="T44" fmla="*/ 33 w 80"/>
                <a:gd name="T45" fmla="*/ 13 h 62"/>
                <a:gd name="T46" fmla="*/ 21 w 80"/>
                <a:gd name="T47" fmla="*/ 19 h 62"/>
                <a:gd name="T48" fmla="*/ 10 w 80"/>
                <a:gd name="T49" fmla="*/ 26 h 62"/>
                <a:gd name="T50" fmla="*/ 6 w 80"/>
                <a:gd name="T51" fmla="*/ 30 h 62"/>
                <a:gd name="T52" fmla="*/ 3 w 80"/>
                <a:gd name="T53" fmla="*/ 34 h 62"/>
                <a:gd name="T54" fmla="*/ 1 w 80"/>
                <a:gd name="T55" fmla="*/ 39 h 62"/>
                <a:gd name="T56" fmla="*/ 0 w 80"/>
                <a:gd name="T57" fmla="*/ 4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0" h="62">
                  <a:moveTo>
                    <a:pt x="0" y="43"/>
                  </a:moveTo>
                  <a:lnTo>
                    <a:pt x="1" y="46"/>
                  </a:lnTo>
                  <a:lnTo>
                    <a:pt x="1" y="49"/>
                  </a:lnTo>
                  <a:lnTo>
                    <a:pt x="3" y="51"/>
                  </a:lnTo>
                  <a:lnTo>
                    <a:pt x="4" y="53"/>
                  </a:lnTo>
                  <a:lnTo>
                    <a:pt x="10" y="57"/>
                  </a:lnTo>
                  <a:lnTo>
                    <a:pt x="15" y="59"/>
                  </a:lnTo>
                  <a:lnTo>
                    <a:pt x="28" y="62"/>
                  </a:lnTo>
                  <a:lnTo>
                    <a:pt x="40" y="62"/>
                  </a:lnTo>
                  <a:lnTo>
                    <a:pt x="45" y="62"/>
                  </a:lnTo>
                  <a:lnTo>
                    <a:pt x="49" y="59"/>
                  </a:lnTo>
                  <a:lnTo>
                    <a:pt x="54" y="57"/>
                  </a:lnTo>
                  <a:lnTo>
                    <a:pt x="58" y="54"/>
                  </a:lnTo>
                  <a:lnTo>
                    <a:pt x="65" y="47"/>
                  </a:lnTo>
                  <a:lnTo>
                    <a:pt x="70" y="38"/>
                  </a:lnTo>
                  <a:lnTo>
                    <a:pt x="74" y="28"/>
                  </a:lnTo>
                  <a:lnTo>
                    <a:pt x="78" y="18"/>
                  </a:lnTo>
                  <a:lnTo>
                    <a:pt x="79" y="8"/>
                  </a:lnTo>
                  <a:lnTo>
                    <a:pt x="80" y="0"/>
                  </a:lnTo>
                  <a:lnTo>
                    <a:pt x="71" y="0"/>
                  </a:lnTo>
                  <a:lnTo>
                    <a:pt x="59" y="3"/>
                  </a:lnTo>
                  <a:lnTo>
                    <a:pt x="46" y="8"/>
                  </a:lnTo>
                  <a:lnTo>
                    <a:pt x="33" y="13"/>
                  </a:lnTo>
                  <a:lnTo>
                    <a:pt x="21" y="19"/>
                  </a:lnTo>
                  <a:lnTo>
                    <a:pt x="10" y="26"/>
                  </a:lnTo>
                  <a:lnTo>
                    <a:pt x="6" y="30"/>
                  </a:lnTo>
                  <a:lnTo>
                    <a:pt x="3" y="34"/>
                  </a:lnTo>
                  <a:lnTo>
                    <a:pt x="1" y="39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46" name="Freeform 398"/>
            <p:cNvSpPr>
              <a:spLocks/>
            </p:cNvSpPr>
            <p:nvPr/>
          </p:nvSpPr>
          <p:spPr bwMode="auto">
            <a:xfrm>
              <a:off x="1583" y="1674"/>
              <a:ext cx="33" cy="16"/>
            </a:xfrm>
            <a:custGeom>
              <a:avLst/>
              <a:gdLst>
                <a:gd name="T0" fmla="*/ 80 w 106"/>
                <a:gd name="T1" fmla="*/ 13 h 49"/>
                <a:gd name="T2" fmla="*/ 72 w 106"/>
                <a:gd name="T3" fmla="*/ 12 h 49"/>
                <a:gd name="T4" fmla="*/ 66 w 106"/>
                <a:gd name="T5" fmla="*/ 11 h 49"/>
                <a:gd name="T6" fmla="*/ 59 w 106"/>
                <a:gd name="T7" fmla="*/ 8 h 49"/>
                <a:gd name="T8" fmla="*/ 53 w 106"/>
                <a:gd name="T9" fmla="*/ 6 h 49"/>
                <a:gd name="T10" fmla="*/ 47 w 106"/>
                <a:gd name="T11" fmla="*/ 4 h 49"/>
                <a:gd name="T12" fmla="*/ 41 w 106"/>
                <a:gd name="T13" fmla="*/ 2 h 49"/>
                <a:gd name="T14" fmla="*/ 34 w 106"/>
                <a:gd name="T15" fmla="*/ 0 h 49"/>
                <a:gd name="T16" fmla="*/ 26 w 106"/>
                <a:gd name="T17" fmla="*/ 0 h 49"/>
                <a:gd name="T18" fmla="*/ 15 w 106"/>
                <a:gd name="T19" fmla="*/ 0 h 49"/>
                <a:gd name="T20" fmla="*/ 0 w 106"/>
                <a:gd name="T21" fmla="*/ 0 h 49"/>
                <a:gd name="T22" fmla="*/ 9 w 106"/>
                <a:gd name="T23" fmla="*/ 11 h 49"/>
                <a:gd name="T24" fmla="*/ 17 w 106"/>
                <a:gd name="T25" fmla="*/ 21 h 49"/>
                <a:gd name="T26" fmla="*/ 26 w 106"/>
                <a:gd name="T27" fmla="*/ 29 h 49"/>
                <a:gd name="T28" fmla="*/ 34 w 106"/>
                <a:gd name="T29" fmla="*/ 36 h 49"/>
                <a:gd name="T30" fmla="*/ 42 w 106"/>
                <a:gd name="T31" fmla="*/ 42 h 49"/>
                <a:gd name="T32" fmla="*/ 52 w 106"/>
                <a:gd name="T33" fmla="*/ 46 h 49"/>
                <a:gd name="T34" fmla="*/ 61 w 106"/>
                <a:gd name="T35" fmla="*/ 48 h 49"/>
                <a:gd name="T36" fmla="*/ 72 w 106"/>
                <a:gd name="T37" fmla="*/ 49 h 49"/>
                <a:gd name="T38" fmla="*/ 79 w 106"/>
                <a:gd name="T39" fmla="*/ 48 h 49"/>
                <a:gd name="T40" fmla="*/ 87 w 106"/>
                <a:gd name="T41" fmla="*/ 45 h 49"/>
                <a:gd name="T42" fmla="*/ 97 w 106"/>
                <a:gd name="T43" fmla="*/ 39 h 49"/>
                <a:gd name="T44" fmla="*/ 106 w 106"/>
                <a:gd name="T45" fmla="*/ 31 h 49"/>
                <a:gd name="T46" fmla="*/ 101 w 106"/>
                <a:gd name="T47" fmla="*/ 30 h 49"/>
                <a:gd name="T48" fmla="*/ 98 w 106"/>
                <a:gd name="T49" fmla="*/ 28 h 49"/>
                <a:gd name="T50" fmla="*/ 93 w 106"/>
                <a:gd name="T51" fmla="*/ 25 h 49"/>
                <a:gd name="T52" fmla="*/ 90 w 106"/>
                <a:gd name="T53" fmla="*/ 22 h 49"/>
                <a:gd name="T54" fmla="*/ 88 w 106"/>
                <a:gd name="T55" fmla="*/ 19 h 49"/>
                <a:gd name="T56" fmla="*/ 84 w 106"/>
                <a:gd name="T57" fmla="*/ 16 h 49"/>
                <a:gd name="T58" fmla="*/ 82 w 106"/>
                <a:gd name="T59" fmla="*/ 14 h 49"/>
                <a:gd name="T60" fmla="*/ 80 w 106"/>
                <a:gd name="T61" fmla="*/ 13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6" h="49">
                  <a:moveTo>
                    <a:pt x="80" y="13"/>
                  </a:moveTo>
                  <a:lnTo>
                    <a:pt x="72" y="12"/>
                  </a:lnTo>
                  <a:lnTo>
                    <a:pt x="66" y="11"/>
                  </a:lnTo>
                  <a:lnTo>
                    <a:pt x="59" y="8"/>
                  </a:lnTo>
                  <a:lnTo>
                    <a:pt x="53" y="6"/>
                  </a:lnTo>
                  <a:lnTo>
                    <a:pt x="47" y="4"/>
                  </a:lnTo>
                  <a:lnTo>
                    <a:pt x="41" y="2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  <a:lnTo>
                    <a:pt x="9" y="11"/>
                  </a:lnTo>
                  <a:lnTo>
                    <a:pt x="17" y="21"/>
                  </a:lnTo>
                  <a:lnTo>
                    <a:pt x="26" y="29"/>
                  </a:lnTo>
                  <a:lnTo>
                    <a:pt x="34" y="36"/>
                  </a:lnTo>
                  <a:lnTo>
                    <a:pt x="42" y="42"/>
                  </a:lnTo>
                  <a:lnTo>
                    <a:pt x="52" y="46"/>
                  </a:lnTo>
                  <a:lnTo>
                    <a:pt x="61" y="48"/>
                  </a:lnTo>
                  <a:lnTo>
                    <a:pt x="72" y="49"/>
                  </a:lnTo>
                  <a:lnTo>
                    <a:pt x="79" y="48"/>
                  </a:lnTo>
                  <a:lnTo>
                    <a:pt x="87" y="45"/>
                  </a:lnTo>
                  <a:lnTo>
                    <a:pt x="97" y="39"/>
                  </a:lnTo>
                  <a:lnTo>
                    <a:pt x="106" y="31"/>
                  </a:lnTo>
                  <a:lnTo>
                    <a:pt x="101" y="30"/>
                  </a:lnTo>
                  <a:lnTo>
                    <a:pt x="98" y="28"/>
                  </a:lnTo>
                  <a:lnTo>
                    <a:pt x="93" y="25"/>
                  </a:lnTo>
                  <a:lnTo>
                    <a:pt x="90" y="22"/>
                  </a:lnTo>
                  <a:lnTo>
                    <a:pt x="88" y="19"/>
                  </a:lnTo>
                  <a:lnTo>
                    <a:pt x="84" y="16"/>
                  </a:lnTo>
                  <a:lnTo>
                    <a:pt x="82" y="14"/>
                  </a:lnTo>
                  <a:lnTo>
                    <a:pt x="80" y="1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47" name="Freeform 399"/>
            <p:cNvSpPr>
              <a:spLocks/>
            </p:cNvSpPr>
            <p:nvPr/>
          </p:nvSpPr>
          <p:spPr bwMode="auto">
            <a:xfrm>
              <a:off x="1599" y="1713"/>
              <a:ext cx="15" cy="7"/>
            </a:xfrm>
            <a:custGeom>
              <a:avLst/>
              <a:gdLst>
                <a:gd name="T0" fmla="*/ 0 w 47"/>
                <a:gd name="T1" fmla="*/ 19 h 22"/>
                <a:gd name="T2" fmla="*/ 5 w 47"/>
                <a:gd name="T3" fmla="*/ 21 h 22"/>
                <a:gd name="T4" fmla="*/ 12 w 47"/>
                <a:gd name="T5" fmla="*/ 22 h 22"/>
                <a:gd name="T6" fmla="*/ 18 w 47"/>
                <a:gd name="T7" fmla="*/ 22 h 22"/>
                <a:gd name="T8" fmla="*/ 26 w 47"/>
                <a:gd name="T9" fmla="*/ 21 h 22"/>
                <a:gd name="T10" fmla="*/ 33 w 47"/>
                <a:gd name="T11" fmla="*/ 19 h 22"/>
                <a:gd name="T12" fmla="*/ 38 w 47"/>
                <a:gd name="T13" fmla="*/ 15 h 22"/>
                <a:gd name="T14" fmla="*/ 41 w 47"/>
                <a:gd name="T15" fmla="*/ 12 h 22"/>
                <a:gd name="T16" fmla="*/ 44 w 47"/>
                <a:gd name="T17" fmla="*/ 9 h 22"/>
                <a:gd name="T18" fmla="*/ 45 w 47"/>
                <a:gd name="T19" fmla="*/ 5 h 22"/>
                <a:gd name="T20" fmla="*/ 47 w 47"/>
                <a:gd name="T21" fmla="*/ 0 h 22"/>
                <a:gd name="T22" fmla="*/ 0 w 47"/>
                <a:gd name="T23" fmla="*/ 1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7" h="22">
                  <a:moveTo>
                    <a:pt x="0" y="19"/>
                  </a:moveTo>
                  <a:lnTo>
                    <a:pt x="5" y="21"/>
                  </a:lnTo>
                  <a:lnTo>
                    <a:pt x="12" y="22"/>
                  </a:lnTo>
                  <a:lnTo>
                    <a:pt x="18" y="22"/>
                  </a:lnTo>
                  <a:lnTo>
                    <a:pt x="26" y="21"/>
                  </a:lnTo>
                  <a:lnTo>
                    <a:pt x="33" y="19"/>
                  </a:lnTo>
                  <a:lnTo>
                    <a:pt x="38" y="15"/>
                  </a:lnTo>
                  <a:lnTo>
                    <a:pt x="41" y="12"/>
                  </a:lnTo>
                  <a:lnTo>
                    <a:pt x="44" y="9"/>
                  </a:lnTo>
                  <a:lnTo>
                    <a:pt x="45" y="5"/>
                  </a:lnTo>
                  <a:lnTo>
                    <a:pt x="47" y="0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48" name="Freeform 400"/>
            <p:cNvSpPr>
              <a:spLocks/>
            </p:cNvSpPr>
            <p:nvPr/>
          </p:nvSpPr>
          <p:spPr bwMode="auto">
            <a:xfrm>
              <a:off x="1608" y="1742"/>
              <a:ext cx="17" cy="11"/>
            </a:xfrm>
            <a:custGeom>
              <a:avLst/>
              <a:gdLst>
                <a:gd name="T0" fmla="*/ 53 w 53"/>
                <a:gd name="T1" fmla="*/ 0 h 32"/>
                <a:gd name="T2" fmla="*/ 37 w 53"/>
                <a:gd name="T3" fmla="*/ 9 h 32"/>
                <a:gd name="T4" fmla="*/ 23 w 53"/>
                <a:gd name="T5" fmla="*/ 18 h 32"/>
                <a:gd name="T6" fmla="*/ 11 w 53"/>
                <a:gd name="T7" fmla="*/ 26 h 32"/>
                <a:gd name="T8" fmla="*/ 0 w 53"/>
                <a:gd name="T9" fmla="*/ 32 h 32"/>
                <a:gd name="T10" fmla="*/ 13 w 53"/>
                <a:gd name="T11" fmla="*/ 32 h 32"/>
                <a:gd name="T12" fmla="*/ 26 w 53"/>
                <a:gd name="T13" fmla="*/ 32 h 32"/>
                <a:gd name="T14" fmla="*/ 39 w 53"/>
                <a:gd name="T15" fmla="*/ 32 h 32"/>
                <a:gd name="T16" fmla="*/ 53 w 53"/>
                <a:gd name="T17" fmla="*/ 32 h 32"/>
                <a:gd name="T18" fmla="*/ 53 w 53"/>
                <a:gd name="T19" fmla="*/ 24 h 32"/>
                <a:gd name="T20" fmla="*/ 53 w 53"/>
                <a:gd name="T21" fmla="*/ 16 h 32"/>
                <a:gd name="T22" fmla="*/ 53 w 53"/>
                <a:gd name="T23" fmla="*/ 9 h 32"/>
                <a:gd name="T24" fmla="*/ 53 w 53"/>
                <a:gd name="T25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" h="32">
                  <a:moveTo>
                    <a:pt x="53" y="0"/>
                  </a:moveTo>
                  <a:lnTo>
                    <a:pt x="37" y="9"/>
                  </a:lnTo>
                  <a:lnTo>
                    <a:pt x="23" y="18"/>
                  </a:lnTo>
                  <a:lnTo>
                    <a:pt x="11" y="26"/>
                  </a:lnTo>
                  <a:lnTo>
                    <a:pt x="0" y="32"/>
                  </a:lnTo>
                  <a:lnTo>
                    <a:pt x="13" y="32"/>
                  </a:lnTo>
                  <a:lnTo>
                    <a:pt x="26" y="32"/>
                  </a:lnTo>
                  <a:lnTo>
                    <a:pt x="39" y="32"/>
                  </a:lnTo>
                  <a:lnTo>
                    <a:pt x="53" y="32"/>
                  </a:lnTo>
                  <a:lnTo>
                    <a:pt x="53" y="24"/>
                  </a:lnTo>
                  <a:lnTo>
                    <a:pt x="53" y="16"/>
                  </a:lnTo>
                  <a:lnTo>
                    <a:pt x="53" y="9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49" name="Freeform 401"/>
            <p:cNvSpPr>
              <a:spLocks/>
            </p:cNvSpPr>
            <p:nvPr/>
          </p:nvSpPr>
          <p:spPr bwMode="auto">
            <a:xfrm>
              <a:off x="1450" y="1438"/>
              <a:ext cx="14" cy="12"/>
            </a:xfrm>
            <a:custGeom>
              <a:avLst/>
              <a:gdLst>
                <a:gd name="T0" fmla="*/ 27 w 46"/>
                <a:gd name="T1" fmla="*/ 3 h 34"/>
                <a:gd name="T2" fmla="*/ 0 w 46"/>
                <a:gd name="T3" fmla="*/ 16 h 34"/>
                <a:gd name="T4" fmla="*/ 0 w 46"/>
                <a:gd name="T5" fmla="*/ 34 h 34"/>
                <a:gd name="T6" fmla="*/ 27 w 46"/>
                <a:gd name="T7" fmla="*/ 34 h 34"/>
                <a:gd name="T8" fmla="*/ 31 w 46"/>
                <a:gd name="T9" fmla="*/ 32 h 34"/>
                <a:gd name="T10" fmla="*/ 35 w 46"/>
                <a:gd name="T11" fmla="*/ 28 h 34"/>
                <a:gd name="T12" fmla="*/ 39 w 46"/>
                <a:gd name="T13" fmla="*/ 25 h 34"/>
                <a:gd name="T14" fmla="*/ 42 w 46"/>
                <a:gd name="T15" fmla="*/ 21 h 34"/>
                <a:gd name="T16" fmla="*/ 44 w 46"/>
                <a:gd name="T17" fmla="*/ 17 h 34"/>
                <a:gd name="T18" fmla="*/ 45 w 46"/>
                <a:gd name="T19" fmla="*/ 13 h 34"/>
                <a:gd name="T20" fmla="*/ 46 w 46"/>
                <a:gd name="T21" fmla="*/ 8 h 34"/>
                <a:gd name="T22" fmla="*/ 46 w 46"/>
                <a:gd name="T23" fmla="*/ 3 h 34"/>
                <a:gd name="T24" fmla="*/ 46 w 46"/>
                <a:gd name="T25" fmla="*/ 1 h 34"/>
                <a:gd name="T26" fmla="*/ 44 w 46"/>
                <a:gd name="T27" fmla="*/ 0 h 34"/>
                <a:gd name="T28" fmla="*/ 42 w 46"/>
                <a:gd name="T29" fmla="*/ 0 h 34"/>
                <a:gd name="T30" fmla="*/ 39 w 46"/>
                <a:gd name="T31" fmla="*/ 0 h 34"/>
                <a:gd name="T32" fmla="*/ 32 w 46"/>
                <a:gd name="T33" fmla="*/ 2 h 34"/>
                <a:gd name="T34" fmla="*/ 27 w 46"/>
                <a:gd name="T35" fmla="*/ 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6" h="34">
                  <a:moveTo>
                    <a:pt x="27" y="3"/>
                  </a:moveTo>
                  <a:lnTo>
                    <a:pt x="0" y="16"/>
                  </a:lnTo>
                  <a:lnTo>
                    <a:pt x="0" y="34"/>
                  </a:lnTo>
                  <a:lnTo>
                    <a:pt x="27" y="34"/>
                  </a:lnTo>
                  <a:lnTo>
                    <a:pt x="31" y="32"/>
                  </a:lnTo>
                  <a:lnTo>
                    <a:pt x="35" y="28"/>
                  </a:lnTo>
                  <a:lnTo>
                    <a:pt x="39" y="25"/>
                  </a:lnTo>
                  <a:lnTo>
                    <a:pt x="42" y="21"/>
                  </a:lnTo>
                  <a:lnTo>
                    <a:pt x="44" y="17"/>
                  </a:lnTo>
                  <a:lnTo>
                    <a:pt x="45" y="13"/>
                  </a:lnTo>
                  <a:lnTo>
                    <a:pt x="46" y="8"/>
                  </a:lnTo>
                  <a:lnTo>
                    <a:pt x="46" y="3"/>
                  </a:lnTo>
                  <a:lnTo>
                    <a:pt x="46" y="1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39" y="0"/>
                  </a:lnTo>
                  <a:lnTo>
                    <a:pt x="32" y="2"/>
                  </a:lnTo>
                  <a:lnTo>
                    <a:pt x="27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50" name="Freeform 402"/>
            <p:cNvSpPr>
              <a:spLocks/>
            </p:cNvSpPr>
            <p:nvPr/>
          </p:nvSpPr>
          <p:spPr bwMode="auto">
            <a:xfrm>
              <a:off x="1305" y="1224"/>
              <a:ext cx="16" cy="8"/>
            </a:xfrm>
            <a:custGeom>
              <a:avLst/>
              <a:gdLst>
                <a:gd name="T0" fmla="*/ 0 w 48"/>
                <a:gd name="T1" fmla="*/ 25 h 25"/>
                <a:gd name="T2" fmla="*/ 14 w 48"/>
                <a:gd name="T3" fmla="*/ 25 h 25"/>
                <a:gd name="T4" fmla="*/ 28 w 48"/>
                <a:gd name="T5" fmla="*/ 25 h 25"/>
                <a:gd name="T6" fmla="*/ 30 w 48"/>
                <a:gd name="T7" fmla="*/ 24 h 25"/>
                <a:gd name="T8" fmla="*/ 33 w 48"/>
                <a:gd name="T9" fmla="*/ 22 h 25"/>
                <a:gd name="T10" fmla="*/ 37 w 48"/>
                <a:gd name="T11" fmla="*/ 18 h 25"/>
                <a:gd name="T12" fmla="*/ 40 w 48"/>
                <a:gd name="T13" fmla="*/ 15 h 25"/>
                <a:gd name="T14" fmla="*/ 45 w 48"/>
                <a:gd name="T15" fmla="*/ 7 h 25"/>
                <a:gd name="T16" fmla="*/ 48 w 48"/>
                <a:gd name="T17" fmla="*/ 0 h 25"/>
                <a:gd name="T18" fmla="*/ 40 w 48"/>
                <a:gd name="T19" fmla="*/ 1 h 25"/>
                <a:gd name="T20" fmla="*/ 33 w 48"/>
                <a:gd name="T21" fmla="*/ 2 h 25"/>
                <a:gd name="T22" fmla="*/ 28 w 48"/>
                <a:gd name="T23" fmla="*/ 5 h 25"/>
                <a:gd name="T24" fmla="*/ 21 w 48"/>
                <a:gd name="T25" fmla="*/ 8 h 25"/>
                <a:gd name="T26" fmla="*/ 11 w 48"/>
                <a:gd name="T27" fmla="*/ 16 h 25"/>
                <a:gd name="T28" fmla="*/ 0 w 48"/>
                <a:gd name="T2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8" h="25">
                  <a:moveTo>
                    <a:pt x="0" y="25"/>
                  </a:moveTo>
                  <a:lnTo>
                    <a:pt x="14" y="25"/>
                  </a:lnTo>
                  <a:lnTo>
                    <a:pt x="28" y="25"/>
                  </a:lnTo>
                  <a:lnTo>
                    <a:pt x="30" y="24"/>
                  </a:lnTo>
                  <a:lnTo>
                    <a:pt x="33" y="22"/>
                  </a:lnTo>
                  <a:lnTo>
                    <a:pt x="37" y="18"/>
                  </a:lnTo>
                  <a:lnTo>
                    <a:pt x="40" y="15"/>
                  </a:lnTo>
                  <a:lnTo>
                    <a:pt x="45" y="7"/>
                  </a:lnTo>
                  <a:lnTo>
                    <a:pt x="48" y="0"/>
                  </a:lnTo>
                  <a:lnTo>
                    <a:pt x="40" y="1"/>
                  </a:lnTo>
                  <a:lnTo>
                    <a:pt x="33" y="2"/>
                  </a:lnTo>
                  <a:lnTo>
                    <a:pt x="28" y="5"/>
                  </a:lnTo>
                  <a:lnTo>
                    <a:pt x="21" y="8"/>
                  </a:lnTo>
                  <a:lnTo>
                    <a:pt x="11" y="16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51" name="Freeform 403"/>
            <p:cNvSpPr>
              <a:spLocks/>
            </p:cNvSpPr>
            <p:nvPr/>
          </p:nvSpPr>
          <p:spPr bwMode="auto">
            <a:xfrm>
              <a:off x="1343" y="1188"/>
              <a:ext cx="8" cy="11"/>
            </a:xfrm>
            <a:custGeom>
              <a:avLst/>
              <a:gdLst>
                <a:gd name="T0" fmla="*/ 0 w 30"/>
                <a:gd name="T1" fmla="*/ 0 h 37"/>
                <a:gd name="T2" fmla="*/ 0 w 30"/>
                <a:gd name="T3" fmla="*/ 37 h 37"/>
                <a:gd name="T4" fmla="*/ 11 w 30"/>
                <a:gd name="T5" fmla="*/ 36 h 37"/>
                <a:gd name="T6" fmla="*/ 20 w 30"/>
                <a:gd name="T7" fmla="*/ 34 h 37"/>
                <a:gd name="T8" fmla="*/ 22 w 30"/>
                <a:gd name="T9" fmla="*/ 33 h 37"/>
                <a:gd name="T10" fmla="*/ 26 w 30"/>
                <a:gd name="T11" fmla="*/ 32 h 37"/>
                <a:gd name="T12" fmla="*/ 28 w 30"/>
                <a:gd name="T13" fmla="*/ 30 h 37"/>
                <a:gd name="T14" fmla="*/ 29 w 30"/>
                <a:gd name="T15" fmla="*/ 28 h 37"/>
                <a:gd name="T16" fmla="*/ 30 w 30"/>
                <a:gd name="T17" fmla="*/ 23 h 37"/>
                <a:gd name="T18" fmla="*/ 30 w 30"/>
                <a:gd name="T19" fmla="*/ 16 h 37"/>
                <a:gd name="T20" fmla="*/ 29 w 30"/>
                <a:gd name="T21" fmla="*/ 9 h 37"/>
                <a:gd name="T22" fmla="*/ 27 w 30"/>
                <a:gd name="T23" fmla="*/ 0 h 37"/>
                <a:gd name="T24" fmla="*/ 0 w 30"/>
                <a:gd name="T25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" h="37">
                  <a:moveTo>
                    <a:pt x="0" y="0"/>
                  </a:moveTo>
                  <a:lnTo>
                    <a:pt x="0" y="37"/>
                  </a:lnTo>
                  <a:lnTo>
                    <a:pt x="11" y="36"/>
                  </a:lnTo>
                  <a:lnTo>
                    <a:pt x="20" y="34"/>
                  </a:lnTo>
                  <a:lnTo>
                    <a:pt x="22" y="33"/>
                  </a:lnTo>
                  <a:lnTo>
                    <a:pt x="26" y="32"/>
                  </a:lnTo>
                  <a:lnTo>
                    <a:pt x="28" y="30"/>
                  </a:lnTo>
                  <a:lnTo>
                    <a:pt x="29" y="28"/>
                  </a:lnTo>
                  <a:lnTo>
                    <a:pt x="30" y="23"/>
                  </a:lnTo>
                  <a:lnTo>
                    <a:pt x="30" y="16"/>
                  </a:lnTo>
                  <a:lnTo>
                    <a:pt x="29" y="9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52" name="Freeform 404"/>
            <p:cNvSpPr>
              <a:spLocks/>
            </p:cNvSpPr>
            <p:nvPr/>
          </p:nvSpPr>
          <p:spPr bwMode="auto">
            <a:xfrm>
              <a:off x="1334" y="1208"/>
              <a:ext cx="36" cy="16"/>
            </a:xfrm>
            <a:custGeom>
              <a:avLst/>
              <a:gdLst>
                <a:gd name="T0" fmla="*/ 33 w 113"/>
                <a:gd name="T1" fmla="*/ 3 h 46"/>
                <a:gd name="T2" fmla="*/ 22 w 113"/>
                <a:gd name="T3" fmla="*/ 3 h 46"/>
                <a:gd name="T4" fmla="*/ 12 w 113"/>
                <a:gd name="T5" fmla="*/ 5 h 46"/>
                <a:gd name="T6" fmla="*/ 7 w 113"/>
                <a:gd name="T7" fmla="*/ 7 h 46"/>
                <a:gd name="T8" fmla="*/ 3 w 113"/>
                <a:gd name="T9" fmla="*/ 11 h 46"/>
                <a:gd name="T10" fmla="*/ 1 w 113"/>
                <a:gd name="T11" fmla="*/ 15 h 46"/>
                <a:gd name="T12" fmla="*/ 0 w 113"/>
                <a:gd name="T13" fmla="*/ 21 h 46"/>
                <a:gd name="T14" fmla="*/ 6 w 113"/>
                <a:gd name="T15" fmla="*/ 27 h 46"/>
                <a:gd name="T16" fmla="*/ 10 w 113"/>
                <a:gd name="T17" fmla="*/ 33 h 46"/>
                <a:gd name="T18" fmla="*/ 16 w 113"/>
                <a:gd name="T19" fmla="*/ 37 h 46"/>
                <a:gd name="T20" fmla="*/ 20 w 113"/>
                <a:gd name="T21" fmla="*/ 41 h 46"/>
                <a:gd name="T22" fmla="*/ 25 w 113"/>
                <a:gd name="T23" fmla="*/ 43 h 46"/>
                <a:gd name="T24" fmla="*/ 30 w 113"/>
                <a:gd name="T25" fmla="*/ 45 h 46"/>
                <a:gd name="T26" fmla="*/ 35 w 113"/>
                <a:gd name="T27" fmla="*/ 46 h 46"/>
                <a:gd name="T28" fmla="*/ 40 w 113"/>
                <a:gd name="T29" fmla="*/ 46 h 46"/>
                <a:gd name="T30" fmla="*/ 56 w 113"/>
                <a:gd name="T31" fmla="*/ 46 h 46"/>
                <a:gd name="T32" fmla="*/ 70 w 113"/>
                <a:gd name="T33" fmla="*/ 43 h 46"/>
                <a:gd name="T34" fmla="*/ 76 w 113"/>
                <a:gd name="T35" fmla="*/ 41 h 46"/>
                <a:gd name="T36" fmla="*/ 81 w 113"/>
                <a:gd name="T37" fmla="*/ 38 h 46"/>
                <a:gd name="T38" fmla="*/ 87 w 113"/>
                <a:gd name="T39" fmla="*/ 36 h 46"/>
                <a:gd name="T40" fmla="*/ 91 w 113"/>
                <a:gd name="T41" fmla="*/ 33 h 46"/>
                <a:gd name="T42" fmla="*/ 99 w 113"/>
                <a:gd name="T43" fmla="*/ 27 h 46"/>
                <a:gd name="T44" fmla="*/ 106 w 113"/>
                <a:gd name="T45" fmla="*/ 20 h 46"/>
                <a:gd name="T46" fmla="*/ 110 w 113"/>
                <a:gd name="T47" fmla="*/ 12 h 46"/>
                <a:gd name="T48" fmla="*/ 113 w 113"/>
                <a:gd name="T49" fmla="*/ 3 h 46"/>
                <a:gd name="T50" fmla="*/ 99 w 113"/>
                <a:gd name="T51" fmla="*/ 1 h 46"/>
                <a:gd name="T52" fmla="*/ 87 w 113"/>
                <a:gd name="T53" fmla="*/ 0 h 46"/>
                <a:gd name="T54" fmla="*/ 76 w 113"/>
                <a:gd name="T55" fmla="*/ 0 h 46"/>
                <a:gd name="T56" fmla="*/ 66 w 113"/>
                <a:gd name="T57" fmla="*/ 1 h 46"/>
                <a:gd name="T58" fmla="*/ 48 w 113"/>
                <a:gd name="T59" fmla="*/ 2 h 46"/>
                <a:gd name="T60" fmla="*/ 33 w 113"/>
                <a:gd name="T61" fmla="*/ 3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3" h="46">
                  <a:moveTo>
                    <a:pt x="33" y="3"/>
                  </a:moveTo>
                  <a:lnTo>
                    <a:pt x="22" y="3"/>
                  </a:lnTo>
                  <a:lnTo>
                    <a:pt x="12" y="5"/>
                  </a:lnTo>
                  <a:lnTo>
                    <a:pt x="7" y="7"/>
                  </a:lnTo>
                  <a:lnTo>
                    <a:pt x="3" y="11"/>
                  </a:lnTo>
                  <a:lnTo>
                    <a:pt x="1" y="15"/>
                  </a:lnTo>
                  <a:lnTo>
                    <a:pt x="0" y="21"/>
                  </a:lnTo>
                  <a:lnTo>
                    <a:pt x="6" y="27"/>
                  </a:lnTo>
                  <a:lnTo>
                    <a:pt x="10" y="33"/>
                  </a:lnTo>
                  <a:lnTo>
                    <a:pt x="16" y="37"/>
                  </a:lnTo>
                  <a:lnTo>
                    <a:pt x="20" y="41"/>
                  </a:lnTo>
                  <a:lnTo>
                    <a:pt x="25" y="43"/>
                  </a:lnTo>
                  <a:lnTo>
                    <a:pt x="30" y="45"/>
                  </a:lnTo>
                  <a:lnTo>
                    <a:pt x="35" y="46"/>
                  </a:lnTo>
                  <a:lnTo>
                    <a:pt x="40" y="46"/>
                  </a:lnTo>
                  <a:lnTo>
                    <a:pt x="56" y="46"/>
                  </a:lnTo>
                  <a:lnTo>
                    <a:pt x="70" y="43"/>
                  </a:lnTo>
                  <a:lnTo>
                    <a:pt x="76" y="41"/>
                  </a:lnTo>
                  <a:lnTo>
                    <a:pt x="81" y="38"/>
                  </a:lnTo>
                  <a:lnTo>
                    <a:pt x="87" y="36"/>
                  </a:lnTo>
                  <a:lnTo>
                    <a:pt x="91" y="33"/>
                  </a:lnTo>
                  <a:lnTo>
                    <a:pt x="99" y="27"/>
                  </a:lnTo>
                  <a:lnTo>
                    <a:pt x="106" y="20"/>
                  </a:lnTo>
                  <a:lnTo>
                    <a:pt x="110" y="12"/>
                  </a:lnTo>
                  <a:lnTo>
                    <a:pt x="113" y="3"/>
                  </a:lnTo>
                  <a:lnTo>
                    <a:pt x="99" y="1"/>
                  </a:lnTo>
                  <a:lnTo>
                    <a:pt x="87" y="0"/>
                  </a:lnTo>
                  <a:lnTo>
                    <a:pt x="76" y="0"/>
                  </a:lnTo>
                  <a:lnTo>
                    <a:pt x="66" y="1"/>
                  </a:lnTo>
                  <a:lnTo>
                    <a:pt x="48" y="2"/>
                  </a:lnTo>
                  <a:lnTo>
                    <a:pt x="33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53" name="Freeform 405"/>
            <p:cNvSpPr>
              <a:spLocks/>
            </p:cNvSpPr>
            <p:nvPr/>
          </p:nvSpPr>
          <p:spPr bwMode="auto">
            <a:xfrm>
              <a:off x="1365" y="1201"/>
              <a:ext cx="49" cy="28"/>
            </a:xfrm>
            <a:custGeom>
              <a:avLst/>
              <a:gdLst>
                <a:gd name="T0" fmla="*/ 0 w 153"/>
                <a:gd name="T1" fmla="*/ 79 h 82"/>
                <a:gd name="T2" fmla="*/ 2 w 153"/>
                <a:gd name="T3" fmla="*/ 81 h 82"/>
                <a:gd name="T4" fmla="*/ 6 w 153"/>
                <a:gd name="T5" fmla="*/ 82 h 82"/>
                <a:gd name="T6" fmla="*/ 10 w 153"/>
                <a:gd name="T7" fmla="*/ 82 h 82"/>
                <a:gd name="T8" fmla="*/ 14 w 153"/>
                <a:gd name="T9" fmla="*/ 82 h 82"/>
                <a:gd name="T10" fmla="*/ 23 w 153"/>
                <a:gd name="T11" fmla="*/ 80 h 82"/>
                <a:gd name="T12" fmla="*/ 33 w 153"/>
                <a:gd name="T13" fmla="*/ 79 h 82"/>
                <a:gd name="T14" fmla="*/ 40 w 153"/>
                <a:gd name="T15" fmla="*/ 79 h 82"/>
                <a:gd name="T16" fmla="*/ 47 w 153"/>
                <a:gd name="T17" fmla="*/ 78 h 82"/>
                <a:gd name="T18" fmla="*/ 56 w 153"/>
                <a:gd name="T19" fmla="*/ 76 h 82"/>
                <a:gd name="T20" fmla="*/ 65 w 153"/>
                <a:gd name="T21" fmla="*/ 74 h 82"/>
                <a:gd name="T22" fmla="*/ 83 w 153"/>
                <a:gd name="T23" fmla="*/ 68 h 82"/>
                <a:gd name="T24" fmla="*/ 103 w 153"/>
                <a:gd name="T25" fmla="*/ 59 h 82"/>
                <a:gd name="T26" fmla="*/ 112 w 153"/>
                <a:gd name="T27" fmla="*/ 54 h 82"/>
                <a:gd name="T28" fmla="*/ 121 w 153"/>
                <a:gd name="T29" fmla="*/ 49 h 82"/>
                <a:gd name="T30" fmla="*/ 129 w 153"/>
                <a:gd name="T31" fmla="*/ 43 h 82"/>
                <a:gd name="T32" fmla="*/ 136 w 153"/>
                <a:gd name="T33" fmla="*/ 38 h 82"/>
                <a:gd name="T34" fmla="*/ 142 w 153"/>
                <a:gd name="T35" fmla="*/ 32 h 82"/>
                <a:gd name="T36" fmla="*/ 147 w 153"/>
                <a:gd name="T37" fmla="*/ 25 h 82"/>
                <a:gd name="T38" fmla="*/ 150 w 153"/>
                <a:gd name="T39" fmla="*/ 19 h 82"/>
                <a:gd name="T40" fmla="*/ 153 w 153"/>
                <a:gd name="T41" fmla="*/ 12 h 82"/>
                <a:gd name="T42" fmla="*/ 134 w 153"/>
                <a:gd name="T43" fmla="*/ 8 h 82"/>
                <a:gd name="T44" fmla="*/ 115 w 153"/>
                <a:gd name="T45" fmla="*/ 3 h 82"/>
                <a:gd name="T46" fmla="*/ 96 w 153"/>
                <a:gd name="T47" fmla="*/ 1 h 82"/>
                <a:gd name="T48" fmla="*/ 77 w 153"/>
                <a:gd name="T49" fmla="*/ 0 h 82"/>
                <a:gd name="T50" fmla="*/ 68 w 153"/>
                <a:gd name="T51" fmla="*/ 1 h 82"/>
                <a:gd name="T52" fmla="*/ 60 w 153"/>
                <a:gd name="T53" fmla="*/ 1 h 82"/>
                <a:gd name="T54" fmla="*/ 52 w 153"/>
                <a:gd name="T55" fmla="*/ 2 h 82"/>
                <a:gd name="T56" fmla="*/ 45 w 153"/>
                <a:gd name="T57" fmla="*/ 4 h 82"/>
                <a:gd name="T58" fmla="*/ 38 w 153"/>
                <a:gd name="T59" fmla="*/ 7 h 82"/>
                <a:gd name="T60" fmla="*/ 34 w 153"/>
                <a:gd name="T61" fmla="*/ 10 h 82"/>
                <a:gd name="T62" fmla="*/ 30 w 153"/>
                <a:gd name="T63" fmla="*/ 14 h 82"/>
                <a:gd name="T64" fmla="*/ 26 w 153"/>
                <a:gd name="T65" fmla="*/ 18 h 82"/>
                <a:gd name="T66" fmla="*/ 32 w 153"/>
                <a:gd name="T67" fmla="*/ 23 h 82"/>
                <a:gd name="T68" fmla="*/ 36 w 153"/>
                <a:gd name="T69" fmla="*/ 29 h 82"/>
                <a:gd name="T70" fmla="*/ 38 w 153"/>
                <a:gd name="T71" fmla="*/ 32 h 82"/>
                <a:gd name="T72" fmla="*/ 42 w 153"/>
                <a:gd name="T73" fmla="*/ 34 h 82"/>
                <a:gd name="T74" fmla="*/ 44 w 153"/>
                <a:gd name="T75" fmla="*/ 36 h 82"/>
                <a:gd name="T76" fmla="*/ 46 w 153"/>
                <a:gd name="T77" fmla="*/ 36 h 82"/>
                <a:gd name="T78" fmla="*/ 40 w 153"/>
                <a:gd name="T79" fmla="*/ 41 h 82"/>
                <a:gd name="T80" fmla="*/ 33 w 153"/>
                <a:gd name="T81" fmla="*/ 46 h 82"/>
                <a:gd name="T82" fmla="*/ 29 w 153"/>
                <a:gd name="T83" fmla="*/ 52 h 82"/>
                <a:gd name="T84" fmla="*/ 23 w 153"/>
                <a:gd name="T85" fmla="*/ 57 h 82"/>
                <a:gd name="T86" fmla="*/ 18 w 153"/>
                <a:gd name="T87" fmla="*/ 64 h 82"/>
                <a:gd name="T88" fmla="*/ 13 w 153"/>
                <a:gd name="T89" fmla="*/ 69 h 82"/>
                <a:gd name="T90" fmla="*/ 7 w 153"/>
                <a:gd name="T91" fmla="*/ 75 h 82"/>
                <a:gd name="T92" fmla="*/ 0 w 153"/>
                <a:gd name="T93" fmla="*/ 79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53" h="82">
                  <a:moveTo>
                    <a:pt x="0" y="79"/>
                  </a:moveTo>
                  <a:lnTo>
                    <a:pt x="2" y="81"/>
                  </a:lnTo>
                  <a:lnTo>
                    <a:pt x="6" y="82"/>
                  </a:lnTo>
                  <a:lnTo>
                    <a:pt x="10" y="82"/>
                  </a:lnTo>
                  <a:lnTo>
                    <a:pt x="14" y="82"/>
                  </a:lnTo>
                  <a:lnTo>
                    <a:pt x="23" y="80"/>
                  </a:lnTo>
                  <a:lnTo>
                    <a:pt x="33" y="79"/>
                  </a:lnTo>
                  <a:lnTo>
                    <a:pt x="40" y="79"/>
                  </a:lnTo>
                  <a:lnTo>
                    <a:pt x="47" y="78"/>
                  </a:lnTo>
                  <a:lnTo>
                    <a:pt x="56" y="76"/>
                  </a:lnTo>
                  <a:lnTo>
                    <a:pt x="65" y="74"/>
                  </a:lnTo>
                  <a:lnTo>
                    <a:pt x="83" y="68"/>
                  </a:lnTo>
                  <a:lnTo>
                    <a:pt x="103" y="59"/>
                  </a:lnTo>
                  <a:lnTo>
                    <a:pt x="112" y="54"/>
                  </a:lnTo>
                  <a:lnTo>
                    <a:pt x="121" y="49"/>
                  </a:lnTo>
                  <a:lnTo>
                    <a:pt x="129" y="43"/>
                  </a:lnTo>
                  <a:lnTo>
                    <a:pt x="136" y="38"/>
                  </a:lnTo>
                  <a:lnTo>
                    <a:pt x="142" y="32"/>
                  </a:lnTo>
                  <a:lnTo>
                    <a:pt x="147" y="25"/>
                  </a:lnTo>
                  <a:lnTo>
                    <a:pt x="150" y="19"/>
                  </a:lnTo>
                  <a:lnTo>
                    <a:pt x="153" y="12"/>
                  </a:lnTo>
                  <a:lnTo>
                    <a:pt x="134" y="8"/>
                  </a:lnTo>
                  <a:lnTo>
                    <a:pt x="115" y="3"/>
                  </a:lnTo>
                  <a:lnTo>
                    <a:pt x="96" y="1"/>
                  </a:lnTo>
                  <a:lnTo>
                    <a:pt x="77" y="0"/>
                  </a:lnTo>
                  <a:lnTo>
                    <a:pt x="68" y="1"/>
                  </a:lnTo>
                  <a:lnTo>
                    <a:pt x="60" y="1"/>
                  </a:lnTo>
                  <a:lnTo>
                    <a:pt x="52" y="2"/>
                  </a:lnTo>
                  <a:lnTo>
                    <a:pt x="45" y="4"/>
                  </a:lnTo>
                  <a:lnTo>
                    <a:pt x="38" y="7"/>
                  </a:lnTo>
                  <a:lnTo>
                    <a:pt x="34" y="10"/>
                  </a:lnTo>
                  <a:lnTo>
                    <a:pt x="30" y="14"/>
                  </a:lnTo>
                  <a:lnTo>
                    <a:pt x="26" y="18"/>
                  </a:lnTo>
                  <a:lnTo>
                    <a:pt x="32" y="23"/>
                  </a:lnTo>
                  <a:lnTo>
                    <a:pt x="36" y="29"/>
                  </a:lnTo>
                  <a:lnTo>
                    <a:pt x="38" y="32"/>
                  </a:lnTo>
                  <a:lnTo>
                    <a:pt x="42" y="34"/>
                  </a:lnTo>
                  <a:lnTo>
                    <a:pt x="44" y="36"/>
                  </a:lnTo>
                  <a:lnTo>
                    <a:pt x="46" y="36"/>
                  </a:lnTo>
                  <a:lnTo>
                    <a:pt x="40" y="41"/>
                  </a:lnTo>
                  <a:lnTo>
                    <a:pt x="33" y="46"/>
                  </a:lnTo>
                  <a:lnTo>
                    <a:pt x="29" y="52"/>
                  </a:lnTo>
                  <a:lnTo>
                    <a:pt x="23" y="57"/>
                  </a:lnTo>
                  <a:lnTo>
                    <a:pt x="18" y="64"/>
                  </a:lnTo>
                  <a:lnTo>
                    <a:pt x="13" y="69"/>
                  </a:lnTo>
                  <a:lnTo>
                    <a:pt x="7" y="75"/>
                  </a:lnTo>
                  <a:lnTo>
                    <a:pt x="0" y="7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54" name="Freeform 406"/>
            <p:cNvSpPr>
              <a:spLocks/>
            </p:cNvSpPr>
            <p:nvPr/>
          </p:nvSpPr>
          <p:spPr bwMode="auto">
            <a:xfrm>
              <a:off x="1414" y="1217"/>
              <a:ext cx="29" cy="17"/>
            </a:xfrm>
            <a:custGeom>
              <a:avLst/>
              <a:gdLst>
                <a:gd name="T0" fmla="*/ 0 w 86"/>
                <a:gd name="T1" fmla="*/ 37 h 50"/>
                <a:gd name="T2" fmla="*/ 5 w 86"/>
                <a:gd name="T3" fmla="*/ 41 h 50"/>
                <a:gd name="T4" fmla="*/ 11 w 86"/>
                <a:gd name="T5" fmla="*/ 44 h 50"/>
                <a:gd name="T6" fmla="*/ 16 w 86"/>
                <a:gd name="T7" fmla="*/ 47 h 50"/>
                <a:gd name="T8" fmla="*/ 23 w 86"/>
                <a:gd name="T9" fmla="*/ 48 h 50"/>
                <a:gd name="T10" fmla="*/ 35 w 86"/>
                <a:gd name="T11" fmla="*/ 49 h 50"/>
                <a:gd name="T12" fmla="*/ 46 w 86"/>
                <a:gd name="T13" fmla="*/ 50 h 50"/>
                <a:gd name="T14" fmla="*/ 58 w 86"/>
                <a:gd name="T15" fmla="*/ 49 h 50"/>
                <a:gd name="T16" fmla="*/ 67 w 86"/>
                <a:gd name="T17" fmla="*/ 48 h 50"/>
                <a:gd name="T18" fmla="*/ 73 w 86"/>
                <a:gd name="T19" fmla="*/ 47 h 50"/>
                <a:gd name="T20" fmla="*/ 79 w 86"/>
                <a:gd name="T21" fmla="*/ 44 h 50"/>
                <a:gd name="T22" fmla="*/ 82 w 86"/>
                <a:gd name="T23" fmla="*/ 41 h 50"/>
                <a:gd name="T24" fmla="*/ 84 w 86"/>
                <a:gd name="T25" fmla="*/ 37 h 50"/>
                <a:gd name="T26" fmla="*/ 85 w 86"/>
                <a:gd name="T27" fmla="*/ 32 h 50"/>
                <a:gd name="T28" fmla="*/ 86 w 86"/>
                <a:gd name="T29" fmla="*/ 25 h 50"/>
                <a:gd name="T30" fmla="*/ 85 w 86"/>
                <a:gd name="T31" fmla="*/ 17 h 50"/>
                <a:gd name="T32" fmla="*/ 84 w 86"/>
                <a:gd name="T33" fmla="*/ 10 h 50"/>
                <a:gd name="T34" fmla="*/ 83 w 86"/>
                <a:gd name="T35" fmla="*/ 7 h 50"/>
                <a:gd name="T36" fmla="*/ 81 w 86"/>
                <a:gd name="T37" fmla="*/ 5 h 50"/>
                <a:gd name="T38" fmla="*/ 77 w 86"/>
                <a:gd name="T39" fmla="*/ 2 h 50"/>
                <a:gd name="T40" fmla="*/ 73 w 86"/>
                <a:gd name="T41" fmla="*/ 0 h 50"/>
                <a:gd name="T42" fmla="*/ 0 w 86"/>
                <a:gd name="T43" fmla="*/ 3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6" h="50">
                  <a:moveTo>
                    <a:pt x="0" y="37"/>
                  </a:moveTo>
                  <a:lnTo>
                    <a:pt x="5" y="41"/>
                  </a:lnTo>
                  <a:lnTo>
                    <a:pt x="11" y="44"/>
                  </a:lnTo>
                  <a:lnTo>
                    <a:pt x="16" y="47"/>
                  </a:lnTo>
                  <a:lnTo>
                    <a:pt x="23" y="48"/>
                  </a:lnTo>
                  <a:lnTo>
                    <a:pt x="35" y="49"/>
                  </a:lnTo>
                  <a:lnTo>
                    <a:pt x="46" y="50"/>
                  </a:lnTo>
                  <a:lnTo>
                    <a:pt x="58" y="49"/>
                  </a:lnTo>
                  <a:lnTo>
                    <a:pt x="67" y="48"/>
                  </a:lnTo>
                  <a:lnTo>
                    <a:pt x="73" y="47"/>
                  </a:lnTo>
                  <a:lnTo>
                    <a:pt x="79" y="44"/>
                  </a:lnTo>
                  <a:lnTo>
                    <a:pt x="82" y="41"/>
                  </a:lnTo>
                  <a:lnTo>
                    <a:pt x="84" y="37"/>
                  </a:lnTo>
                  <a:lnTo>
                    <a:pt x="85" y="32"/>
                  </a:lnTo>
                  <a:lnTo>
                    <a:pt x="86" y="25"/>
                  </a:lnTo>
                  <a:lnTo>
                    <a:pt x="85" y="17"/>
                  </a:lnTo>
                  <a:lnTo>
                    <a:pt x="84" y="10"/>
                  </a:lnTo>
                  <a:lnTo>
                    <a:pt x="83" y="7"/>
                  </a:lnTo>
                  <a:lnTo>
                    <a:pt x="81" y="5"/>
                  </a:lnTo>
                  <a:lnTo>
                    <a:pt x="77" y="2"/>
                  </a:lnTo>
                  <a:lnTo>
                    <a:pt x="73" y="0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55" name="Freeform 407"/>
            <p:cNvSpPr>
              <a:spLocks/>
            </p:cNvSpPr>
            <p:nvPr/>
          </p:nvSpPr>
          <p:spPr bwMode="auto">
            <a:xfrm>
              <a:off x="1379" y="1163"/>
              <a:ext cx="55" cy="25"/>
            </a:xfrm>
            <a:custGeom>
              <a:avLst/>
              <a:gdLst>
                <a:gd name="T0" fmla="*/ 119 w 172"/>
                <a:gd name="T1" fmla="*/ 61 h 74"/>
                <a:gd name="T2" fmla="*/ 109 w 172"/>
                <a:gd name="T3" fmla="*/ 61 h 74"/>
                <a:gd name="T4" fmla="*/ 99 w 172"/>
                <a:gd name="T5" fmla="*/ 61 h 74"/>
                <a:gd name="T6" fmla="*/ 90 w 172"/>
                <a:gd name="T7" fmla="*/ 61 h 74"/>
                <a:gd name="T8" fmla="*/ 80 w 172"/>
                <a:gd name="T9" fmla="*/ 61 h 74"/>
                <a:gd name="T10" fmla="*/ 60 w 172"/>
                <a:gd name="T11" fmla="*/ 74 h 74"/>
                <a:gd name="T12" fmla="*/ 33 w 172"/>
                <a:gd name="T13" fmla="*/ 74 h 74"/>
                <a:gd name="T14" fmla="*/ 36 w 172"/>
                <a:gd name="T15" fmla="*/ 61 h 74"/>
                <a:gd name="T16" fmla="*/ 39 w 172"/>
                <a:gd name="T17" fmla="*/ 49 h 74"/>
                <a:gd name="T18" fmla="*/ 30 w 172"/>
                <a:gd name="T19" fmla="*/ 49 h 74"/>
                <a:gd name="T20" fmla="*/ 23 w 172"/>
                <a:gd name="T21" fmla="*/ 48 h 74"/>
                <a:gd name="T22" fmla="*/ 15 w 172"/>
                <a:gd name="T23" fmla="*/ 47 h 74"/>
                <a:gd name="T24" fmla="*/ 9 w 172"/>
                <a:gd name="T25" fmla="*/ 45 h 74"/>
                <a:gd name="T26" fmla="*/ 5 w 172"/>
                <a:gd name="T27" fmla="*/ 42 h 74"/>
                <a:gd name="T28" fmla="*/ 2 w 172"/>
                <a:gd name="T29" fmla="*/ 39 h 74"/>
                <a:gd name="T30" fmla="*/ 1 w 172"/>
                <a:gd name="T31" fmla="*/ 35 h 74"/>
                <a:gd name="T32" fmla="*/ 0 w 172"/>
                <a:gd name="T33" fmla="*/ 31 h 74"/>
                <a:gd name="T34" fmla="*/ 1 w 172"/>
                <a:gd name="T35" fmla="*/ 26 h 74"/>
                <a:gd name="T36" fmla="*/ 2 w 172"/>
                <a:gd name="T37" fmla="*/ 21 h 74"/>
                <a:gd name="T38" fmla="*/ 5 w 172"/>
                <a:gd name="T39" fmla="*/ 17 h 74"/>
                <a:gd name="T40" fmla="*/ 8 w 172"/>
                <a:gd name="T41" fmla="*/ 14 h 74"/>
                <a:gd name="T42" fmla="*/ 13 w 172"/>
                <a:gd name="T43" fmla="*/ 10 h 74"/>
                <a:gd name="T44" fmla="*/ 18 w 172"/>
                <a:gd name="T45" fmla="*/ 7 h 74"/>
                <a:gd name="T46" fmla="*/ 24 w 172"/>
                <a:gd name="T47" fmla="*/ 5 h 74"/>
                <a:gd name="T48" fmla="*/ 29 w 172"/>
                <a:gd name="T49" fmla="*/ 4 h 74"/>
                <a:gd name="T50" fmla="*/ 42 w 172"/>
                <a:gd name="T51" fmla="*/ 1 h 74"/>
                <a:gd name="T52" fmla="*/ 56 w 172"/>
                <a:gd name="T53" fmla="*/ 0 h 74"/>
                <a:gd name="T54" fmla="*/ 69 w 172"/>
                <a:gd name="T55" fmla="*/ 0 h 74"/>
                <a:gd name="T56" fmla="*/ 80 w 172"/>
                <a:gd name="T57" fmla="*/ 0 h 74"/>
                <a:gd name="T58" fmla="*/ 94 w 172"/>
                <a:gd name="T59" fmla="*/ 1 h 74"/>
                <a:gd name="T60" fmla="*/ 106 w 172"/>
                <a:gd name="T61" fmla="*/ 4 h 74"/>
                <a:gd name="T62" fmla="*/ 117 w 172"/>
                <a:gd name="T63" fmla="*/ 7 h 74"/>
                <a:gd name="T64" fmla="*/ 128 w 172"/>
                <a:gd name="T65" fmla="*/ 13 h 74"/>
                <a:gd name="T66" fmla="*/ 139 w 172"/>
                <a:gd name="T67" fmla="*/ 17 h 74"/>
                <a:gd name="T68" fmla="*/ 150 w 172"/>
                <a:gd name="T69" fmla="*/ 21 h 74"/>
                <a:gd name="T70" fmla="*/ 161 w 172"/>
                <a:gd name="T71" fmla="*/ 24 h 74"/>
                <a:gd name="T72" fmla="*/ 172 w 172"/>
                <a:gd name="T73" fmla="*/ 25 h 74"/>
                <a:gd name="T74" fmla="*/ 172 w 172"/>
                <a:gd name="T75" fmla="*/ 43 h 74"/>
                <a:gd name="T76" fmla="*/ 169 w 172"/>
                <a:gd name="T77" fmla="*/ 48 h 74"/>
                <a:gd name="T78" fmla="*/ 165 w 172"/>
                <a:gd name="T79" fmla="*/ 53 h 74"/>
                <a:gd name="T80" fmla="*/ 161 w 172"/>
                <a:gd name="T81" fmla="*/ 57 h 74"/>
                <a:gd name="T82" fmla="*/ 158 w 172"/>
                <a:gd name="T83" fmla="*/ 60 h 74"/>
                <a:gd name="T84" fmla="*/ 153 w 172"/>
                <a:gd name="T85" fmla="*/ 62 h 74"/>
                <a:gd name="T86" fmla="*/ 149 w 172"/>
                <a:gd name="T87" fmla="*/ 63 h 74"/>
                <a:gd name="T88" fmla="*/ 146 w 172"/>
                <a:gd name="T89" fmla="*/ 65 h 74"/>
                <a:gd name="T90" fmla="*/ 141 w 172"/>
                <a:gd name="T91" fmla="*/ 65 h 74"/>
                <a:gd name="T92" fmla="*/ 131 w 172"/>
                <a:gd name="T93" fmla="*/ 65 h 74"/>
                <a:gd name="T94" fmla="*/ 121 w 172"/>
                <a:gd name="T95" fmla="*/ 63 h 74"/>
                <a:gd name="T96" fmla="*/ 112 w 172"/>
                <a:gd name="T97" fmla="*/ 59 h 74"/>
                <a:gd name="T98" fmla="*/ 99 w 172"/>
                <a:gd name="T99" fmla="*/ 55 h 74"/>
                <a:gd name="T100" fmla="*/ 106 w 172"/>
                <a:gd name="T101" fmla="*/ 55 h 74"/>
                <a:gd name="T102" fmla="*/ 119 w 172"/>
                <a:gd name="T103" fmla="*/ 61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72" h="74">
                  <a:moveTo>
                    <a:pt x="119" y="61"/>
                  </a:moveTo>
                  <a:lnTo>
                    <a:pt x="109" y="61"/>
                  </a:lnTo>
                  <a:lnTo>
                    <a:pt x="99" y="61"/>
                  </a:lnTo>
                  <a:lnTo>
                    <a:pt x="90" y="61"/>
                  </a:lnTo>
                  <a:lnTo>
                    <a:pt x="80" y="61"/>
                  </a:lnTo>
                  <a:lnTo>
                    <a:pt x="60" y="74"/>
                  </a:lnTo>
                  <a:lnTo>
                    <a:pt x="33" y="74"/>
                  </a:lnTo>
                  <a:lnTo>
                    <a:pt x="36" y="61"/>
                  </a:lnTo>
                  <a:lnTo>
                    <a:pt x="39" y="49"/>
                  </a:lnTo>
                  <a:lnTo>
                    <a:pt x="30" y="49"/>
                  </a:lnTo>
                  <a:lnTo>
                    <a:pt x="23" y="48"/>
                  </a:lnTo>
                  <a:lnTo>
                    <a:pt x="15" y="47"/>
                  </a:lnTo>
                  <a:lnTo>
                    <a:pt x="9" y="45"/>
                  </a:lnTo>
                  <a:lnTo>
                    <a:pt x="5" y="42"/>
                  </a:lnTo>
                  <a:lnTo>
                    <a:pt x="2" y="39"/>
                  </a:lnTo>
                  <a:lnTo>
                    <a:pt x="1" y="35"/>
                  </a:lnTo>
                  <a:lnTo>
                    <a:pt x="0" y="31"/>
                  </a:lnTo>
                  <a:lnTo>
                    <a:pt x="1" y="26"/>
                  </a:lnTo>
                  <a:lnTo>
                    <a:pt x="2" y="21"/>
                  </a:lnTo>
                  <a:lnTo>
                    <a:pt x="5" y="17"/>
                  </a:lnTo>
                  <a:lnTo>
                    <a:pt x="8" y="14"/>
                  </a:lnTo>
                  <a:lnTo>
                    <a:pt x="13" y="10"/>
                  </a:lnTo>
                  <a:lnTo>
                    <a:pt x="18" y="7"/>
                  </a:lnTo>
                  <a:lnTo>
                    <a:pt x="24" y="5"/>
                  </a:lnTo>
                  <a:lnTo>
                    <a:pt x="29" y="4"/>
                  </a:lnTo>
                  <a:lnTo>
                    <a:pt x="42" y="1"/>
                  </a:lnTo>
                  <a:lnTo>
                    <a:pt x="56" y="0"/>
                  </a:lnTo>
                  <a:lnTo>
                    <a:pt x="69" y="0"/>
                  </a:lnTo>
                  <a:lnTo>
                    <a:pt x="80" y="0"/>
                  </a:lnTo>
                  <a:lnTo>
                    <a:pt x="94" y="1"/>
                  </a:lnTo>
                  <a:lnTo>
                    <a:pt x="106" y="4"/>
                  </a:lnTo>
                  <a:lnTo>
                    <a:pt x="117" y="7"/>
                  </a:lnTo>
                  <a:lnTo>
                    <a:pt x="128" y="13"/>
                  </a:lnTo>
                  <a:lnTo>
                    <a:pt x="139" y="17"/>
                  </a:lnTo>
                  <a:lnTo>
                    <a:pt x="150" y="21"/>
                  </a:lnTo>
                  <a:lnTo>
                    <a:pt x="161" y="24"/>
                  </a:lnTo>
                  <a:lnTo>
                    <a:pt x="172" y="25"/>
                  </a:lnTo>
                  <a:lnTo>
                    <a:pt x="172" y="43"/>
                  </a:lnTo>
                  <a:lnTo>
                    <a:pt x="169" y="48"/>
                  </a:lnTo>
                  <a:lnTo>
                    <a:pt x="165" y="53"/>
                  </a:lnTo>
                  <a:lnTo>
                    <a:pt x="161" y="57"/>
                  </a:lnTo>
                  <a:lnTo>
                    <a:pt x="158" y="60"/>
                  </a:lnTo>
                  <a:lnTo>
                    <a:pt x="153" y="62"/>
                  </a:lnTo>
                  <a:lnTo>
                    <a:pt x="149" y="63"/>
                  </a:lnTo>
                  <a:lnTo>
                    <a:pt x="146" y="65"/>
                  </a:lnTo>
                  <a:lnTo>
                    <a:pt x="141" y="65"/>
                  </a:lnTo>
                  <a:lnTo>
                    <a:pt x="131" y="65"/>
                  </a:lnTo>
                  <a:lnTo>
                    <a:pt x="121" y="63"/>
                  </a:lnTo>
                  <a:lnTo>
                    <a:pt x="112" y="59"/>
                  </a:lnTo>
                  <a:lnTo>
                    <a:pt x="99" y="55"/>
                  </a:lnTo>
                  <a:lnTo>
                    <a:pt x="106" y="55"/>
                  </a:lnTo>
                  <a:lnTo>
                    <a:pt x="119" y="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56" name="Freeform 408"/>
            <p:cNvSpPr>
              <a:spLocks/>
            </p:cNvSpPr>
            <p:nvPr/>
          </p:nvSpPr>
          <p:spPr bwMode="auto">
            <a:xfrm>
              <a:off x="1450" y="1171"/>
              <a:ext cx="38" cy="17"/>
            </a:xfrm>
            <a:custGeom>
              <a:avLst/>
              <a:gdLst>
                <a:gd name="T0" fmla="*/ 27 w 120"/>
                <a:gd name="T1" fmla="*/ 49 h 49"/>
                <a:gd name="T2" fmla="*/ 47 w 120"/>
                <a:gd name="T3" fmla="*/ 49 h 49"/>
                <a:gd name="T4" fmla="*/ 64 w 120"/>
                <a:gd name="T5" fmla="*/ 48 h 49"/>
                <a:gd name="T6" fmla="*/ 78 w 120"/>
                <a:gd name="T7" fmla="*/ 46 h 49"/>
                <a:gd name="T8" fmla="*/ 90 w 120"/>
                <a:gd name="T9" fmla="*/ 43 h 49"/>
                <a:gd name="T10" fmla="*/ 96 w 120"/>
                <a:gd name="T11" fmla="*/ 39 h 49"/>
                <a:gd name="T12" fmla="*/ 100 w 120"/>
                <a:gd name="T13" fmla="*/ 37 h 49"/>
                <a:gd name="T14" fmla="*/ 104 w 120"/>
                <a:gd name="T15" fmla="*/ 34 h 49"/>
                <a:gd name="T16" fmla="*/ 108 w 120"/>
                <a:gd name="T17" fmla="*/ 31 h 49"/>
                <a:gd name="T18" fmla="*/ 114 w 120"/>
                <a:gd name="T19" fmla="*/ 22 h 49"/>
                <a:gd name="T20" fmla="*/ 120 w 120"/>
                <a:gd name="T21" fmla="*/ 12 h 49"/>
                <a:gd name="T22" fmla="*/ 102 w 120"/>
                <a:gd name="T23" fmla="*/ 6 h 49"/>
                <a:gd name="T24" fmla="*/ 84 w 120"/>
                <a:gd name="T25" fmla="*/ 3 h 49"/>
                <a:gd name="T26" fmla="*/ 66 w 120"/>
                <a:gd name="T27" fmla="*/ 1 h 49"/>
                <a:gd name="T28" fmla="*/ 50 w 120"/>
                <a:gd name="T29" fmla="*/ 0 h 49"/>
                <a:gd name="T30" fmla="*/ 34 w 120"/>
                <a:gd name="T31" fmla="*/ 1 h 49"/>
                <a:gd name="T32" fmla="*/ 20 w 120"/>
                <a:gd name="T33" fmla="*/ 2 h 49"/>
                <a:gd name="T34" fmla="*/ 9 w 120"/>
                <a:gd name="T35" fmla="*/ 4 h 49"/>
                <a:gd name="T36" fmla="*/ 0 w 120"/>
                <a:gd name="T37" fmla="*/ 6 h 49"/>
                <a:gd name="T38" fmla="*/ 0 w 120"/>
                <a:gd name="T39" fmla="*/ 30 h 49"/>
                <a:gd name="T40" fmla="*/ 2 w 120"/>
                <a:gd name="T41" fmla="*/ 35 h 49"/>
                <a:gd name="T42" fmla="*/ 6 w 120"/>
                <a:gd name="T43" fmla="*/ 38 h 49"/>
                <a:gd name="T44" fmla="*/ 9 w 120"/>
                <a:gd name="T45" fmla="*/ 41 h 49"/>
                <a:gd name="T46" fmla="*/ 13 w 120"/>
                <a:gd name="T47" fmla="*/ 45 h 49"/>
                <a:gd name="T48" fmla="*/ 20 w 120"/>
                <a:gd name="T49" fmla="*/ 48 h 49"/>
                <a:gd name="T50" fmla="*/ 27 w 120"/>
                <a:gd name="T51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0" h="49">
                  <a:moveTo>
                    <a:pt x="27" y="49"/>
                  </a:moveTo>
                  <a:lnTo>
                    <a:pt x="47" y="49"/>
                  </a:lnTo>
                  <a:lnTo>
                    <a:pt x="64" y="48"/>
                  </a:lnTo>
                  <a:lnTo>
                    <a:pt x="78" y="46"/>
                  </a:lnTo>
                  <a:lnTo>
                    <a:pt x="90" y="43"/>
                  </a:lnTo>
                  <a:lnTo>
                    <a:pt x="96" y="39"/>
                  </a:lnTo>
                  <a:lnTo>
                    <a:pt x="100" y="37"/>
                  </a:lnTo>
                  <a:lnTo>
                    <a:pt x="104" y="34"/>
                  </a:lnTo>
                  <a:lnTo>
                    <a:pt x="108" y="31"/>
                  </a:lnTo>
                  <a:lnTo>
                    <a:pt x="114" y="22"/>
                  </a:lnTo>
                  <a:lnTo>
                    <a:pt x="120" y="12"/>
                  </a:lnTo>
                  <a:lnTo>
                    <a:pt x="102" y="6"/>
                  </a:lnTo>
                  <a:lnTo>
                    <a:pt x="84" y="3"/>
                  </a:lnTo>
                  <a:lnTo>
                    <a:pt x="66" y="1"/>
                  </a:lnTo>
                  <a:lnTo>
                    <a:pt x="50" y="0"/>
                  </a:lnTo>
                  <a:lnTo>
                    <a:pt x="34" y="1"/>
                  </a:lnTo>
                  <a:lnTo>
                    <a:pt x="20" y="2"/>
                  </a:lnTo>
                  <a:lnTo>
                    <a:pt x="9" y="4"/>
                  </a:lnTo>
                  <a:lnTo>
                    <a:pt x="0" y="6"/>
                  </a:lnTo>
                  <a:lnTo>
                    <a:pt x="0" y="30"/>
                  </a:lnTo>
                  <a:lnTo>
                    <a:pt x="2" y="35"/>
                  </a:lnTo>
                  <a:lnTo>
                    <a:pt x="6" y="38"/>
                  </a:lnTo>
                  <a:lnTo>
                    <a:pt x="9" y="41"/>
                  </a:lnTo>
                  <a:lnTo>
                    <a:pt x="13" y="45"/>
                  </a:lnTo>
                  <a:lnTo>
                    <a:pt x="20" y="48"/>
                  </a:lnTo>
                  <a:lnTo>
                    <a:pt x="27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57" name="Freeform 409"/>
            <p:cNvSpPr>
              <a:spLocks/>
            </p:cNvSpPr>
            <p:nvPr/>
          </p:nvSpPr>
          <p:spPr bwMode="auto">
            <a:xfrm>
              <a:off x="1441" y="1194"/>
              <a:ext cx="26" cy="19"/>
            </a:xfrm>
            <a:custGeom>
              <a:avLst/>
              <a:gdLst>
                <a:gd name="T0" fmla="*/ 33 w 85"/>
                <a:gd name="T1" fmla="*/ 0 h 61"/>
                <a:gd name="T2" fmla="*/ 22 w 85"/>
                <a:gd name="T3" fmla="*/ 5 h 61"/>
                <a:gd name="T4" fmla="*/ 11 w 85"/>
                <a:gd name="T5" fmla="*/ 12 h 61"/>
                <a:gd name="T6" fmla="*/ 6 w 85"/>
                <a:gd name="T7" fmla="*/ 17 h 61"/>
                <a:gd name="T8" fmla="*/ 3 w 85"/>
                <a:gd name="T9" fmla="*/ 21 h 61"/>
                <a:gd name="T10" fmla="*/ 0 w 85"/>
                <a:gd name="T11" fmla="*/ 25 h 61"/>
                <a:gd name="T12" fmla="*/ 0 w 85"/>
                <a:gd name="T13" fmla="*/ 31 h 61"/>
                <a:gd name="T14" fmla="*/ 0 w 85"/>
                <a:gd name="T15" fmla="*/ 34 h 61"/>
                <a:gd name="T16" fmla="*/ 1 w 85"/>
                <a:gd name="T17" fmla="*/ 37 h 61"/>
                <a:gd name="T18" fmla="*/ 2 w 85"/>
                <a:gd name="T19" fmla="*/ 40 h 61"/>
                <a:gd name="T20" fmla="*/ 5 w 85"/>
                <a:gd name="T21" fmla="*/ 43 h 61"/>
                <a:gd name="T22" fmla="*/ 11 w 85"/>
                <a:gd name="T23" fmla="*/ 48 h 61"/>
                <a:gd name="T24" fmla="*/ 18 w 85"/>
                <a:gd name="T25" fmla="*/ 53 h 61"/>
                <a:gd name="T26" fmla="*/ 27 w 85"/>
                <a:gd name="T27" fmla="*/ 56 h 61"/>
                <a:gd name="T28" fmla="*/ 36 w 85"/>
                <a:gd name="T29" fmla="*/ 59 h 61"/>
                <a:gd name="T30" fmla="*/ 45 w 85"/>
                <a:gd name="T31" fmla="*/ 61 h 61"/>
                <a:gd name="T32" fmla="*/ 53 w 85"/>
                <a:gd name="T33" fmla="*/ 61 h 61"/>
                <a:gd name="T34" fmla="*/ 56 w 85"/>
                <a:gd name="T35" fmla="*/ 61 h 61"/>
                <a:gd name="T36" fmla="*/ 59 w 85"/>
                <a:gd name="T37" fmla="*/ 60 h 61"/>
                <a:gd name="T38" fmla="*/ 62 w 85"/>
                <a:gd name="T39" fmla="*/ 59 h 61"/>
                <a:gd name="T40" fmla="*/ 66 w 85"/>
                <a:gd name="T41" fmla="*/ 57 h 61"/>
                <a:gd name="T42" fmla="*/ 72 w 85"/>
                <a:gd name="T43" fmla="*/ 52 h 61"/>
                <a:gd name="T44" fmla="*/ 77 w 85"/>
                <a:gd name="T45" fmla="*/ 47 h 61"/>
                <a:gd name="T46" fmla="*/ 80 w 85"/>
                <a:gd name="T47" fmla="*/ 40 h 61"/>
                <a:gd name="T48" fmla="*/ 83 w 85"/>
                <a:gd name="T49" fmla="*/ 33 h 61"/>
                <a:gd name="T50" fmla="*/ 85 w 85"/>
                <a:gd name="T51" fmla="*/ 25 h 61"/>
                <a:gd name="T52" fmla="*/ 85 w 85"/>
                <a:gd name="T53" fmla="*/ 18 h 61"/>
                <a:gd name="T54" fmla="*/ 33 w 85"/>
                <a:gd name="T55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5" h="61">
                  <a:moveTo>
                    <a:pt x="33" y="0"/>
                  </a:moveTo>
                  <a:lnTo>
                    <a:pt x="22" y="5"/>
                  </a:lnTo>
                  <a:lnTo>
                    <a:pt x="11" y="12"/>
                  </a:lnTo>
                  <a:lnTo>
                    <a:pt x="6" y="17"/>
                  </a:lnTo>
                  <a:lnTo>
                    <a:pt x="3" y="21"/>
                  </a:lnTo>
                  <a:lnTo>
                    <a:pt x="0" y="25"/>
                  </a:lnTo>
                  <a:lnTo>
                    <a:pt x="0" y="31"/>
                  </a:lnTo>
                  <a:lnTo>
                    <a:pt x="0" y="34"/>
                  </a:lnTo>
                  <a:lnTo>
                    <a:pt x="1" y="37"/>
                  </a:lnTo>
                  <a:lnTo>
                    <a:pt x="2" y="40"/>
                  </a:lnTo>
                  <a:lnTo>
                    <a:pt x="5" y="43"/>
                  </a:lnTo>
                  <a:lnTo>
                    <a:pt x="11" y="48"/>
                  </a:lnTo>
                  <a:lnTo>
                    <a:pt x="18" y="53"/>
                  </a:lnTo>
                  <a:lnTo>
                    <a:pt x="27" y="56"/>
                  </a:lnTo>
                  <a:lnTo>
                    <a:pt x="36" y="59"/>
                  </a:lnTo>
                  <a:lnTo>
                    <a:pt x="45" y="61"/>
                  </a:lnTo>
                  <a:lnTo>
                    <a:pt x="53" y="61"/>
                  </a:lnTo>
                  <a:lnTo>
                    <a:pt x="56" y="61"/>
                  </a:lnTo>
                  <a:lnTo>
                    <a:pt x="59" y="60"/>
                  </a:lnTo>
                  <a:lnTo>
                    <a:pt x="62" y="59"/>
                  </a:lnTo>
                  <a:lnTo>
                    <a:pt x="66" y="57"/>
                  </a:lnTo>
                  <a:lnTo>
                    <a:pt x="72" y="52"/>
                  </a:lnTo>
                  <a:lnTo>
                    <a:pt x="77" y="47"/>
                  </a:lnTo>
                  <a:lnTo>
                    <a:pt x="80" y="40"/>
                  </a:lnTo>
                  <a:lnTo>
                    <a:pt x="83" y="33"/>
                  </a:lnTo>
                  <a:lnTo>
                    <a:pt x="85" y="25"/>
                  </a:lnTo>
                  <a:lnTo>
                    <a:pt x="85" y="18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58" name="Freeform 410"/>
            <p:cNvSpPr>
              <a:spLocks/>
            </p:cNvSpPr>
            <p:nvPr/>
          </p:nvSpPr>
          <p:spPr bwMode="auto">
            <a:xfrm>
              <a:off x="1254" y="1188"/>
              <a:ext cx="31" cy="6"/>
            </a:xfrm>
            <a:custGeom>
              <a:avLst/>
              <a:gdLst>
                <a:gd name="T0" fmla="*/ 0 w 100"/>
                <a:gd name="T1" fmla="*/ 6 h 19"/>
                <a:gd name="T2" fmla="*/ 7 w 100"/>
                <a:gd name="T3" fmla="*/ 11 h 19"/>
                <a:gd name="T4" fmla="*/ 13 w 100"/>
                <a:gd name="T5" fmla="*/ 15 h 19"/>
                <a:gd name="T6" fmla="*/ 21 w 100"/>
                <a:gd name="T7" fmla="*/ 18 h 19"/>
                <a:gd name="T8" fmla="*/ 27 w 100"/>
                <a:gd name="T9" fmla="*/ 19 h 19"/>
                <a:gd name="T10" fmla="*/ 100 w 100"/>
                <a:gd name="T11" fmla="*/ 6 h 19"/>
                <a:gd name="T12" fmla="*/ 73 w 100"/>
                <a:gd name="T13" fmla="*/ 2 h 19"/>
                <a:gd name="T14" fmla="*/ 47 w 100"/>
                <a:gd name="T15" fmla="*/ 0 h 19"/>
                <a:gd name="T16" fmla="*/ 36 w 100"/>
                <a:gd name="T17" fmla="*/ 0 h 19"/>
                <a:gd name="T18" fmla="*/ 24 w 100"/>
                <a:gd name="T19" fmla="*/ 1 h 19"/>
                <a:gd name="T20" fmla="*/ 12 w 100"/>
                <a:gd name="T21" fmla="*/ 3 h 19"/>
                <a:gd name="T22" fmla="*/ 0 w 100"/>
                <a:gd name="T23" fmla="*/ 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0" h="19">
                  <a:moveTo>
                    <a:pt x="0" y="6"/>
                  </a:moveTo>
                  <a:lnTo>
                    <a:pt x="7" y="11"/>
                  </a:lnTo>
                  <a:lnTo>
                    <a:pt x="13" y="15"/>
                  </a:lnTo>
                  <a:lnTo>
                    <a:pt x="21" y="18"/>
                  </a:lnTo>
                  <a:lnTo>
                    <a:pt x="27" y="19"/>
                  </a:lnTo>
                  <a:lnTo>
                    <a:pt x="100" y="6"/>
                  </a:lnTo>
                  <a:lnTo>
                    <a:pt x="73" y="2"/>
                  </a:lnTo>
                  <a:lnTo>
                    <a:pt x="47" y="0"/>
                  </a:lnTo>
                  <a:lnTo>
                    <a:pt x="36" y="0"/>
                  </a:lnTo>
                  <a:lnTo>
                    <a:pt x="24" y="1"/>
                  </a:lnTo>
                  <a:lnTo>
                    <a:pt x="12" y="3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59" name="Freeform 411"/>
            <p:cNvSpPr>
              <a:spLocks/>
            </p:cNvSpPr>
            <p:nvPr/>
          </p:nvSpPr>
          <p:spPr bwMode="auto">
            <a:xfrm>
              <a:off x="1272" y="1168"/>
              <a:ext cx="53" cy="15"/>
            </a:xfrm>
            <a:custGeom>
              <a:avLst/>
              <a:gdLst>
                <a:gd name="T0" fmla="*/ 0 w 166"/>
                <a:gd name="T1" fmla="*/ 27 h 45"/>
                <a:gd name="T2" fmla="*/ 0 w 166"/>
                <a:gd name="T3" fmla="*/ 29 h 45"/>
                <a:gd name="T4" fmla="*/ 3 w 166"/>
                <a:gd name="T5" fmla="*/ 31 h 45"/>
                <a:gd name="T6" fmla="*/ 8 w 166"/>
                <a:gd name="T7" fmla="*/ 33 h 45"/>
                <a:gd name="T8" fmla="*/ 13 w 166"/>
                <a:gd name="T9" fmla="*/ 35 h 45"/>
                <a:gd name="T10" fmla="*/ 27 w 166"/>
                <a:gd name="T11" fmla="*/ 38 h 45"/>
                <a:gd name="T12" fmla="*/ 44 w 166"/>
                <a:gd name="T13" fmla="*/ 41 h 45"/>
                <a:gd name="T14" fmla="*/ 75 w 166"/>
                <a:gd name="T15" fmla="*/ 44 h 45"/>
                <a:gd name="T16" fmla="*/ 92 w 166"/>
                <a:gd name="T17" fmla="*/ 45 h 45"/>
                <a:gd name="T18" fmla="*/ 166 w 166"/>
                <a:gd name="T19" fmla="*/ 27 h 45"/>
                <a:gd name="T20" fmla="*/ 157 w 166"/>
                <a:gd name="T21" fmla="*/ 25 h 45"/>
                <a:gd name="T22" fmla="*/ 137 w 166"/>
                <a:gd name="T23" fmla="*/ 19 h 45"/>
                <a:gd name="T24" fmla="*/ 110 w 166"/>
                <a:gd name="T25" fmla="*/ 11 h 45"/>
                <a:gd name="T26" fmla="*/ 80 w 166"/>
                <a:gd name="T27" fmla="*/ 4 h 45"/>
                <a:gd name="T28" fmla="*/ 65 w 166"/>
                <a:gd name="T29" fmla="*/ 2 h 45"/>
                <a:gd name="T30" fmla="*/ 50 w 166"/>
                <a:gd name="T31" fmla="*/ 1 h 45"/>
                <a:gd name="T32" fmla="*/ 36 w 166"/>
                <a:gd name="T33" fmla="*/ 0 h 45"/>
                <a:gd name="T34" fmla="*/ 24 w 166"/>
                <a:gd name="T35" fmla="*/ 2 h 45"/>
                <a:gd name="T36" fmla="*/ 19 w 166"/>
                <a:gd name="T37" fmla="*/ 3 h 45"/>
                <a:gd name="T38" fmla="*/ 14 w 166"/>
                <a:gd name="T39" fmla="*/ 5 h 45"/>
                <a:gd name="T40" fmla="*/ 10 w 166"/>
                <a:gd name="T41" fmla="*/ 7 h 45"/>
                <a:gd name="T42" fmla="*/ 7 w 166"/>
                <a:gd name="T43" fmla="*/ 10 h 45"/>
                <a:gd name="T44" fmla="*/ 3 w 166"/>
                <a:gd name="T45" fmla="*/ 13 h 45"/>
                <a:gd name="T46" fmla="*/ 1 w 166"/>
                <a:gd name="T47" fmla="*/ 17 h 45"/>
                <a:gd name="T48" fmla="*/ 0 w 166"/>
                <a:gd name="T49" fmla="*/ 22 h 45"/>
                <a:gd name="T50" fmla="*/ 0 w 166"/>
                <a:gd name="T51" fmla="*/ 2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6" h="45">
                  <a:moveTo>
                    <a:pt x="0" y="27"/>
                  </a:moveTo>
                  <a:lnTo>
                    <a:pt x="0" y="29"/>
                  </a:lnTo>
                  <a:lnTo>
                    <a:pt x="3" y="31"/>
                  </a:lnTo>
                  <a:lnTo>
                    <a:pt x="8" y="33"/>
                  </a:lnTo>
                  <a:lnTo>
                    <a:pt x="13" y="35"/>
                  </a:lnTo>
                  <a:lnTo>
                    <a:pt x="27" y="38"/>
                  </a:lnTo>
                  <a:lnTo>
                    <a:pt x="44" y="41"/>
                  </a:lnTo>
                  <a:lnTo>
                    <a:pt x="75" y="44"/>
                  </a:lnTo>
                  <a:lnTo>
                    <a:pt x="92" y="45"/>
                  </a:lnTo>
                  <a:lnTo>
                    <a:pt x="166" y="27"/>
                  </a:lnTo>
                  <a:lnTo>
                    <a:pt x="157" y="25"/>
                  </a:lnTo>
                  <a:lnTo>
                    <a:pt x="137" y="19"/>
                  </a:lnTo>
                  <a:lnTo>
                    <a:pt x="110" y="11"/>
                  </a:lnTo>
                  <a:lnTo>
                    <a:pt x="80" y="4"/>
                  </a:lnTo>
                  <a:lnTo>
                    <a:pt x="65" y="2"/>
                  </a:lnTo>
                  <a:lnTo>
                    <a:pt x="50" y="1"/>
                  </a:lnTo>
                  <a:lnTo>
                    <a:pt x="36" y="0"/>
                  </a:lnTo>
                  <a:lnTo>
                    <a:pt x="24" y="2"/>
                  </a:lnTo>
                  <a:lnTo>
                    <a:pt x="19" y="3"/>
                  </a:lnTo>
                  <a:lnTo>
                    <a:pt x="14" y="5"/>
                  </a:lnTo>
                  <a:lnTo>
                    <a:pt x="10" y="7"/>
                  </a:lnTo>
                  <a:lnTo>
                    <a:pt x="7" y="10"/>
                  </a:lnTo>
                  <a:lnTo>
                    <a:pt x="3" y="13"/>
                  </a:lnTo>
                  <a:lnTo>
                    <a:pt x="1" y="17"/>
                  </a:lnTo>
                  <a:lnTo>
                    <a:pt x="0" y="22"/>
                  </a:lnTo>
                  <a:lnTo>
                    <a:pt x="0" y="2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60" name="Freeform 412"/>
            <p:cNvSpPr>
              <a:spLocks/>
            </p:cNvSpPr>
            <p:nvPr/>
          </p:nvSpPr>
          <p:spPr bwMode="auto">
            <a:xfrm>
              <a:off x="1488" y="1422"/>
              <a:ext cx="11" cy="8"/>
            </a:xfrm>
            <a:custGeom>
              <a:avLst/>
              <a:gdLst>
                <a:gd name="T0" fmla="*/ 0 w 33"/>
                <a:gd name="T1" fmla="*/ 0 h 25"/>
                <a:gd name="T2" fmla="*/ 0 w 33"/>
                <a:gd name="T3" fmla="*/ 9 h 25"/>
                <a:gd name="T4" fmla="*/ 3 w 33"/>
                <a:gd name="T5" fmla="*/ 15 h 25"/>
                <a:gd name="T6" fmla="*/ 6 w 33"/>
                <a:gd name="T7" fmla="*/ 20 h 25"/>
                <a:gd name="T8" fmla="*/ 11 w 33"/>
                <a:gd name="T9" fmla="*/ 22 h 25"/>
                <a:gd name="T10" fmla="*/ 16 w 33"/>
                <a:gd name="T11" fmla="*/ 24 h 25"/>
                <a:gd name="T12" fmla="*/ 22 w 33"/>
                <a:gd name="T13" fmla="*/ 25 h 25"/>
                <a:gd name="T14" fmla="*/ 27 w 33"/>
                <a:gd name="T15" fmla="*/ 25 h 25"/>
                <a:gd name="T16" fmla="*/ 33 w 33"/>
                <a:gd name="T17" fmla="*/ 25 h 25"/>
                <a:gd name="T18" fmla="*/ 33 w 33"/>
                <a:gd name="T19" fmla="*/ 0 h 25"/>
                <a:gd name="T20" fmla="*/ 24 w 33"/>
                <a:gd name="T21" fmla="*/ 0 h 25"/>
                <a:gd name="T22" fmla="*/ 16 w 33"/>
                <a:gd name="T23" fmla="*/ 0 h 25"/>
                <a:gd name="T24" fmla="*/ 9 w 33"/>
                <a:gd name="T25" fmla="*/ 0 h 25"/>
                <a:gd name="T26" fmla="*/ 0 w 33"/>
                <a:gd name="T2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" h="25">
                  <a:moveTo>
                    <a:pt x="0" y="0"/>
                  </a:moveTo>
                  <a:lnTo>
                    <a:pt x="0" y="9"/>
                  </a:lnTo>
                  <a:lnTo>
                    <a:pt x="3" y="15"/>
                  </a:lnTo>
                  <a:lnTo>
                    <a:pt x="6" y="20"/>
                  </a:lnTo>
                  <a:lnTo>
                    <a:pt x="11" y="22"/>
                  </a:lnTo>
                  <a:lnTo>
                    <a:pt x="16" y="24"/>
                  </a:lnTo>
                  <a:lnTo>
                    <a:pt x="22" y="25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61" name="Freeform 413"/>
            <p:cNvSpPr>
              <a:spLocks/>
            </p:cNvSpPr>
            <p:nvPr/>
          </p:nvSpPr>
          <p:spPr bwMode="auto">
            <a:xfrm>
              <a:off x="1605" y="1729"/>
              <a:ext cx="16" cy="20"/>
            </a:xfrm>
            <a:custGeom>
              <a:avLst/>
              <a:gdLst>
                <a:gd name="T0" fmla="*/ 0 w 48"/>
                <a:gd name="T1" fmla="*/ 62 h 62"/>
                <a:gd name="T2" fmla="*/ 12 w 48"/>
                <a:gd name="T3" fmla="*/ 56 h 62"/>
                <a:gd name="T4" fmla="*/ 22 w 48"/>
                <a:gd name="T5" fmla="*/ 50 h 62"/>
                <a:gd name="T6" fmla="*/ 30 w 48"/>
                <a:gd name="T7" fmla="*/ 43 h 62"/>
                <a:gd name="T8" fmla="*/ 37 w 48"/>
                <a:gd name="T9" fmla="*/ 36 h 62"/>
                <a:gd name="T10" fmla="*/ 41 w 48"/>
                <a:gd name="T11" fmla="*/ 28 h 62"/>
                <a:gd name="T12" fmla="*/ 44 w 48"/>
                <a:gd name="T13" fmla="*/ 19 h 62"/>
                <a:gd name="T14" fmla="*/ 47 w 48"/>
                <a:gd name="T15" fmla="*/ 9 h 62"/>
                <a:gd name="T16" fmla="*/ 48 w 48"/>
                <a:gd name="T17" fmla="*/ 0 h 62"/>
                <a:gd name="T18" fmla="*/ 40 w 48"/>
                <a:gd name="T19" fmla="*/ 3 h 62"/>
                <a:gd name="T20" fmla="*/ 32 w 48"/>
                <a:gd name="T21" fmla="*/ 6 h 62"/>
                <a:gd name="T22" fmla="*/ 23 w 48"/>
                <a:gd name="T23" fmla="*/ 10 h 62"/>
                <a:gd name="T24" fmla="*/ 17 w 48"/>
                <a:gd name="T25" fmla="*/ 15 h 62"/>
                <a:gd name="T26" fmla="*/ 10 w 48"/>
                <a:gd name="T27" fmla="*/ 21 h 62"/>
                <a:gd name="T28" fmla="*/ 6 w 48"/>
                <a:gd name="T29" fmla="*/ 27 h 62"/>
                <a:gd name="T30" fmla="*/ 4 w 48"/>
                <a:gd name="T31" fmla="*/ 31 h 62"/>
                <a:gd name="T32" fmla="*/ 3 w 48"/>
                <a:gd name="T33" fmla="*/ 35 h 62"/>
                <a:gd name="T34" fmla="*/ 1 w 48"/>
                <a:gd name="T35" fmla="*/ 39 h 62"/>
                <a:gd name="T36" fmla="*/ 0 w 48"/>
                <a:gd name="T37" fmla="*/ 43 h 62"/>
                <a:gd name="T38" fmla="*/ 0 w 48"/>
                <a:gd name="T39" fmla="*/ 52 h 62"/>
                <a:gd name="T40" fmla="*/ 0 w 48"/>
                <a:gd name="T41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8" h="62">
                  <a:moveTo>
                    <a:pt x="0" y="62"/>
                  </a:moveTo>
                  <a:lnTo>
                    <a:pt x="12" y="56"/>
                  </a:lnTo>
                  <a:lnTo>
                    <a:pt x="22" y="50"/>
                  </a:lnTo>
                  <a:lnTo>
                    <a:pt x="30" y="43"/>
                  </a:lnTo>
                  <a:lnTo>
                    <a:pt x="37" y="36"/>
                  </a:lnTo>
                  <a:lnTo>
                    <a:pt x="41" y="28"/>
                  </a:lnTo>
                  <a:lnTo>
                    <a:pt x="44" y="19"/>
                  </a:lnTo>
                  <a:lnTo>
                    <a:pt x="47" y="9"/>
                  </a:lnTo>
                  <a:lnTo>
                    <a:pt x="48" y="0"/>
                  </a:lnTo>
                  <a:lnTo>
                    <a:pt x="40" y="3"/>
                  </a:lnTo>
                  <a:lnTo>
                    <a:pt x="32" y="6"/>
                  </a:lnTo>
                  <a:lnTo>
                    <a:pt x="23" y="10"/>
                  </a:lnTo>
                  <a:lnTo>
                    <a:pt x="17" y="15"/>
                  </a:lnTo>
                  <a:lnTo>
                    <a:pt x="10" y="21"/>
                  </a:lnTo>
                  <a:lnTo>
                    <a:pt x="6" y="27"/>
                  </a:lnTo>
                  <a:lnTo>
                    <a:pt x="4" y="31"/>
                  </a:lnTo>
                  <a:lnTo>
                    <a:pt x="3" y="35"/>
                  </a:lnTo>
                  <a:lnTo>
                    <a:pt x="1" y="39"/>
                  </a:lnTo>
                  <a:lnTo>
                    <a:pt x="0" y="43"/>
                  </a:lnTo>
                  <a:lnTo>
                    <a:pt x="0" y="52"/>
                  </a:lnTo>
                  <a:lnTo>
                    <a:pt x="0" y="6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62" name="Freeform 414"/>
            <p:cNvSpPr>
              <a:spLocks/>
            </p:cNvSpPr>
            <p:nvPr/>
          </p:nvSpPr>
          <p:spPr bwMode="auto">
            <a:xfrm>
              <a:off x="1554" y="1729"/>
              <a:ext cx="36" cy="20"/>
            </a:xfrm>
            <a:custGeom>
              <a:avLst/>
              <a:gdLst>
                <a:gd name="T0" fmla="*/ 47 w 113"/>
                <a:gd name="T1" fmla="*/ 0 h 62"/>
                <a:gd name="T2" fmla="*/ 36 w 113"/>
                <a:gd name="T3" fmla="*/ 7 h 62"/>
                <a:gd name="T4" fmla="*/ 23 w 113"/>
                <a:gd name="T5" fmla="*/ 17 h 62"/>
                <a:gd name="T6" fmla="*/ 11 w 113"/>
                <a:gd name="T7" fmla="*/ 27 h 62"/>
                <a:gd name="T8" fmla="*/ 0 w 113"/>
                <a:gd name="T9" fmla="*/ 37 h 62"/>
                <a:gd name="T10" fmla="*/ 22 w 113"/>
                <a:gd name="T11" fmla="*/ 46 h 62"/>
                <a:gd name="T12" fmla="*/ 41 w 113"/>
                <a:gd name="T13" fmla="*/ 54 h 62"/>
                <a:gd name="T14" fmla="*/ 51 w 113"/>
                <a:gd name="T15" fmla="*/ 57 h 62"/>
                <a:gd name="T16" fmla="*/ 62 w 113"/>
                <a:gd name="T17" fmla="*/ 59 h 62"/>
                <a:gd name="T18" fmla="*/ 73 w 113"/>
                <a:gd name="T19" fmla="*/ 61 h 62"/>
                <a:gd name="T20" fmla="*/ 87 w 113"/>
                <a:gd name="T21" fmla="*/ 62 h 62"/>
                <a:gd name="T22" fmla="*/ 97 w 113"/>
                <a:gd name="T23" fmla="*/ 61 h 62"/>
                <a:gd name="T24" fmla="*/ 106 w 113"/>
                <a:gd name="T25" fmla="*/ 58 h 62"/>
                <a:gd name="T26" fmla="*/ 109 w 113"/>
                <a:gd name="T27" fmla="*/ 56 h 62"/>
                <a:gd name="T28" fmla="*/ 111 w 113"/>
                <a:gd name="T29" fmla="*/ 54 h 62"/>
                <a:gd name="T30" fmla="*/ 113 w 113"/>
                <a:gd name="T31" fmla="*/ 52 h 62"/>
                <a:gd name="T32" fmla="*/ 113 w 113"/>
                <a:gd name="T33" fmla="*/ 49 h 62"/>
                <a:gd name="T34" fmla="*/ 91 w 113"/>
                <a:gd name="T35" fmla="*/ 41 h 62"/>
                <a:gd name="T36" fmla="*/ 70 w 113"/>
                <a:gd name="T37" fmla="*/ 32 h 62"/>
                <a:gd name="T38" fmla="*/ 65 w 113"/>
                <a:gd name="T39" fmla="*/ 29 h 62"/>
                <a:gd name="T40" fmla="*/ 61 w 113"/>
                <a:gd name="T41" fmla="*/ 26 h 62"/>
                <a:gd name="T42" fmla="*/ 57 w 113"/>
                <a:gd name="T43" fmla="*/ 23 h 62"/>
                <a:gd name="T44" fmla="*/ 54 w 113"/>
                <a:gd name="T45" fmla="*/ 20 h 62"/>
                <a:gd name="T46" fmla="*/ 51 w 113"/>
                <a:gd name="T47" fmla="*/ 16 h 62"/>
                <a:gd name="T48" fmla="*/ 48 w 113"/>
                <a:gd name="T49" fmla="*/ 10 h 62"/>
                <a:gd name="T50" fmla="*/ 47 w 113"/>
                <a:gd name="T51" fmla="*/ 5 h 62"/>
                <a:gd name="T52" fmla="*/ 47 w 113"/>
                <a:gd name="T53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13" h="62">
                  <a:moveTo>
                    <a:pt x="47" y="0"/>
                  </a:moveTo>
                  <a:lnTo>
                    <a:pt x="36" y="7"/>
                  </a:lnTo>
                  <a:lnTo>
                    <a:pt x="23" y="17"/>
                  </a:lnTo>
                  <a:lnTo>
                    <a:pt x="11" y="27"/>
                  </a:lnTo>
                  <a:lnTo>
                    <a:pt x="0" y="37"/>
                  </a:lnTo>
                  <a:lnTo>
                    <a:pt x="22" y="46"/>
                  </a:lnTo>
                  <a:lnTo>
                    <a:pt x="41" y="54"/>
                  </a:lnTo>
                  <a:lnTo>
                    <a:pt x="51" y="57"/>
                  </a:lnTo>
                  <a:lnTo>
                    <a:pt x="62" y="59"/>
                  </a:lnTo>
                  <a:lnTo>
                    <a:pt x="73" y="61"/>
                  </a:lnTo>
                  <a:lnTo>
                    <a:pt x="87" y="62"/>
                  </a:lnTo>
                  <a:lnTo>
                    <a:pt x="97" y="61"/>
                  </a:lnTo>
                  <a:lnTo>
                    <a:pt x="106" y="58"/>
                  </a:lnTo>
                  <a:lnTo>
                    <a:pt x="109" y="56"/>
                  </a:lnTo>
                  <a:lnTo>
                    <a:pt x="111" y="54"/>
                  </a:lnTo>
                  <a:lnTo>
                    <a:pt x="113" y="52"/>
                  </a:lnTo>
                  <a:lnTo>
                    <a:pt x="113" y="49"/>
                  </a:lnTo>
                  <a:lnTo>
                    <a:pt x="91" y="41"/>
                  </a:lnTo>
                  <a:lnTo>
                    <a:pt x="70" y="32"/>
                  </a:lnTo>
                  <a:lnTo>
                    <a:pt x="65" y="29"/>
                  </a:lnTo>
                  <a:lnTo>
                    <a:pt x="61" y="26"/>
                  </a:lnTo>
                  <a:lnTo>
                    <a:pt x="57" y="23"/>
                  </a:lnTo>
                  <a:lnTo>
                    <a:pt x="54" y="20"/>
                  </a:lnTo>
                  <a:lnTo>
                    <a:pt x="51" y="16"/>
                  </a:lnTo>
                  <a:lnTo>
                    <a:pt x="48" y="10"/>
                  </a:lnTo>
                  <a:lnTo>
                    <a:pt x="47" y="5"/>
                  </a:lnTo>
                  <a:lnTo>
                    <a:pt x="4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63" name="Freeform 415"/>
            <p:cNvSpPr>
              <a:spLocks/>
            </p:cNvSpPr>
            <p:nvPr/>
          </p:nvSpPr>
          <p:spPr bwMode="auto">
            <a:xfrm>
              <a:off x="1748" y="1188"/>
              <a:ext cx="29" cy="15"/>
            </a:xfrm>
            <a:custGeom>
              <a:avLst/>
              <a:gdLst>
                <a:gd name="T0" fmla="*/ 0 w 93"/>
                <a:gd name="T1" fmla="*/ 0 h 50"/>
                <a:gd name="T2" fmla="*/ 15 w 93"/>
                <a:gd name="T3" fmla="*/ 0 h 50"/>
                <a:gd name="T4" fmla="*/ 30 w 93"/>
                <a:gd name="T5" fmla="*/ 1 h 50"/>
                <a:gd name="T6" fmla="*/ 45 w 93"/>
                <a:gd name="T7" fmla="*/ 2 h 50"/>
                <a:gd name="T8" fmla="*/ 59 w 93"/>
                <a:gd name="T9" fmla="*/ 5 h 50"/>
                <a:gd name="T10" fmla="*/ 64 w 93"/>
                <a:gd name="T11" fmla="*/ 7 h 50"/>
                <a:gd name="T12" fmla="*/ 71 w 93"/>
                <a:gd name="T13" fmla="*/ 9 h 50"/>
                <a:gd name="T14" fmla="*/ 75 w 93"/>
                <a:gd name="T15" fmla="*/ 12 h 50"/>
                <a:gd name="T16" fmla="*/ 81 w 93"/>
                <a:gd name="T17" fmla="*/ 16 h 50"/>
                <a:gd name="T18" fmla="*/ 85 w 93"/>
                <a:gd name="T19" fmla="*/ 20 h 50"/>
                <a:gd name="T20" fmla="*/ 89 w 93"/>
                <a:gd name="T21" fmla="*/ 25 h 50"/>
                <a:gd name="T22" fmla="*/ 91 w 93"/>
                <a:gd name="T23" fmla="*/ 30 h 50"/>
                <a:gd name="T24" fmla="*/ 93 w 93"/>
                <a:gd name="T25" fmla="*/ 37 h 50"/>
                <a:gd name="T26" fmla="*/ 79 w 93"/>
                <a:gd name="T27" fmla="*/ 37 h 50"/>
                <a:gd name="T28" fmla="*/ 68 w 93"/>
                <a:gd name="T29" fmla="*/ 39 h 50"/>
                <a:gd name="T30" fmla="*/ 60 w 93"/>
                <a:gd name="T31" fmla="*/ 41 h 50"/>
                <a:gd name="T32" fmla="*/ 52 w 93"/>
                <a:gd name="T33" fmla="*/ 43 h 50"/>
                <a:gd name="T34" fmla="*/ 42 w 93"/>
                <a:gd name="T35" fmla="*/ 47 h 50"/>
                <a:gd name="T36" fmla="*/ 33 w 93"/>
                <a:gd name="T37" fmla="*/ 50 h 50"/>
                <a:gd name="T38" fmla="*/ 30 w 93"/>
                <a:gd name="T39" fmla="*/ 50 h 50"/>
                <a:gd name="T40" fmla="*/ 28 w 93"/>
                <a:gd name="T41" fmla="*/ 48 h 50"/>
                <a:gd name="T42" fmla="*/ 26 w 93"/>
                <a:gd name="T43" fmla="*/ 47 h 50"/>
                <a:gd name="T44" fmla="*/ 25 w 93"/>
                <a:gd name="T45" fmla="*/ 45 h 50"/>
                <a:gd name="T46" fmla="*/ 23 w 93"/>
                <a:gd name="T47" fmla="*/ 41 h 50"/>
                <a:gd name="T48" fmla="*/ 22 w 93"/>
                <a:gd name="T49" fmla="*/ 36 h 50"/>
                <a:gd name="T50" fmla="*/ 22 w 93"/>
                <a:gd name="T51" fmla="*/ 31 h 50"/>
                <a:gd name="T52" fmla="*/ 23 w 93"/>
                <a:gd name="T53" fmla="*/ 26 h 50"/>
                <a:gd name="T54" fmla="*/ 24 w 93"/>
                <a:gd name="T55" fmla="*/ 22 h 50"/>
                <a:gd name="T56" fmla="*/ 26 w 93"/>
                <a:gd name="T57" fmla="*/ 19 h 50"/>
                <a:gd name="T58" fmla="*/ 0 w 93"/>
                <a:gd name="T59" fmla="*/ 19 h 50"/>
                <a:gd name="T60" fmla="*/ 0 w 93"/>
                <a:gd name="T61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3" h="50">
                  <a:moveTo>
                    <a:pt x="0" y="0"/>
                  </a:moveTo>
                  <a:lnTo>
                    <a:pt x="15" y="0"/>
                  </a:lnTo>
                  <a:lnTo>
                    <a:pt x="30" y="1"/>
                  </a:lnTo>
                  <a:lnTo>
                    <a:pt x="45" y="2"/>
                  </a:lnTo>
                  <a:lnTo>
                    <a:pt x="59" y="5"/>
                  </a:lnTo>
                  <a:lnTo>
                    <a:pt x="64" y="7"/>
                  </a:lnTo>
                  <a:lnTo>
                    <a:pt x="71" y="9"/>
                  </a:lnTo>
                  <a:lnTo>
                    <a:pt x="75" y="12"/>
                  </a:lnTo>
                  <a:lnTo>
                    <a:pt x="81" y="16"/>
                  </a:lnTo>
                  <a:lnTo>
                    <a:pt x="85" y="20"/>
                  </a:lnTo>
                  <a:lnTo>
                    <a:pt x="89" y="25"/>
                  </a:lnTo>
                  <a:lnTo>
                    <a:pt x="91" y="30"/>
                  </a:lnTo>
                  <a:lnTo>
                    <a:pt x="93" y="37"/>
                  </a:lnTo>
                  <a:lnTo>
                    <a:pt x="79" y="37"/>
                  </a:lnTo>
                  <a:lnTo>
                    <a:pt x="68" y="39"/>
                  </a:lnTo>
                  <a:lnTo>
                    <a:pt x="60" y="41"/>
                  </a:lnTo>
                  <a:lnTo>
                    <a:pt x="52" y="43"/>
                  </a:lnTo>
                  <a:lnTo>
                    <a:pt x="42" y="47"/>
                  </a:lnTo>
                  <a:lnTo>
                    <a:pt x="33" y="50"/>
                  </a:lnTo>
                  <a:lnTo>
                    <a:pt x="30" y="50"/>
                  </a:lnTo>
                  <a:lnTo>
                    <a:pt x="28" y="48"/>
                  </a:lnTo>
                  <a:lnTo>
                    <a:pt x="26" y="47"/>
                  </a:lnTo>
                  <a:lnTo>
                    <a:pt x="25" y="45"/>
                  </a:lnTo>
                  <a:lnTo>
                    <a:pt x="23" y="41"/>
                  </a:lnTo>
                  <a:lnTo>
                    <a:pt x="22" y="36"/>
                  </a:lnTo>
                  <a:lnTo>
                    <a:pt x="22" y="31"/>
                  </a:lnTo>
                  <a:lnTo>
                    <a:pt x="23" y="26"/>
                  </a:lnTo>
                  <a:lnTo>
                    <a:pt x="24" y="22"/>
                  </a:ln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64" name="Freeform 416"/>
            <p:cNvSpPr>
              <a:spLocks/>
            </p:cNvSpPr>
            <p:nvPr/>
          </p:nvSpPr>
          <p:spPr bwMode="auto">
            <a:xfrm>
              <a:off x="1436" y="1246"/>
              <a:ext cx="331" cy="198"/>
            </a:xfrm>
            <a:custGeom>
              <a:avLst/>
              <a:gdLst>
                <a:gd name="T0" fmla="*/ 20 w 1029"/>
                <a:gd name="T1" fmla="*/ 112 h 604"/>
                <a:gd name="T2" fmla="*/ 67 w 1029"/>
                <a:gd name="T3" fmla="*/ 60 h 604"/>
                <a:gd name="T4" fmla="*/ 266 w 1029"/>
                <a:gd name="T5" fmla="*/ 0 h 604"/>
                <a:gd name="T6" fmla="*/ 205 w 1029"/>
                <a:gd name="T7" fmla="*/ 47 h 604"/>
                <a:gd name="T8" fmla="*/ 180 w 1029"/>
                <a:gd name="T9" fmla="*/ 105 h 604"/>
                <a:gd name="T10" fmla="*/ 274 w 1029"/>
                <a:gd name="T11" fmla="*/ 60 h 604"/>
                <a:gd name="T12" fmla="*/ 397 w 1029"/>
                <a:gd name="T13" fmla="*/ 14 h 604"/>
                <a:gd name="T14" fmla="*/ 438 w 1029"/>
                <a:gd name="T15" fmla="*/ 23 h 604"/>
                <a:gd name="T16" fmla="*/ 433 w 1029"/>
                <a:gd name="T17" fmla="*/ 71 h 604"/>
                <a:gd name="T18" fmla="*/ 581 w 1029"/>
                <a:gd name="T19" fmla="*/ 80 h 604"/>
                <a:gd name="T20" fmla="*/ 675 w 1029"/>
                <a:gd name="T21" fmla="*/ 89 h 604"/>
                <a:gd name="T22" fmla="*/ 749 w 1029"/>
                <a:gd name="T23" fmla="*/ 111 h 604"/>
                <a:gd name="T24" fmla="*/ 749 w 1029"/>
                <a:gd name="T25" fmla="*/ 134 h 604"/>
                <a:gd name="T26" fmla="*/ 711 w 1029"/>
                <a:gd name="T27" fmla="*/ 184 h 604"/>
                <a:gd name="T28" fmla="*/ 799 w 1029"/>
                <a:gd name="T29" fmla="*/ 168 h 604"/>
                <a:gd name="T30" fmla="*/ 866 w 1029"/>
                <a:gd name="T31" fmla="*/ 191 h 604"/>
                <a:gd name="T32" fmla="*/ 856 w 1029"/>
                <a:gd name="T33" fmla="*/ 239 h 604"/>
                <a:gd name="T34" fmla="*/ 788 w 1029"/>
                <a:gd name="T35" fmla="*/ 248 h 604"/>
                <a:gd name="T36" fmla="*/ 859 w 1029"/>
                <a:gd name="T37" fmla="*/ 284 h 604"/>
                <a:gd name="T38" fmla="*/ 903 w 1029"/>
                <a:gd name="T39" fmla="*/ 327 h 604"/>
                <a:gd name="T40" fmla="*/ 977 w 1029"/>
                <a:gd name="T41" fmla="*/ 329 h 604"/>
                <a:gd name="T42" fmla="*/ 1029 w 1029"/>
                <a:gd name="T43" fmla="*/ 351 h 604"/>
                <a:gd name="T44" fmla="*/ 939 w 1029"/>
                <a:gd name="T45" fmla="*/ 409 h 604"/>
                <a:gd name="T46" fmla="*/ 899 w 1029"/>
                <a:gd name="T47" fmla="*/ 417 h 604"/>
                <a:gd name="T48" fmla="*/ 874 w 1029"/>
                <a:gd name="T49" fmla="*/ 443 h 604"/>
                <a:gd name="T50" fmla="*/ 830 w 1029"/>
                <a:gd name="T51" fmla="*/ 414 h 604"/>
                <a:gd name="T52" fmla="*/ 851 w 1029"/>
                <a:gd name="T53" fmla="*/ 393 h 604"/>
                <a:gd name="T54" fmla="*/ 792 w 1029"/>
                <a:gd name="T55" fmla="*/ 379 h 604"/>
                <a:gd name="T56" fmla="*/ 759 w 1029"/>
                <a:gd name="T57" fmla="*/ 364 h 604"/>
                <a:gd name="T58" fmla="*/ 744 w 1029"/>
                <a:gd name="T59" fmla="*/ 394 h 604"/>
                <a:gd name="T60" fmla="*/ 747 w 1029"/>
                <a:gd name="T61" fmla="*/ 445 h 604"/>
                <a:gd name="T62" fmla="*/ 795 w 1029"/>
                <a:gd name="T63" fmla="*/ 523 h 604"/>
                <a:gd name="T64" fmla="*/ 771 w 1029"/>
                <a:gd name="T65" fmla="*/ 547 h 604"/>
                <a:gd name="T66" fmla="*/ 708 w 1029"/>
                <a:gd name="T67" fmla="*/ 556 h 604"/>
                <a:gd name="T68" fmla="*/ 618 w 1029"/>
                <a:gd name="T69" fmla="*/ 517 h 604"/>
                <a:gd name="T70" fmla="*/ 668 w 1029"/>
                <a:gd name="T71" fmla="*/ 567 h 604"/>
                <a:gd name="T72" fmla="*/ 665 w 1029"/>
                <a:gd name="T73" fmla="*/ 604 h 604"/>
                <a:gd name="T74" fmla="*/ 518 w 1029"/>
                <a:gd name="T75" fmla="*/ 570 h 604"/>
                <a:gd name="T76" fmla="*/ 471 w 1029"/>
                <a:gd name="T77" fmla="*/ 523 h 604"/>
                <a:gd name="T78" fmla="*/ 410 w 1029"/>
                <a:gd name="T79" fmla="*/ 473 h 604"/>
                <a:gd name="T80" fmla="*/ 367 w 1029"/>
                <a:gd name="T81" fmla="*/ 453 h 604"/>
                <a:gd name="T82" fmla="*/ 392 w 1029"/>
                <a:gd name="T83" fmla="*/ 433 h 604"/>
                <a:gd name="T84" fmla="*/ 459 w 1029"/>
                <a:gd name="T85" fmla="*/ 399 h 604"/>
                <a:gd name="T86" fmla="*/ 500 w 1029"/>
                <a:gd name="T87" fmla="*/ 378 h 604"/>
                <a:gd name="T88" fmla="*/ 577 w 1029"/>
                <a:gd name="T89" fmla="*/ 380 h 604"/>
                <a:gd name="T90" fmla="*/ 614 w 1029"/>
                <a:gd name="T91" fmla="*/ 395 h 604"/>
                <a:gd name="T92" fmla="*/ 687 w 1029"/>
                <a:gd name="T93" fmla="*/ 387 h 604"/>
                <a:gd name="T94" fmla="*/ 581 w 1029"/>
                <a:gd name="T95" fmla="*/ 355 h 604"/>
                <a:gd name="T96" fmla="*/ 542 w 1029"/>
                <a:gd name="T97" fmla="*/ 361 h 604"/>
                <a:gd name="T98" fmla="*/ 539 w 1029"/>
                <a:gd name="T99" fmla="*/ 350 h 604"/>
                <a:gd name="T100" fmla="*/ 576 w 1029"/>
                <a:gd name="T101" fmla="*/ 306 h 604"/>
                <a:gd name="T102" fmla="*/ 576 w 1029"/>
                <a:gd name="T103" fmla="*/ 274 h 604"/>
                <a:gd name="T104" fmla="*/ 524 w 1029"/>
                <a:gd name="T105" fmla="*/ 254 h 604"/>
                <a:gd name="T106" fmla="*/ 473 w 1029"/>
                <a:gd name="T107" fmla="*/ 198 h 604"/>
                <a:gd name="T108" fmla="*/ 434 w 1029"/>
                <a:gd name="T109" fmla="*/ 168 h 604"/>
                <a:gd name="T110" fmla="*/ 408 w 1029"/>
                <a:gd name="T111" fmla="*/ 163 h 604"/>
                <a:gd name="T112" fmla="*/ 378 w 1029"/>
                <a:gd name="T113" fmla="*/ 203 h 604"/>
                <a:gd name="T114" fmla="*/ 207 w 1029"/>
                <a:gd name="T115" fmla="*/ 174 h 604"/>
                <a:gd name="T116" fmla="*/ 114 w 1029"/>
                <a:gd name="T117" fmla="*/ 189 h 604"/>
                <a:gd name="T118" fmla="*/ 79 w 1029"/>
                <a:gd name="T119" fmla="*/ 187 h 604"/>
                <a:gd name="T120" fmla="*/ 16 w 1029"/>
                <a:gd name="T121" fmla="*/ 180 h 604"/>
                <a:gd name="T122" fmla="*/ 9 w 1029"/>
                <a:gd name="T123" fmla="*/ 158 h 604"/>
                <a:gd name="T124" fmla="*/ 75 w 1029"/>
                <a:gd name="T125" fmla="*/ 149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29" h="604">
                  <a:moveTo>
                    <a:pt x="73" y="129"/>
                  </a:moveTo>
                  <a:lnTo>
                    <a:pt x="34" y="129"/>
                  </a:lnTo>
                  <a:lnTo>
                    <a:pt x="28" y="128"/>
                  </a:lnTo>
                  <a:lnTo>
                    <a:pt x="24" y="125"/>
                  </a:lnTo>
                  <a:lnTo>
                    <a:pt x="22" y="121"/>
                  </a:lnTo>
                  <a:lnTo>
                    <a:pt x="20" y="117"/>
                  </a:lnTo>
                  <a:lnTo>
                    <a:pt x="20" y="112"/>
                  </a:lnTo>
                  <a:lnTo>
                    <a:pt x="22" y="107"/>
                  </a:lnTo>
                  <a:lnTo>
                    <a:pt x="24" y="102"/>
                  </a:lnTo>
                  <a:lnTo>
                    <a:pt x="26" y="97"/>
                  </a:lnTo>
                  <a:lnTo>
                    <a:pt x="34" y="87"/>
                  </a:lnTo>
                  <a:lnTo>
                    <a:pt x="42" y="77"/>
                  </a:lnTo>
                  <a:lnTo>
                    <a:pt x="54" y="69"/>
                  </a:lnTo>
                  <a:lnTo>
                    <a:pt x="67" y="60"/>
                  </a:lnTo>
                  <a:lnTo>
                    <a:pt x="81" y="52"/>
                  </a:lnTo>
                  <a:lnTo>
                    <a:pt x="96" y="45"/>
                  </a:lnTo>
                  <a:lnTo>
                    <a:pt x="128" y="30"/>
                  </a:lnTo>
                  <a:lnTo>
                    <a:pt x="160" y="18"/>
                  </a:lnTo>
                  <a:lnTo>
                    <a:pt x="190" y="8"/>
                  </a:lnTo>
                  <a:lnTo>
                    <a:pt x="213" y="0"/>
                  </a:lnTo>
                  <a:lnTo>
                    <a:pt x="266" y="0"/>
                  </a:lnTo>
                  <a:lnTo>
                    <a:pt x="264" y="7"/>
                  </a:lnTo>
                  <a:lnTo>
                    <a:pt x="260" y="14"/>
                  </a:lnTo>
                  <a:lnTo>
                    <a:pt x="255" y="19"/>
                  </a:lnTo>
                  <a:lnTo>
                    <a:pt x="250" y="24"/>
                  </a:lnTo>
                  <a:lnTo>
                    <a:pt x="236" y="32"/>
                  </a:lnTo>
                  <a:lnTo>
                    <a:pt x="220" y="40"/>
                  </a:lnTo>
                  <a:lnTo>
                    <a:pt x="205" y="47"/>
                  </a:lnTo>
                  <a:lnTo>
                    <a:pt x="192" y="55"/>
                  </a:lnTo>
                  <a:lnTo>
                    <a:pt x="187" y="60"/>
                  </a:lnTo>
                  <a:lnTo>
                    <a:pt x="183" y="66"/>
                  </a:lnTo>
                  <a:lnTo>
                    <a:pt x="181" y="72"/>
                  </a:lnTo>
                  <a:lnTo>
                    <a:pt x="180" y="80"/>
                  </a:lnTo>
                  <a:lnTo>
                    <a:pt x="180" y="95"/>
                  </a:lnTo>
                  <a:lnTo>
                    <a:pt x="180" y="105"/>
                  </a:lnTo>
                  <a:lnTo>
                    <a:pt x="198" y="104"/>
                  </a:lnTo>
                  <a:lnTo>
                    <a:pt x="216" y="101"/>
                  </a:lnTo>
                  <a:lnTo>
                    <a:pt x="233" y="97"/>
                  </a:lnTo>
                  <a:lnTo>
                    <a:pt x="252" y="93"/>
                  </a:lnTo>
                  <a:lnTo>
                    <a:pt x="252" y="82"/>
                  </a:lnTo>
                  <a:lnTo>
                    <a:pt x="252" y="67"/>
                  </a:lnTo>
                  <a:lnTo>
                    <a:pt x="274" y="60"/>
                  </a:lnTo>
                  <a:lnTo>
                    <a:pt x="295" y="51"/>
                  </a:lnTo>
                  <a:lnTo>
                    <a:pt x="316" y="42"/>
                  </a:lnTo>
                  <a:lnTo>
                    <a:pt x="336" y="32"/>
                  </a:lnTo>
                  <a:lnTo>
                    <a:pt x="355" y="24"/>
                  </a:lnTo>
                  <a:lnTo>
                    <a:pt x="376" y="18"/>
                  </a:lnTo>
                  <a:lnTo>
                    <a:pt x="386" y="15"/>
                  </a:lnTo>
                  <a:lnTo>
                    <a:pt x="397" y="14"/>
                  </a:lnTo>
                  <a:lnTo>
                    <a:pt x="408" y="12"/>
                  </a:lnTo>
                  <a:lnTo>
                    <a:pt x="419" y="12"/>
                  </a:lnTo>
                  <a:lnTo>
                    <a:pt x="422" y="12"/>
                  </a:lnTo>
                  <a:lnTo>
                    <a:pt x="426" y="14"/>
                  </a:lnTo>
                  <a:lnTo>
                    <a:pt x="429" y="15"/>
                  </a:lnTo>
                  <a:lnTo>
                    <a:pt x="432" y="18"/>
                  </a:lnTo>
                  <a:lnTo>
                    <a:pt x="438" y="23"/>
                  </a:lnTo>
                  <a:lnTo>
                    <a:pt x="443" y="30"/>
                  </a:lnTo>
                  <a:lnTo>
                    <a:pt x="450" y="44"/>
                  </a:lnTo>
                  <a:lnTo>
                    <a:pt x="452" y="49"/>
                  </a:lnTo>
                  <a:lnTo>
                    <a:pt x="443" y="57"/>
                  </a:lnTo>
                  <a:lnTo>
                    <a:pt x="437" y="64"/>
                  </a:lnTo>
                  <a:lnTo>
                    <a:pt x="434" y="68"/>
                  </a:lnTo>
                  <a:lnTo>
                    <a:pt x="433" y="71"/>
                  </a:lnTo>
                  <a:lnTo>
                    <a:pt x="432" y="75"/>
                  </a:lnTo>
                  <a:lnTo>
                    <a:pt x="432" y="80"/>
                  </a:lnTo>
                  <a:lnTo>
                    <a:pt x="467" y="80"/>
                  </a:lnTo>
                  <a:lnTo>
                    <a:pt x="504" y="80"/>
                  </a:lnTo>
                  <a:lnTo>
                    <a:pt x="536" y="80"/>
                  </a:lnTo>
                  <a:lnTo>
                    <a:pt x="565" y="80"/>
                  </a:lnTo>
                  <a:lnTo>
                    <a:pt x="581" y="80"/>
                  </a:lnTo>
                  <a:lnTo>
                    <a:pt x="601" y="83"/>
                  </a:lnTo>
                  <a:lnTo>
                    <a:pt x="621" y="85"/>
                  </a:lnTo>
                  <a:lnTo>
                    <a:pt x="637" y="86"/>
                  </a:lnTo>
                  <a:lnTo>
                    <a:pt x="648" y="86"/>
                  </a:lnTo>
                  <a:lnTo>
                    <a:pt x="658" y="87"/>
                  </a:lnTo>
                  <a:lnTo>
                    <a:pt x="667" y="88"/>
                  </a:lnTo>
                  <a:lnTo>
                    <a:pt x="675" y="89"/>
                  </a:lnTo>
                  <a:lnTo>
                    <a:pt x="690" y="94"/>
                  </a:lnTo>
                  <a:lnTo>
                    <a:pt x="702" y="99"/>
                  </a:lnTo>
                  <a:lnTo>
                    <a:pt x="715" y="103"/>
                  </a:lnTo>
                  <a:lnTo>
                    <a:pt x="728" y="107"/>
                  </a:lnTo>
                  <a:lnTo>
                    <a:pt x="734" y="109"/>
                  </a:lnTo>
                  <a:lnTo>
                    <a:pt x="742" y="110"/>
                  </a:lnTo>
                  <a:lnTo>
                    <a:pt x="749" y="111"/>
                  </a:lnTo>
                  <a:lnTo>
                    <a:pt x="757" y="111"/>
                  </a:lnTo>
                  <a:lnTo>
                    <a:pt x="753" y="115"/>
                  </a:lnTo>
                  <a:lnTo>
                    <a:pt x="751" y="119"/>
                  </a:lnTo>
                  <a:lnTo>
                    <a:pt x="748" y="122"/>
                  </a:lnTo>
                  <a:lnTo>
                    <a:pt x="747" y="125"/>
                  </a:lnTo>
                  <a:lnTo>
                    <a:pt x="747" y="130"/>
                  </a:lnTo>
                  <a:lnTo>
                    <a:pt x="749" y="134"/>
                  </a:lnTo>
                  <a:lnTo>
                    <a:pt x="752" y="138"/>
                  </a:lnTo>
                  <a:lnTo>
                    <a:pt x="754" y="142"/>
                  </a:lnTo>
                  <a:lnTo>
                    <a:pt x="754" y="145"/>
                  </a:lnTo>
                  <a:lnTo>
                    <a:pt x="754" y="147"/>
                  </a:lnTo>
                  <a:lnTo>
                    <a:pt x="753" y="151"/>
                  </a:lnTo>
                  <a:lnTo>
                    <a:pt x="751" y="154"/>
                  </a:lnTo>
                  <a:lnTo>
                    <a:pt x="711" y="184"/>
                  </a:lnTo>
                  <a:lnTo>
                    <a:pt x="728" y="179"/>
                  </a:lnTo>
                  <a:lnTo>
                    <a:pt x="746" y="172"/>
                  </a:lnTo>
                  <a:lnTo>
                    <a:pt x="764" y="166"/>
                  </a:lnTo>
                  <a:lnTo>
                    <a:pt x="777" y="160"/>
                  </a:lnTo>
                  <a:lnTo>
                    <a:pt x="798" y="160"/>
                  </a:lnTo>
                  <a:lnTo>
                    <a:pt x="797" y="164"/>
                  </a:lnTo>
                  <a:lnTo>
                    <a:pt x="799" y="168"/>
                  </a:lnTo>
                  <a:lnTo>
                    <a:pt x="802" y="172"/>
                  </a:lnTo>
                  <a:lnTo>
                    <a:pt x="807" y="174"/>
                  </a:lnTo>
                  <a:lnTo>
                    <a:pt x="820" y="179"/>
                  </a:lnTo>
                  <a:lnTo>
                    <a:pt x="834" y="183"/>
                  </a:lnTo>
                  <a:lnTo>
                    <a:pt x="848" y="186"/>
                  </a:lnTo>
                  <a:lnTo>
                    <a:pt x="860" y="189"/>
                  </a:lnTo>
                  <a:lnTo>
                    <a:pt x="866" y="191"/>
                  </a:lnTo>
                  <a:lnTo>
                    <a:pt x="869" y="192"/>
                  </a:lnTo>
                  <a:lnTo>
                    <a:pt x="870" y="194"/>
                  </a:lnTo>
                  <a:lnTo>
                    <a:pt x="870" y="196"/>
                  </a:lnTo>
                  <a:lnTo>
                    <a:pt x="864" y="234"/>
                  </a:lnTo>
                  <a:lnTo>
                    <a:pt x="863" y="236"/>
                  </a:lnTo>
                  <a:lnTo>
                    <a:pt x="860" y="238"/>
                  </a:lnTo>
                  <a:lnTo>
                    <a:pt x="856" y="239"/>
                  </a:lnTo>
                  <a:lnTo>
                    <a:pt x="852" y="240"/>
                  </a:lnTo>
                  <a:lnTo>
                    <a:pt x="838" y="242"/>
                  </a:lnTo>
                  <a:lnTo>
                    <a:pt x="824" y="243"/>
                  </a:lnTo>
                  <a:lnTo>
                    <a:pt x="809" y="244"/>
                  </a:lnTo>
                  <a:lnTo>
                    <a:pt x="797" y="246"/>
                  </a:lnTo>
                  <a:lnTo>
                    <a:pt x="791" y="247"/>
                  </a:lnTo>
                  <a:lnTo>
                    <a:pt x="788" y="248"/>
                  </a:lnTo>
                  <a:lnTo>
                    <a:pt x="785" y="250"/>
                  </a:lnTo>
                  <a:lnTo>
                    <a:pt x="784" y="252"/>
                  </a:lnTo>
                  <a:lnTo>
                    <a:pt x="799" y="262"/>
                  </a:lnTo>
                  <a:lnTo>
                    <a:pt x="813" y="269"/>
                  </a:lnTo>
                  <a:lnTo>
                    <a:pt x="827" y="275"/>
                  </a:lnTo>
                  <a:lnTo>
                    <a:pt x="843" y="280"/>
                  </a:lnTo>
                  <a:lnTo>
                    <a:pt x="859" y="284"/>
                  </a:lnTo>
                  <a:lnTo>
                    <a:pt x="877" y="287"/>
                  </a:lnTo>
                  <a:lnTo>
                    <a:pt x="896" y="289"/>
                  </a:lnTo>
                  <a:lnTo>
                    <a:pt x="916" y="289"/>
                  </a:lnTo>
                  <a:lnTo>
                    <a:pt x="915" y="298"/>
                  </a:lnTo>
                  <a:lnTo>
                    <a:pt x="913" y="307"/>
                  </a:lnTo>
                  <a:lnTo>
                    <a:pt x="909" y="317"/>
                  </a:lnTo>
                  <a:lnTo>
                    <a:pt x="903" y="327"/>
                  </a:lnTo>
                  <a:lnTo>
                    <a:pt x="914" y="330"/>
                  </a:lnTo>
                  <a:lnTo>
                    <a:pt x="925" y="333"/>
                  </a:lnTo>
                  <a:lnTo>
                    <a:pt x="937" y="333"/>
                  </a:lnTo>
                  <a:lnTo>
                    <a:pt x="948" y="333"/>
                  </a:lnTo>
                  <a:lnTo>
                    <a:pt x="959" y="332"/>
                  </a:lnTo>
                  <a:lnTo>
                    <a:pt x="969" y="331"/>
                  </a:lnTo>
                  <a:lnTo>
                    <a:pt x="977" y="329"/>
                  </a:lnTo>
                  <a:lnTo>
                    <a:pt x="983" y="327"/>
                  </a:lnTo>
                  <a:lnTo>
                    <a:pt x="987" y="333"/>
                  </a:lnTo>
                  <a:lnTo>
                    <a:pt x="991" y="337"/>
                  </a:lnTo>
                  <a:lnTo>
                    <a:pt x="995" y="341"/>
                  </a:lnTo>
                  <a:lnTo>
                    <a:pt x="1002" y="343"/>
                  </a:lnTo>
                  <a:lnTo>
                    <a:pt x="1015" y="347"/>
                  </a:lnTo>
                  <a:lnTo>
                    <a:pt x="1029" y="351"/>
                  </a:lnTo>
                  <a:lnTo>
                    <a:pt x="1012" y="360"/>
                  </a:lnTo>
                  <a:lnTo>
                    <a:pt x="997" y="371"/>
                  </a:lnTo>
                  <a:lnTo>
                    <a:pt x="983" y="382"/>
                  </a:lnTo>
                  <a:lnTo>
                    <a:pt x="971" y="391"/>
                  </a:lnTo>
                  <a:lnTo>
                    <a:pt x="959" y="400"/>
                  </a:lnTo>
                  <a:lnTo>
                    <a:pt x="947" y="406"/>
                  </a:lnTo>
                  <a:lnTo>
                    <a:pt x="939" y="409"/>
                  </a:lnTo>
                  <a:lnTo>
                    <a:pt x="933" y="411"/>
                  </a:lnTo>
                  <a:lnTo>
                    <a:pt x="925" y="412"/>
                  </a:lnTo>
                  <a:lnTo>
                    <a:pt x="916" y="412"/>
                  </a:lnTo>
                  <a:lnTo>
                    <a:pt x="911" y="413"/>
                  </a:lnTo>
                  <a:lnTo>
                    <a:pt x="907" y="414"/>
                  </a:lnTo>
                  <a:lnTo>
                    <a:pt x="902" y="415"/>
                  </a:lnTo>
                  <a:lnTo>
                    <a:pt x="899" y="417"/>
                  </a:lnTo>
                  <a:lnTo>
                    <a:pt x="893" y="422"/>
                  </a:lnTo>
                  <a:lnTo>
                    <a:pt x="889" y="428"/>
                  </a:lnTo>
                  <a:lnTo>
                    <a:pt x="885" y="434"/>
                  </a:lnTo>
                  <a:lnTo>
                    <a:pt x="881" y="439"/>
                  </a:lnTo>
                  <a:lnTo>
                    <a:pt x="879" y="441"/>
                  </a:lnTo>
                  <a:lnTo>
                    <a:pt x="877" y="442"/>
                  </a:lnTo>
                  <a:lnTo>
                    <a:pt x="874" y="443"/>
                  </a:lnTo>
                  <a:lnTo>
                    <a:pt x="870" y="444"/>
                  </a:lnTo>
                  <a:lnTo>
                    <a:pt x="865" y="442"/>
                  </a:lnTo>
                  <a:lnTo>
                    <a:pt x="857" y="439"/>
                  </a:lnTo>
                  <a:lnTo>
                    <a:pt x="849" y="435"/>
                  </a:lnTo>
                  <a:lnTo>
                    <a:pt x="842" y="429"/>
                  </a:lnTo>
                  <a:lnTo>
                    <a:pt x="835" y="422"/>
                  </a:lnTo>
                  <a:lnTo>
                    <a:pt x="830" y="414"/>
                  </a:lnTo>
                  <a:lnTo>
                    <a:pt x="827" y="411"/>
                  </a:lnTo>
                  <a:lnTo>
                    <a:pt x="825" y="407"/>
                  </a:lnTo>
                  <a:lnTo>
                    <a:pt x="824" y="404"/>
                  </a:lnTo>
                  <a:lnTo>
                    <a:pt x="824" y="400"/>
                  </a:lnTo>
                  <a:lnTo>
                    <a:pt x="840" y="400"/>
                  </a:lnTo>
                  <a:lnTo>
                    <a:pt x="851" y="400"/>
                  </a:lnTo>
                  <a:lnTo>
                    <a:pt x="851" y="393"/>
                  </a:lnTo>
                  <a:lnTo>
                    <a:pt x="851" y="382"/>
                  </a:lnTo>
                  <a:lnTo>
                    <a:pt x="837" y="382"/>
                  </a:lnTo>
                  <a:lnTo>
                    <a:pt x="827" y="382"/>
                  </a:lnTo>
                  <a:lnTo>
                    <a:pt x="816" y="382"/>
                  </a:lnTo>
                  <a:lnTo>
                    <a:pt x="804" y="382"/>
                  </a:lnTo>
                  <a:lnTo>
                    <a:pt x="798" y="381"/>
                  </a:lnTo>
                  <a:lnTo>
                    <a:pt x="792" y="379"/>
                  </a:lnTo>
                  <a:lnTo>
                    <a:pt x="788" y="376"/>
                  </a:lnTo>
                  <a:lnTo>
                    <a:pt x="784" y="373"/>
                  </a:lnTo>
                  <a:lnTo>
                    <a:pt x="780" y="369"/>
                  </a:lnTo>
                  <a:lnTo>
                    <a:pt x="776" y="366"/>
                  </a:lnTo>
                  <a:lnTo>
                    <a:pt x="770" y="364"/>
                  </a:lnTo>
                  <a:lnTo>
                    <a:pt x="764" y="363"/>
                  </a:lnTo>
                  <a:lnTo>
                    <a:pt x="759" y="364"/>
                  </a:lnTo>
                  <a:lnTo>
                    <a:pt x="755" y="366"/>
                  </a:lnTo>
                  <a:lnTo>
                    <a:pt x="752" y="369"/>
                  </a:lnTo>
                  <a:lnTo>
                    <a:pt x="749" y="374"/>
                  </a:lnTo>
                  <a:lnTo>
                    <a:pt x="747" y="379"/>
                  </a:lnTo>
                  <a:lnTo>
                    <a:pt x="745" y="384"/>
                  </a:lnTo>
                  <a:lnTo>
                    <a:pt x="744" y="389"/>
                  </a:lnTo>
                  <a:lnTo>
                    <a:pt x="744" y="394"/>
                  </a:lnTo>
                  <a:lnTo>
                    <a:pt x="711" y="394"/>
                  </a:lnTo>
                  <a:lnTo>
                    <a:pt x="711" y="412"/>
                  </a:lnTo>
                  <a:lnTo>
                    <a:pt x="715" y="414"/>
                  </a:lnTo>
                  <a:lnTo>
                    <a:pt x="720" y="418"/>
                  </a:lnTo>
                  <a:lnTo>
                    <a:pt x="726" y="423"/>
                  </a:lnTo>
                  <a:lnTo>
                    <a:pt x="733" y="430"/>
                  </a:lnTo>
                  <a:lnTo>
                    <a:pt x="747" y="445"/>
                  </a:lnTo>
                  <a:lnTo>
                    <a:pt x="762" y="462"/>
                  </a:lnTo>
                  <a:lnTo>
                    <a:pt x="775" y="478"/>
                  </a:lnTo>
                  <a:lnTo>
                    <a:pt x="787" y="494"/>
                  </a:lnTo>
                  <a:lnTo>
                    <a:pt x="795" y="505"/>
                  </a:lnTo>
                  <a:lnTo>
                    <a:pt x="798" y="511"/>
                  </a:lnTo>
                  <a:lnTo>
                    <a:pt x="797" y="517"/>
                  </a:lnTo>
                  <a:lnTo>
                    <a:pt x="795" y="523"/>
                  </a:lnTo>
                  <a:lnTo>
                    <a:pt x="795" y="527"/>
                  </a:lnTo>
                  <a:lnTo>
                    <a:pt x="795" y="530"/>
                  </a:lnTo>
                  <a:lnTo>
                    <a:pt x="796" y="533"/>
                  </a:lnTo>
                  <a:lnTo>
                    <a:pt x="798" y="535"/>
                  </a:lnTo>
                  <a:lnTo>
                    <a:pt x="788" y="539"/>
                  </a:lnTo>
                  <a:lnTo>
                    <a:pt x="779" y="543"/>
                  </a:lnTo>
                  <a:lnTo>
                    <a:pt x="771" y="547"/>
                  </a:lnTo>
                  <a:lnTo>
                    <a:pt x="765" y="551"/>
                  </a:lnTo>
                  <a:lnTo>
                    <a:pt x="758" y="554"/>
                  </a:lnTo>
                  <a:lnTo>
                    <a:pt x="752" y="558"/>
                  </a:lnTo>
                  <a:lnTo>
                    <a:pt x="745" y="560"/>
                  </a:lnTo>
                  <a:lnTo>
                    <a:pt x="737" y="560"/>
                  </a:lnTo>
                  <a:lnTo>
                    <a:pt x="723" y="559"/>
                  </a:lnTo>
                  <a:lnTo>
                    <a:pt x="708" y="556"/>
                  </a:lnTo>
                  <a:lnTo>
                    <a:pt x="695" y="552"/>
                  </a:lnTo>
                  <a:lnTo>
                    <a:pt x="681" y="546"/>
                  </a:lnTo>
                  <a:lnTo>
                    <a:pt x="669" y="540"/>
                  </a:lnTo>
                  <a:lnTo>
                    <a:pt x="659" y="531"/>
                  </a:lnTo>
                  <a:lnTo>
                    <a:pt x="651" y="524"/>
                  </a:lnTo>
                  <a:lnTo>
                    <a:pt x="644" y="517"/>
                  </a:lnTo>
                  <a:lnTo>
                    <a:pt x="618" y="517"/>
                  </a:lnTo>
                  <a:lnTo>
                    <a:pt x="621" y="525"/>
                  </a:lnTo>
                  <a:lnTo>
                    <a:pt x="624" y="531"/>
                  </a:lnTo>
                  <a:lnTo>
                    <a:pt x="629" y="538"/>
                  </a:lnTo>
                  <a:lnTo>
                    <a:pt x="634" y="543"/>
                  </a:lnTo>
                  <a:lnTo>
                    <a:pt x="645" y="552"/>
                  </a:lnTo>
                  <a:lnTo>
                    <a:pt x="657" y="560"/>
                  </a:lnTo>
                  <a:lnTo>
                    <a:pt x="668" y="567"/>
                  </a:lnTo>
                  <a:lnTo>
                    <a:pt x="678" y="575"/>
                  </a:lnTo>
                  <a:lnTo>
                    <a:pt x="683" y="580"/>
                  </a:lnTo>
                  <a:lnTo>
                    <a:pt x="687" y="585"/>
                  </a:lnTo>
                  <a:lnTo>
                    <a:pt x="689" y="590"/>
                  </a:lnTo>
                  <a:lnTo>
                    <a:pt x="691" y="598"/>
                  </a:lnTo>
                  <a:lnTo>
                    <a:pt x="678" y="601"/>
                  </a:lnTo>
                  <a:lnTo>
                    <a:pt x="665" y="604"/>
                  </a:lnTo>
                  <a:lnTo>
                    <a:pt x="644" y="603"/>
                  </a:lnTo>
                  <a:lnTo>
                    <a:pt x="618" y="599"/>
                  </a:lnTo>
                  <a:lnTo>
                    <a:pt x="589" y="592"/>
                  </a:lnTo>
                  <a:lnTo>
                    <a:pt x="558" y="584"/>
                  </a:lnTo>
                  <a:lnTo>
                    <a:pt x="544" y="580"/>
                  </a:lnTo>
                  <a:lnTo>
                    <a:pt x="531" y="575"/>
                  </a:lnTo>
                  <a:lnTo>
                    <a:pt x="518" y="570"/>
                  </a:lnTo>
                  <a:lnTo>
                    <a:pt x="507" y="565"/>
                  </a:lnTo>
                  <a:lnTo>
                    <a:pt x="497" y="559"/>
                  </a:lnTo>
                  <a:lnTo>
                    <a:pt x="488" y="554"/>
                  </a:lnTo>
                  <a:lnTo>
                    <a:pt x="483" y="548"/>
                  </a:lnTo>
                  <a:lnTo>
                    <a:pt x="478" y="542"/>
                  </a:lnTo>
                  <a:lnTo>
                    <a:pt x="475" y="532"/>
                  </a:lnTo>
                  <a:lnTo>
                    <a:pt x="471" y="523"/>
                  </a:lnTo>
                  <a:lnTo>
                    <a:pt x="464" y="513"/>
                  </a:lnTo>
                  <a:lnTo>
                    <a:pt x="457" y="504"/>
                  </a:lnTo>
                  <a:lnTo>
                    <a:pt x="451" y="496"/>
                  </a:lnTo>
                  <a:lnTo>
                    <a:pt x="444" y="489"/>
                  </a:lnTo>
                  <a:lnTo>
                    <a:pt x="438" y="484"/>
                  </a:lnTo>
                  <a:lnTo>
                    <a:pt x="432" y="480"/>
                  </a:lnTo>
                  <a:lnTo>
                    <a:pt x="410" y="473"/>
                  </a:lnTo>
                  <a:lnTo>
                    <a:pt x="388" y="468"/>
                  </a:lnTo>
                  <a:lnTo>
                    <a:pt x="384" y="467"/>
                  </a:lnTo>
                  <a:lnTo>
                    <a:pt x="379" y="465"/>
                  </a:lnTo>
                  <a:lnTo>
                    <a:pt x="375" y="463"/>
                  </a:lnTo>
                  <a:lnTo>
                    <a:pt x="372" y="460"/>
                  </a:lnTo>
                  <a:lnTo>
                    <a:pt x="370" y="457"/>
                  </a:lnTo>
                  <a:lnTo>
                    <a:pt x="367" y="453"/>
                  </a:lnTo>
                  <a:lnTo>
                    <a:pt x="366" y="449"/>
                  </a:lnTo>
                  <a:lnTo>
                    <a:pt x="365" y="444"/>
                  </a:lnTo>
                  <a:lnTo>
                    <a:pt x="366" y="441"/>
                  </a:lnTo>
                  <a:lnTo>
                    <a:pt x="368" y="439"/>
                  </a:lnTo>
                  <a:lnTo>
                    <a:pt x="373" y="437"/>
                  </a:lnTo>
                  <a:lnTo>
                    <a:pt x="378" y="436"/>
                  </a:lnTo>
                  <a:lnTo>
                    <a:pt x="392" y="433"/>
                  </a:lnTo>
                  <a:lnTo>
                    <a:pt x="406" y="430"/>
                  </a:lnTo>
                  <a:lnTo>
                    <a:pt x="435" y="427"/>
                  </a:lnTo>
                  <a:lnTo>
                    <a:pt x="452" y="424"/>
                  </a:lnTo>
                  <a:lnTo>
                    <a:pt x="452" y="416"/>
                  </a:lnTo>
                  <a:lnTo>
                    <a:pt x="454" y="409"/>
                  </a:lnTo>
                  <a:lnTo>
                    <a:pt x="456" y="404"/>
                  </a:lnTo>
                  <a:lnTo>
                    <a:pt x="459" y="399"/>
                  </a:lnTo>
                  <a:lnTo>
                    <a:pt x="461" y="394"/>
                  </a:lnTo>
                  <a:lnTo>
                    <a:pt x="463" y="390"/>
                  </a:lnTo>
                  <a:lnTo>
                    <a:pt x="465" y="386"/>
                  </a:lnTo>
                  <a:lnTo>
                    <a:pt x="465" y="382"/>
                  </a:lnTo>
                  <a:lnTo>
                    <a:pt x="479" y="382"/>
                  </a:lnTo>
                  <a:lnTo>
                    <a:pt x="490" y="380"/>
                  </a:lnTo>
                  <a:lnTo>
                    <a:pt x="500" y="378"/>
                  </a:lnTo>
                  <a:lnTo>
                    <a:pt x="508" y="375"/>
                  </a:lnTo>
                  <a:lnTo>
                    <a:pt x="521" y="368"/>
                  </a:lnTo>
                  <a:lnTo>
                    <a:pt x="532" y="363"/>
                  </a:lnTo>
                  <a:lnTo>
                    <a:pt x="572" y="363"/>
                  </a:lnTo>
                  <a:lnTo>
                    <a:pt x="573" y="369"/>
                  </a:lnTo>
                  <a:lnTo>
                    <a:pt x="575" y="376"/>
                  </a:lnTo>
                  <a:lnTo>
                    <a:pt x="577" y="380"/>
                  </a:lnTo>
                  <a:lnTo>
                    <a:pt x="580" y="384"/>
                  </a:lnTo>
                  <a:lnTo>
                    <a:pt x="583" y="387"/>
                  </a:lnTo>
                  <a:lnTo>
                    <a:pt x="587" y="389"/>
                  </a:lnTo>
                  <a:lnTo>
                    <a:pt x="590" y="391"/>
                  </a:lnTo>
                  <a:lnTo>
                    <a:pt x="595" y="393"/>
                  </a:lnTo>
                  <a:lnTo>
                    <a:pt x="603" y="394"/>
                  </a:lnTo>
                  <a:lnTo>
                    <a:pt x="614" y="395"/>
                  </a:lnTo>
                  <a:lnTo>
                    <a:pt x="625" y="394"/>
                  </a:lnTo>
                  <a:lnTo>
                    <a:pt x="637" y="394"/>
                  </a:lnTo>
                  <a:lnTo>
                    <a:pt x="650" y="394"/>
                  </a:lnTo>
                  <a:lnTo>
                    <a:pt x="659" y="393"/>
                  </a:lnTo>
                  <a:lnTo>
                    <a:pt x="668" y="392"/>
                  </a:lnTo>
                  <a:lnTo>
                    <a:pt x="675" y="390"/>
                  </a:lnTo>
                  <a:lnTo>
                    <a:pt x="687" y="387"/>
                  </a:lnTo>
                  <a:lnTo>
                    <a:pt x="698" y="382"/>
                  </a:lnTo>
                  <a:lnTo>
                    <a:pt x="698" y="373"/>
                  </a:lnTo>
                  <a:lnTo>
                    <a:pt x="698" y="363"/>
                  </a:lnTo>
                  <a:lnTo>
                    <a:pt x="605" y="351"/>
                  </a:lnTo>
                  <a:lnTo>
                    <a:pt x="596" y="351"/>
                  </a:lnTo>
                  <a:lnTo>
                    <a:pt x="588" y="353"/>
                  </a:lnTo>
                  <a:lnTo>
                    <a:pt x="581" y="355"/>
                  </a:lnTo>
                  <a:lnTo>
                    <a:pt x="576" y="357"/>
                  </a:lnTo>
                  <a:lnTo>
                    <a:pt x="572" y="359"/>
                  </a:lnTo>
                  <a:lnTo>
                    <a:pt x="567" y="361"/>
                  </a:lnTo>
                  <a:lnTo>
                    <a:pt x="563" y="362"/>
                  </a:lnTo>
                  <a:lnTo>
                    <a:pt x="558" y="363"/>
                  </a:lnTo>
                  <a:lnTo>
                    <a:pt x="550" y="362"/>
                  </a:lnTo>
                  <a:lnTo>
                    <a:pt x="542" y="361"/>
                  </a:lnTo>
                  <a:lnTo>
                    <a:pt x="540" y="360"/>
                  </a:lnTo>
                  <a:lnTo>
                    <a:pt x="536" y="360"/>
                  </a:lnTo>
                  <a:lnTo>
                    <a:pt x="534" y="361"/>
                  </a:lnTo>
                  <a:lnTo>
                    <a:pt x="532" y="363"/>
                  </a:lnTo>
                  <a:lnTo>
                    <a:pt x="533" y="358"/>
                  </a:lnTo>
                  <a:lnTo>
                    <a:pt x="535" y="354"/>
                  </a:lnTo>
                  <a:lnTo>
                    <a:pt x="539" y="350"/>
                  </a:lnTo>
                  <a:lnTo>
                    <a:pt x="542" y="347"/>
                  </a:lnTo>
                  <a:lnTo>
                    <a:pt x="550" y="339"/>
                  </a:lnTo>
                  <a:lnTo>
                    <a:pt x="557" y="332"/>
                  </a:lnTo>
                  <a:lnTo>
                    <a:pt x="565" y="324"/>
                  </a:lnTo>
                  <a:lnTo>
                    <a:pt x="572" y="316"/>
                  </a:lnTo>
                  <a:lnTo>
                    <a:pt x="574" y="311"/>
                  </a:lnTo>
                  <a:lnTo>
                    <a:pt x="576" y="306"/>
                  </a:lnTo>
                  <a:lnTo>
                    <a:pt x="577" y="301"/>
                  </a:lnTo>
                  <a:lnTo>
                    <a:pt x="578" y="295"/>
                  </a:lnTo>
                  <a:lnTo>
                    <a:pt x="577" y="290"/>
                  </a:lnTo>
                  <a:lnTo>
                    <a:pt x="576" y="283"/>
                  </a:lnTo>
                  <a:lnTo>
                    <a:pt x="575" y="280"/>
                  </a:lnTo>
                  <a:lnTo>
                    <a:pt x="575" y="277"/>
                  </a:lnTo>
                  <a:lnTo>
                    <a:pt x="576" y="274"/>
                  </a:lnTo>
                  <a:lnTo>
                    <a:pt x="578" y="271"/>
                  </a:lnTo>
                  <a:lnTo>
                    <a:pt x="568" y="271"/>
                  </a:lnTo>
                  <a:lnTo>
                    <a:pt x="558" y="269"/>
                  </a:lnTo>
                  <a:lnTo>
                    <a:pt x="550" y="267"/>
                  </a:lnTo>
                  <a:lnTo>
                    <a:pt x="541" y="263"/>
                  </a:lnTo>
                  <a:lnTo>
                    <a:pt x="533" y="258"/>
                  </a:lnTo>
                  <a:lnTo>
                    <a:pt x="524" y="254"/>
                  </a:lnTo>
                  <a:lnTo>
                    <a:pt x="518" y="248"/>
                  </a:lnTo>
                  <a:lnTo>
                    <a:pt x="511" y="243"/>
                  </a:lnTo>
                  <a:lnTo>
                    <a:pt x="499" y="231"/>
                  </a:lnTo>
                  <a:lnTo>
                    <a:pt x="489" y="219"/>
                  </a:lnTo>
                  <a:lnTo>
                    <a:pt x="483" y="208"/>
                  </a:lnTo>
                  <a:lnTo>
                    <a:pt x="478" y="196"/>
                  </a:lnTo>
                  <a:lnTo>
                    <a:pt x="473" y="198"/>
                  </a:lnTo>
                  <a:lnTo>
                    <a:pt x="467" y="198"/>
                  </a:lnTo>
                  <a:lnTo>
                    <a:pt x="463" y="198"/>
                  </a:lnTo>
                  <a:lnTo>
                    <a:pt x="459" y="196"/>
                  </a:lnTo>
                  <a:lnTo>
                    <a:pt x="452" y="190"/>
                  </a:lnTo>
                  <a:lnTo>
                    <a:pt x="446" y="183"/>
                  </a:lnTo>
                  <a:lnTo>
                    <a:pt x="441" y="175"/>
                  </a:lnTo>
                  <a:lnTo>
                    <a:pt x="434" y="168"/>
                  </a:lnTo>
                  <a:lnTo>
                    <a:pt x="431" y="165"/>
                  </a:lnTo>
                  <a:lnTo>
                    <a:pt x="428" y="162"/>
                  </a:lnTo>
                  <a:lnTo>
                    <a:pt x="423" y="161"/>
                  </a:lnTo>
                  <a:lnTo>
                    <a:pt x="419" y="160"/>
                  </a:lnTo>
                  <a:lnTo>
                    <a:pt x="415" y="161"/>
                  </a:lnTo>
                  <a:lnTo>
                    <a:pt x="411" y="162"/>
                  </a:lnTo>
                  <a:lnTo>
                    <a:pt x="408" y="163"/>
                  </a:lnTo>
                  <a:lnTo>
                    <a:pt x="404" y="165"/>
                  </a:lnTo>
                  <a:lnTo>
                    <a:pt x="397" y="170"/>
                  </a:lnTo>
                  <a:lnTo>
                    <a:pt x="392" y="177"/>
                  </a:lnTo>
                  <a:lnTo>
                    <a:pt x="386" y="184"/>
                  </a:lnTo>
                  <a:lnTo>
                    <a:pt x="382" y="191"/>
                  </a:lnTo>
                  <a:lnTo>
                    <a:pt x="379" y="197"/>
                  </a:lnTo>
                  <a:lnTo>
                    <a:pt x="378" y="203"/>
                  </a:lnTo>
                  <a:lnTo>
                    <a:pt x="339" y="203"/>
                  </a:lnTo>
                  <a:lnTo>
                    <a:pt x="317" y="194"/>
                  </a:lnTo>
                  <a:lnTo>
                    <a:pt x="295" y="188"/>
                  </a:lnTo>
                  <a:lnTo>
                    <a:pt x="273" y="182"/>
                  </a:lnTo>
                  <a:lnTo>
                    <a:pt x="252" y="178"/>
                  </a:lnTo>
                  <a:lnTo>
                    <a:pt x="230" y="176"/>
                  </a:lnTo>
                  <a:lnTo>
                    <a:pt x="207" y="174"/>
                  </a:lnTo>
                  <a:lnTo>
                    <a:pt x="184" y="173"/>
                  </a:lnTo>
                  <a:lnTo>
                    <a:pt x="160" y="172"/>
                  </a:lnTo>
                  <a:lnTo>
                    <a:pt x="148" y="173"/>
                  </a:lnTo>
                  <a:lnTo>
                    <a:pt x="138" y="176"/>
                  </a:lnTo>
                  <a:lnTo>
                    <a:pt x="129" y="180"/>
                  </a:lnTo>
                  <a:lnTo>
                    <a:pt x="121" y="184"/>
                  </a:lnTo>
                  <a:lnTo>
                    <a:pt x="114" y="189"/>
                  </a:lnTo>
                  <a:lnTo>
                    <a:pt x="107" y="193"/>
                  </a:lnTo>
                  <a:lnTo>
                    <a:pt x="101" y="195"/>
                  </a:lnTo>
                  <a:lnTo>
                    <a:pt x="93" y="196"/>
                  </a:lnTo>
                  <a:lnTo>
                    <a:pt x="88" y="196"/>
                  </a:lnTo>
                  <a:lnTo>
                    <a:pt x="84" y="194"/>
                  </a:lnTo>
                  <a:lnTo>
                    <a:pt x="81" y="190"/>
                  </a:lnTo>
                  <a:lnTo>
                    <a:pt x="79" y="187"/>
                  </a:lnTo>
                  <a:lnTo>
                    <a:pt x="74" y="179"/>
                  </a:lnTo>
                  <a:lnTo>
                    <a:pt x="73" y="172"/>
                  </a:lnTo>
                  <a:lnTo>
                    <a:pt x="50" y="177"/>
                  </a:lnTo>
                  <a:lnTo>
                    <a:pt x="29" y="181"/>
                  </a:lnTo>
                  <a:lnTo>
                    <a:pt x="25" y="181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13" y="178"/>
                  </a:lnTo>
                  <a:lnTo>
                    <a:pt x="8" y="176"/>
                  </a:lnTo>
                  <a:lnTo>
                    <a:pt x="6" y="174"/>
                  </a:lnTo>
                  <a:lnTo>
                    <a:pt x="3" y="170"/>
                  </a:lnTo>
                  <a:lnTo>
                    <a:pt x="0" y="166"/>
                  </a:lnTo>
                  <a:lnTo>
                    <a:pt x="4" y="162"/>
                  </a:lnTo>
                  <a:lnTo>
                    <a:pt x="9" y="158"/>
                  </a:lnTo>
                  <a:lnTo>
                    <a:pt x="14" y="155"/>
                  </a:lnTo>
                  <a:lnTo>
                    <a:pt x="20" y="152"/>
                  </a:lnTo>
                  <a:lnTo>
                    <a:pt x="32" y="149"/>
                  </a:lnTo>
                  <a:lnTo>
                    <a:pt x="46" y="146"/>
                  </a:lnTo>
                  <a:lnTo>
                    <a:pt x="59" y="145"/>
                  </a:lnTo>
                  <a:lnTo>
                    <a:pt x="70" y="147"/>
                  </a:lnTo>
                  <a:lnTo>
                    <a:pt x="75" y="149"/>
                  </a:lnTo>
                  <a:lnTo>
                    <a:pt x="80" y="150"/>
                  </a:lnTo>
                  <a:lnTo>
                    <a:pt x="83" y="152"/>
                  </a:lnTo>
                  <a:lnTo>
                    <a:pt x="86" y="154"/>
                  </a:lnTo>
                  <a:lnTo>
                    <a:pt x="86" y="139"/>
                  </a:lnTo>
                  <a:lnTo>
                    <a:pt x="86" y="129"/>
                  </a:lnTo>
                  <a:lnTo>
                    <a:pt x="73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65" name="Freeform 417"/>
            <p:cNvSpPr>
              <a:spLocks/>
            </p:cNvSpPr>
            <p:nvPr/>
          </p:nvSpPr>
          <p:spPr bwMode="auto">
            <a:xfrm>
              <a:off x="1528" y="1110"/>
              <a:ext cx="409" cy="105"/>
            </a:xfrm>
            <a:custGeom>
              <a:avLst/>
              <a:gdLst>
                <a:gd name="T0" fmla="*/ 797 w 1268"/>
                <a:gd name="T1" fmla="*/ 38 h 321"/>
                <a:gd name="T2" fmla="*/ 813 w 1268"/>
                <a:gd name="T3" fmla="*/ 16 h 321"/>
                <a:gd name="T4" fmla="*/ 846 w 1268"/>
                <a:gd name="T5" fmla="*/ 10 h 321"/>
                <a:gd name="T6" fmla="*/ 865 w 1268"/>
                <a:gd name="T7" fmla="*/ 25 h 321"/>
                <a:gd name="T8" fmla="*/ 938 w 1268"/>
                <a:gd name="T9" fmla="*/ 14 h 321"/>
                <a:gd name="T10" fmla="*/ 1020 w 1268"/>
                <a:gd name="T11" fmla="*/ 1 h 321"/>
                <a:gd name="T12" fmla="*/ 1084 w 1268"/>
                <a:gd name="T13" fmla="*/ 17 h 321"/>
                <a:gd name="T14" fmla="*/ 1133 w 1268"/>
                <a:gd name="T15" fmla="*/ 20 h 321"/>
                <a:gd name="T16" fmla="*/ 1268 w 1268"/>
                <a:gd name="T17" fmla="*/ 32 h 321"/>
                <a:gd name="T18" fmla="*/ 1242 w 1268"/>
                <a:gd name="T19" fmla="*/ 50 h 321"/>
                <a:gd name="T20" fmla="*/ 1163 w 1268"/>
                <a:gd name="T21" fmla="*/ 64 h 321"/>
                <a:gd name="T22" fmla="*/ 1053 w 1268"/>
                <a:gd name="T23" fmla="*/ 77 h 321"/>
                <a:gd name="T24" fmla="*/ 1029 w 1268"/>
                <a:gd name="T25" fmla="*/ 96 h 321"/>
                <a:gd name="T26" fmla="*/ 999 w 1268"/>
                <a:gd name="T27" fmla="*/ 104 h 321"/>
                <a:gd name="T28" fmla="*/ 942 w 1268"/>
                <a:gd name="T29" fmla="*/ 102 h 321"/>
                <a:gd name="T30" fmla="*/ 930 w 1268"/>
                <a:gd name="T31" fmla="*/ 118 h 321"/>
                <a:gd name="T32" fmla="*/ 747 w 1268"/>
                <a:gd name="T33" fmla="*/ 133 h 321"/>
                <a:gd name="T34" fmla="*/ 666 w 1268"/>
                <a:gd name="T35" fmla="*/ 156 h 321"/>
                <a:gd name="T36" fmla="*/ 635 w 1268"/>
                <a:gd name="T37" fmla="*/ 181 h 321"/>
                <a:gd name="T38" fmla="*/ 591 w 1268"/>
                <a:gd name="T39" fmla="*/ 167 h 321"/>
                <a:gd name="T40" fmla="*/ 570 w 1268"/>
                <a:gd name="T41" fmla="*/ 181 h 321"/>
                <a:gd name="T42" fmla="*/ 590 w 1268"/>
                <a:gd name="T43" fmla="*/ 207 h 321"/>
                <a:gd name="T44" fmla="*/ 545 w 1268"/>
                <a:gd name="T45" fmla="*/ 237 h 321"/>
                <a:gd name="T46" fmla="*/ 483 w 1268"/>
                <a:gd name="T47" fmla="*/ 236 h 321"/>
                <a:gd name="T48" fmla="*/ 404 w 1268"/>
                <a:gd name="T49" fmla="*/ 242 h 321"/>
                <a:gd name="T50" fmla="*/ 405 w 1268"/>
                <a:gd name="T51" fmla="*/ 257 h 321"/>
                <a:gd name="T52" fmla="*/ 392 w 1268"/>
                <a:gd name="T53" fmla="*/ 293 h 321"/>
                <a:gd name="T54" fmla="*/ 333 w 1268"/>
                <a:gd name="T55" fmla="*/ 320 h 321"/>
                <a:gd name="T56" fmla="*/ 290 w 1268"/>
                <a:gd name="T57" fmla="*/ 296 h 321"/>
                <a:gd name="T58" fmla="*/ 253 w 1268"/>
                <a:gd name="T59" fmla="*/ 285 h 321"/>
                <a:gd name="T60" fmla="*/ 96 w 1268"/>
                <a:gd name="T61" fmla="*/ 276 h 321"/>
                <a:gd name="T62" fmla="*/ 0 w 1268"/>
                <a:gd name="T63" fmla="*/ 285 h 321"/>
                <a:gd name="T64" fmla="*/ 10 w 1268"/>
                <a:gd name="T65" fmla="*/ 266 h 321"/>
                <a:gd name="T66" fmla="*/ 56 w 1268"/>
                <a:gd name="T67" fmla="*/ 246 h 321"/>
                <a:gd name="T68" fmla="*/ 143 w 1268"/>
                <a:gd name="T69" fmla="*/ 235 h 321"/>
                <a:gd name="T70" fmla="*/ 170 w 1268"/>
                <a:gd name="T71" fmla="*/ 225 h 321"/>
                <a:gd name="T72" fmla="*/ 190 w 1268"/>
                <a:gd name="T73" fmla="*/ 217 h 321"/>
                <a:gd name="T74" fmla="*/ 219 w 1268"/>
                <a:gd name="T75" fmla="*/ 232 h 321"/>
                <a:gd name="T76" fmla="*/ 247 w 1268"/>
                <a:gd name="T77" fmla="*/ 247 h 321"/>
                <a:gd name="T78" fmla="*/ 208 w 1268"/>
                <a:gd name="T79" fmla="*/ 207 h 321"/>
                <a:gd name="T80" fmla="*/ 193 w 1268"/>
                <a:gd name="T81" fmla="*/ 200 h 321"/>
                <a:gd name="T82" fmla="*/ 197 w 1268"/>
                <a:gd name="T83" fmla="*/ 181 h 321"/>
                <a:gd name="T84" fmla="*/ 246 w 1268"/>
                <a:gd name="T85" fmla="*/ 174 h 321"/>
                <a:gd name="T86" fmla="*/ 365 w 1268"/>
                <a:gd name="T87" fmla="*/ 186 h 321"/>
                <a:gd name="T88" fmla="*/ 418 w 1268"/>
                <a:gd name="T89" fmla="*/ 174 h 321"/>
                <a:gd name="T90" fmla="*/ 322 w 1268"/>
                <a:gd name="T91" fmla="*/ 169 h 321"/>
                <a:gd name="T92" fmla="*/ 299 w 1268"/>
                <a:gd name="T93" fmla="*/ 149 h 321"/>
                <a:gd name="T94" fmla="*/ 378 w 1268"/>
                <a:gd name="T95" fmla="*/ 137 h 321"/>
                <a:gd name="T96" fmla="*/ 438 w 1268"/>
                <a:gd name="T97" fmla="*/ 155 h 321"/>
                <a:gd name="T98" fmla="*/ 478 w 1268"/>
                <a:gd name="T99" fmla="*/ 124 h 321"/>
                <a:gd name="T100" fmla="*/ 664 w 1268"/>
                <a:gd name="T101" fmla="*/ 87 h 321"/>
                <a:gd name="T102" fmla="*/ 589 w 1268"/>
                <a:gd name="T103" fmla="*/ 110 h 321"/>
                <a:gd name="T104" fmla="*/ 449 w 1268"/>
                <a:gd name="T105" fmla="*/ 111 h 321"/>
                <a:gd name="T106" fmla="*/ 312 w 1268"/>
                <a:gd name="T107" fmla="*/ 116 h 321"/>
                <a:gd name="T108" fmla="*/ 253 w 1268"/>
                <a:gd name="T109" fmla="*/ 101 h 321"/>
                <a:gd name="T110" fmla="*/ 219 w 1268"/>
                <a:gd name="T111" fmla="*/ 80 h 321"/>
                <a:gd name="T112" fmla="*/ 253 w 1268"/>
                <a:gd name="T113" fmla="*/ 71 h 321"/>
                <a:gd name="T114" fmla="*/ 446 w 1268"/>
                <a:gd name="T115" fmla="*/ 47 h 321"/>
                <a:gd name="T116" fmla="*/ 618 w 1268"/>
                <a:gd name="T117" fmla="*/ 32 h 321"/>
                <a:gd name="T118" fmla="*/ 674 w 1268"/>
                <a:gd name="T119" fmla="*/ 20 h 321"/>
                <a:gd name="T120" fmla="*/ 757 w 1268"/>
                <a:gd name="T121" fmla="*/ 26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68" h="321">
                  <a:moveTo>
                    <a:pt x="764" y="26"/>
                  </a:moveTo>
                  <a:lnTo>
                    <a:pt x="770" y="30"/>
                  </a:lnTo>
                  <a:lnTo>
                    <a:pt x="778" y="34"/>
                  </a:lnTo>
                  <a:lnTo>
                    <a:pt x="787" y="37"/>
                  </a:lnTo>
                  <a:lnTo>
                    <a:pt x="797" y="38"/>
                  </a:lnTo>
                  <a:lnTo>
                    <a:pt x="797" y="35"/>
                  </a:lnTo>
                  <a:lnTo>
                    <a:pt x="799" y="31"/>
                  </a:lnTo>
                  <a:lnTo>
                    <a:pt x="803" y="26"/>
                  </a:lnTo>
                  <a:lnTo>
                    <a:pt x="807" y="20"/>
                  </a:lnTo>
                  <a:lnTo>
                    <a:pt x="813" y="16"/>
                  </a:lnTo>
                  <a:lnTo>
                    <a:pt x="819" y="11"/>
                  </a:lnTo>
                  <a:lnTo>
                    <a:pt x="828" y="9"/>
                  </a:lnTo>
                  <a:lnTo>
                    <a:pt x="837" y="8"/>
                  </a:lnTo>
                  <a:lnTo>
                    <a:pt x="841" y="8"/>
                  </a:lnTo>
                  <a:lnTo>
                    <a:pt x="846" y="10"/>
                  </a:lnTo>
                  <a:lnTo>
                    <a:pt x="850" y="13"/>
                  </a:lnTo>
                  <a:lnTo>
                    <a:pt x="853" y="17"/>
                  </a:lnTo>
                  <a:lnTo>
                    <a:pt x="858" y="20"/>
                  </a:lnTo>
                  <a:lnTo>
                    <a:pt x="861" y="23"/>
                  </a:lnTo>
                  <a:lnTo>
                    <a:pt x="865" y="25"/>
                  </a:lnTo>
                  <a:lnTo>
                    <a:pt x="870" y="26"/>
                  </a:lnTo>
                  <a:lnTo>
                    <a:pt x="888" y="25"/>
                  </a:lnTo>
                  <a:lnTo>
                    <a:pt x="906" y="22"/>
                  </a:lnTo>
                  <a:lnTo>
                    <a:pt x="921" y="18"/>
                  </a:lnTo>
                  <a:lnTo>
                    <a:pt x="938" y="14"/>
                  </a:lnTo>
                  <a:lnTo>
                    <a:pt x="953" y="9"/>
                  </a:lnTo>
                  <a:lnTo>
                    <a:pt x="970" y="4"/>
                  </a:lnTo>
                  <a:lnTo>
                    <a:pt x="988" y="2"/>
                  </a:lnTo>
                  <a:lnTo>
                    <a:pt x="1009" y="0"/>
                  </a:lnTo>
                  <a:lnTo>
                    <a:pt x="1020" y="1"/>
                  </a:lnTo>
                  <a:lnTo>
                    <a:pt x="1032" y="3"/>
                  </a:lnTo>
                  <a:lnTo>
                    <a:pt x="1045" y="7"/>
                  </a:lnTo>
                  <a:lnTo>
                    <a:pt x="1059" y="11"/>
                  </a:lnTo>
                  <a:lnTo>
                    <a:pt x="1072" y="14"/>
                  </a:lnTo>
                  <a:lnTo>
                    <a:pt x="1084" y="17"/>
                  </a:lnTo>
                  <a:lnTo>
                    <a:pt x="1094" y="19"/>
                  </a:lnTo>
                  <a:lnTo>
                    <a:pt x="1103" y="20"/>
                  </a:lnTo>
                  <a:lnTo>
                    <a:pt x="1115" y="20"/>
                  </a:lnTo>
                  <a:lnTo>
                    <a:pt x="1123" y="20"/>
                  </a:lnTo>
                  <a:lnTo>
                    <a:pt x="1133" y="20"/>
                  </a:lnTo>
                  <a:lnTo>
                    <a:pt x="1149" y="20"/>
                  </a:lnTo>
                  <a:lnTo>
                    <a:pt x="1180" y="21"/>
                  </a:lnTo>
                  <a:lnTo>
                    <a:pt x="1209" y="23"/>
                  </a:lnTo>
                  <a:lnTo>
                    <a:pt x="1236" y="27"/>
                  </a:lnTo>
                  <a:lnTo>
                    <a:pt x="1268" y="32"/>
                  </a:lnTo>
                  <a:lnTo>
                    <a:pt x="1266" y="36"/>
                  </a:lnTo>
                  <a:lnTo>
                    <a:pt x="1263" y="39"/>
                  </a:lnTo>
                  <a:lnTo>
                    <a:pt x="1258" y="42"/>
                  </a:lnTo>
                  <a:lnTo>
                    <a:pt x="1253" y="45"/>
                  </a:lnTo>
                  <a:lnTo>
                    <a:pt x="1242" y="50"/>
                  </a:lnTo>
                  <a:lnTo>
                    <a:pt x="1229" y="54"/>
                  </a:lnTo>
                  <a:lnTo>
                    <a:pt x="1213" y="57"/>
                  </a:lnTo>
                  <a:lnTo>
                    <a:pt x="1198" y="59"/>
                  </a:lnTo>
                  <a:lnTo>
                    <a:pt x="1180" y="62"/>
                  </a:lnTo>
                  <a:lnTo>
                    <a:pt x="1163" y="64"/>
                  </a:lnTo>
                  <a:lnTo>
                    <a:pt x="1128" y="66"/>
                  </a:lnTo>
                  <a:lnTo>
                    <a:pt x="1094" y="69"/>
                  </a:lnTo>
                  <a:lnTo>
                    <a:pt x="1078" y="71"/>
                  </a:lnTo>
                  <a:lnTo>
                    <a:pt x="1065" y="74"/>
                  </a:lnTo>
                  <a:lnTo>
                    <a:pt x="1053" y="77"/>
                  </a:lnTo>
                  <a:lnTo>
                    <a:pt x="1043" y="81"/>
                  </a:lnTo>
                  <a:lnTo>
                    <a:pt x="1039" y="84"/>
                  </a:lnTo>
                  <a:lnTo>
                    <a:pt x="1034" y="87"/>
                  </a:lnTo>
                  <a:lnTo>
                    <a:pt x="1031" y="91"/>
                  </a:lnTo>
                  <a:lnTo>
                    <a:pt x="1029" y="96"/>
                  </a:lnTo>
                  <a:lnTo>
                    <a:pt x="1026" y="99"/>
                  </a:lnTo>
                  <a:lnTo>
                    <a:pt x="1021" y="102"/>
                  </a:lnTo>
                  <a:lnTo>
                    <a:pt x="1016" y="105"/>
                  </a:lnTo>
                  <a:lnTo>
                    <a:pt x="1009" y="105"/>
                  </a:lnTo>
                  <a:lnTo>
                    <a:pt x="999" y="104"/>
                  </a:lnTo>
                  <a:lnTo>
                    <a:pt x="991" y="102"/>
                  </a:lnTo>
                  <a:lnTo>
                    <a:pt x="983" y="98"/>
                  </a:lnTo>
                  <a:lnTo>
                    <a:pt x="976" y="93"/>
                  </a:lnTo>
                  <a:lnTo>
                    <a:pt x="943" y="93"/>
                  </a:lnTo>
                  <a:lnTo>
                    <a:pt x="942" y="102"/>
                  </a:lnTo>
                  <a:lnTo>
                    <a:pt x="939" y="110"/>
                  </a:lnTo>
                  <a:lnTo>
                    <a:pt x="937" y="113"/>
                  </a:lnTo>
                  <a:lnTo>
                    <a:pt x="935" y="115"/>
                  </a:lnTo>
                  <a:lnTo>
                    <a:pt x="932" y="118"/>
                  </a:lnTo>
                  <a:lnTo>
                    <a:pt x="930" y="118"/>
                  </a:lnTo>
                  <a:lnTo>
                    <a:pt x="902" y="119"/>
                  </a:lnTo>
                  <a:lnTo>
                    <a:pt x="862" y="120"/>
                  </a:lnTo>
                  <a:lnTo>
                    <a:pt x="818" y="124"/>
                  </a:lnTo>
                  <a:lnTo>
                    <a:pt x="771" y="129"/>
                  </a:lnTo>
                  <a:lnTo>
                    <a:pt x="747" y="133"/>
                  </a:lnTo>
                  <a:lnTo>
                    <a:pt x="725" y="137"/>
                  </a:lnTo>
                  <a:lnTo>
                    <a:pt x="703" y="143"/>
                  </a:lnTo>
                  <a:lnTo>
                    <a:pt x="683" y="149"/>
                  </a:lnTo>
                  <a:lnTo>
                    <a:pt x="674" y="153"/>
                  </a:lnTo>
                  <a:lnTo>
                    <a:pt x="666" y="156"/>
                  </a:lnTo>
                  <a:lnTo>
                    <a:pt x="658" y="160"/>
                  </a:lnTo>
                  <a:lnTo>
                    <a:pt x="651" y="165"/>
                  </a:lnTo>
                  <a:lnTo>
                    <a:pt x="645" y="169"/>
                  </a:lnTo>
                  <a:lnTo>
                    <a:pt x="639" y="175"/>
                  </a:lnTo>
                  <a:lnTo>
                    <a:pt x="635" y="181"/>
                  </a:lnTo>
                  <a:lnTo>
                    <a:pt x="630" y="186"/>
                  </a:lnTo>
                  <a:lnTo>
                    <a:pt x="604" y="186"/>
                  </a:lnTo>
                  <a:lnTo>
                    <a:pt x="604" y="177"/>
                  </a:lnTo>
                  <a:lnTo>
                    <a:pt x="604" y="167"/>
                  </a:lnTo>
                  <a:lnTo>
                    <a:pt x="591" y="167"/>
                  </a:lnTo>
                  <a:lnTo>
                    <a:pt x="579" y="167"/>
                  </a:lnTo>
                  <a:lnTo>
                    <a:pt x="562" y="167"/>
                  </a:lnTo>
                  <a:lnTo>
                    <a:pt x="538" y="167"/>
                  </a:lnTo>
                  <a:lnTo>
                    <a:pt x="556" y="175"/>
                  </a:lnTo>
                  <a:lnTo>
                    <a:pt x="570" y="181"/>
                  </a:lnTo>
                  <a:lnTo>
                    <a:pt x="577" y="185"/>
                  </a:lnTo>
                  <a:lnTo>
                    <a:pt x="583" y="190"/>
                  </a:lnTo>
                  <a:lnTo>
                    <a:pt x="591" y="196"/>
                  </a:lnTo>
                  <a:lnTo>
                    <a:pt x="597" y="204"/>
                  </a:lnTo>
                  <a:lnTo>
                    <a:pt x="590" y="207"/>
                  </a:lnTo>
                  <a:lnTo>
                    <a:pt x="581" y="212"/>
                  </a:lnTo>
                  <a:lnTo>
                    <a:pt x="571" y="218"/>
                  </a:lnTo>
                  <a:lnTo>
                    <a:pt x="562" y="225"/>
                  </a:lnTo>
                  <a:lnTo>
                    <a:pt x="552" y="232"/>
                  </a:lnTo>
                  <a:lnTo>
                    <a:pt x="545" y="237"/>
                  </a:lnTo>
                  <a:lnTo>
                    <a:pt x="537" y="240"/>
                  </a:lnTo>
                  <a:lnTo>
                    <a:pt x="532" y="241"/>
                  </a:lnTo>
                  <a:lnTo>
                    <a:pt x="517" y="241"/>
                  </a:lnTo>
                  <a:lnTo>
                    <a:pt x="502" y="238"/>
                  </a:lnTo>
                  <a:lnTo>
                    <a:pt x="483" y="236"/>
                  </a:lnTo>
                  <a:lnTo>
                    <a:pt x="458" y="235"/>
                  </a:lnTo>
                  <a:lnTo>
                    <a:pt x="442" y="236"/>
                  </a:lnTo>
                  <a:lnTo>
                    <a:pt x="427" y="237"/>
                  </a:lnTo>
                  <a:lnTo>
                    <a:pt x="415" y="240"/>
                  </a:lnTo>
                  <a:lnTo>
                    <a:pt x="404" y="242"/>
                  </a:lnTo>
                  <a:lnTo>
                    <a:pt x="384" y="248"/>
                  </a:lnTo>
                  <a:lnTo>
                    <a:pt x="365" y="254"/>
                  </a:lnTo>
                  <a:lnTo>
                    <a:pt x="382" y="257"/>
                  </a:lnTo>
                  <a:lnTo>
                    <a:pt x="394" y="258"/>
                  </a:lnTo>
                  <a:lnTo>
                    <a:pt x="405" y="257"/>
                  </a:lnTo>
                  <a:lnTo>
                    <a:pt x="418" y="254"/>
                  </a:lnTo>
                  <a:lnTo>
                    <a:pt x="418" y="272"/>
                  </a:lnTo>
                  <a:lnTo>
                    <a:pt x="413" y="277"/>
                  </a:lnTo>
                  <a:lnTo>
                    <a:pt x="404" y="285"/>
                  </a:lnTo>
                  <a:lnTo>
                    <a:pt x="392" y="293"/>
                  </a:lnTo>
                  <a:lnTo>
                    <a:pt x="379" y="301"/>
                  </a:lnTo>
                  <a:lnTo>
                    <a:pt x="356" y="315"/>
                  </a:lnTo>
                  <a:lnTo>
                    <a:pt x="345" y="321"/>
                  </a:lnTo>
                  <a:lnTo>
                    <a:pt x="339" y="321"/>
                  </a:lnTo>
                  <a:lnTo>
                    <a:pt x="333" y="320"/>
                  </a:lnTo>
                  <a:lnTo>
                    <a:pt x="327" y="318"/>
                  </a:lnTo>
                  <a:lnTo>
                    <a:pt x="322" y="315"/>
                  </a:lnTo>
                  <a:lnTo>
                    <a:pt x="312" y="310"/>
                  </a:lnTo>
                  <a:lnTo>
                    <a:pt x="301" y="303"/>
                  </a:lnTo>
                  <a:lnTo>
                    <a:pt x="290" y="296"/>
                  </a:lnTo>
                  <a:lnTo>
                    <a:pt x="279" y="290"/>
                  </a:lnTo>
                  <a:lnTo>
                    <a:pt x="272" y="288"/>
                  </a:lnTo>
                  <a:lnTo>
                    <a:pt x="266" y="286"/>
                  </a:lnTo>
                  <a:lnTo>
                    <a:pt x="259" y="285"/>
                  </a:lnTo>
                  <a:lnTo>
                    <a:pt x="253" y="285"/>
                  </a:lnTo>
                  <a:lnTo>
                    <a:pt x="215" y="283"/>
                  </a:lnTo>
                  <a:lnTo>
                    <a:pt x="182" y="281"/>
                  </a:lnTo>
                  <a:lnTo>
                    <a:pt x="152" y="279"/>
                  </a:lnTo>
                  <a:lnTo>
                    <a:pt x="123" y="277"/>
                  </a:lnTo>
                  <a:lnTo>
                    <a:pt x="96" y="276"/>
                  </a:lnTo>
                  <a:lnTo>
                    <a:pt x="66" y="276"/>
                  </a:lnTo>
                  <a:lnTo>
                    <a:pt x="51" y="277"/>
                  </a:lnTo>
                  <a:lnTo>
                    <a:pt x="35" y="279"/>
                  </a:lnTo>
                  <a:lnTo>
                    <a:pt x="18" y="281"/>
                  </a:lnTo>
                  <a:lnTo>
                    <a:pt x="0" y="285"/>
                  </a:lnTo>
                  <a:lnTo>
                    <a:pt x="0" y="281"/>
                  </a:lnTo>
                  <a:lnTo>
                    <a:pt x="1" y="277"/>
                  </a:lnTo>
                  <a:lnTo>
                    <a:pt x="2" y="274"/>
                  </a:lnTo>
                  <a:lnTo>
                    <a:pt x="5" y="271"/>
                  </a:lnTo>
                  <a:lnTo>
                    <a:pt x="10" y="266"/>
                  </a:lnTo>
                  <a:lnTo>
                    <a:pt x="17" y="261"/>
                  </a:lnTo>
                  <a:lnTo>
                    <a:pt x="25" y="257"/>
                  </a:lnTo>
                  <a:lnTo>
                    <a:pt x="35" y="253"/>
                  </a:lnTo>
                  <a:lnTo>
                    <a:pt x="45" y="249"/>
                  </a:lnTo>
                  <a:lnTo>
                    <a:pt x="56" y="246"/>
                  </a:lnTo>
                  <a:lnTo>
                    <a:pt x="79" y="241"/>
                  </a:lnTo>
                  <a:lnTo>
                    <a:pt x="101" y="238"/>
                  </a:lnTo>
                  <a:lnTo>
                    <a:pt x="120" y="236"/>
                  </a:lnTo>
                  <a:lnTo>
                    <a:pt x="133" y="235"/>
                  </a:lnTo>
                  <a:lnTo>
                    <a:pt x="143" y="235"/>
                  </a:lnTo>
                  <a:lnTo>
                    <a:pt x="159" y="235"/>
                  </a:lnTo>
                  <a:lnTo>
                    <a:pt x="162" y="235"/>
                  </a:lnTo>
                  <a:lnTo>
                    <a:pt x="164" y="233"/>
                  </a:lnTo>
                  <a:lnTo>
                    <a:pt x="167" y="230"/>
                  </a:lnTo>
                  <a:lnTo>
                    <a:pt x="170" y="225"/>
                  </a:lnTo>
                  <a:lnTo>
                    <a:pt x="174" y="222"/>
                  </a:lnTo>
                  <a:lnTo>
                    <a:pt x="177" y="219"/>
                  </a:lnTo>
                  <a:lnTo>
                    <a:pt x="181" y="217"/>
                  </a:lnTo>
                  <a:lnTo>
                    <a:pt x="186" y="216"/>
                  </a:lnTo>
                  <a:lnTo>
                    <a:pt x="190" y="217"/>
                  </a:lnTo>
                  <a:lnTo>
                    <a:pt x="196" y="218"/>
                  </a:lnTo>
                  <a:lnTo>
                    <a:pt x="200" y="219"/>
                  </a:lnTo>
                  <a:lnTo>
                    <a:pt x="203" y="221"/>
                  </a:lnTo>
                  <a:lnTo>
                    <a:pt x="211" y="226"/>
                  </a:lnTo>
                  <a:lnTo>
                    <a:pt x="219" y="232"/>
                  </a:lnTo>
                  <a:lnTo>
                    <a:pt x="226" y="238"/>
                  </a:lnTo>
                  <a:lnTo>
                    <a:pt x="234" y="243"/>
                  </a:lnTo>
                  <a:lnTo>
                    <a:pt x="238" y="245"/>
                  </a:lnTo>
                  <a:lnTo>
                    <a:pt x="243" y="246"/>
                  </a:lnTo>
                  <a:lnTo>
                    <a:pt x="247" y="247"/>
                  </a:lnTo>
                  <a:lnTo>
                    <a:pt x="253" y="247"/>
                  </a:lnTo>
                  <a:lnTo>
                    <a:pt x="253" y="204"/>
                  </a:lnTo>
                  <a:lnTo>
                    <a:pt x="232" y="206"/>
                  </a:lnTo>
                  <a:lnTo>
                    <a:pt x="212" y="207"/>
                  </a:lnTo>
                  <a:lnTo>
                    <a:pt x="208" y="207"/>
                  </a:lnTo>
                  <a:lnTo>
                    <a:pt x="204" y="207"/>
                  </a:lnTo>
                  <a:lnTo>
                    <a:pt x="201" y="206"/>
                  </a:lnTo>
                  <a:lnTo>
                    <a:pt x="198" y="204"/>
                  </a:lnTo>
                  <a:lnTo>
                    <a:pt x="196" y="202"/>
                  </a:lnTo>
                  <a:lnTo>
                    <a:pt x="193" y="200"/>
                  </a:lnTo>
                  <a:lnTo>
                    <a:pt x="192" y="196"/>
                  </a:lnTo>
                  <a:lnTo>
                    <a:pt x="192" y="192"/>
                  </a:lnTo>
                  <a:lnTo>
                    <a:pt x="193" y="188"/>
                  </a:lnTo>
                  <a:lnTo>
                    <a:pt x="194" y="184"/>
                  </a:lnTo>
                  <a:lnTo>
                    <a:pt x="197" y="181"/>
                  </a:lnTo>
                  <a:lnTo>
                    <a:pt x="199" y="179"/>
                  </a:lnTo>
                  <a:lnTo>
                    <a:pt x="205" y="176"/>
                  </a:lnTo>
                  <a:lnTo>
                    <a:pt x="214" y="174"/>
                  </a:lnTo>
                  <a:lnTo>
                    <a:pt x="232" y="172"/>
                  </a:lnTo>
                  <a:lnTo>
                    <a:pt x="246" y="174"/>
                  </a:lnTo>
                  <a:lnTo>
                    <a:pt x="265" y="176"/>
                  </a:lnTo>
                  <a:lnTo>
                    <a:pt x="290" y="180"/>
                  </a:lnTo>
                  <a:lnTo>
                    <a:pt x="315" y="184"/>
                  </a:lnTo>
                  <a:lnTo>
                    <a:pt x="338" y="186"/>
                  </a:lnTo>
                  <a:lnTo>
                    <a:pt x="365" y="186"/>
                  </a:lnTo>
                  <a:lnTo>
                    <a:pt x="386" y="184"/>
                  </a:lnTo>
                  <a:lnTo>
                    <a:pt x="394" y="183"/>
                  </a:lnTo>
                  <a:lnTo>
                    <a:pt x="403" y="181"/>
                  </a:lnTo>
                  <a:lnTo>
                    <a:pt x="411" y="178"/>
                  </a:lnTo>
                  <a:lnTo>
                    <a:pt x="418" y="174"/>
                  </a:lnTo>
                  <a:lnTo>
                    <a:pt x="379" y="172"/>
                  </a:lnTo>
                  <a:lnTo>
                    <a:pt x="344" y="172"/>
                  </a:lnTo>
                  <a:lnTo>
                    <a:pt x="336" y="172"/>
                  </a:lnTo>
                  <a:lnTo>
                    <a:pt x="328" y="171"/>
                  </a:lnTo>
                  <a:lnTo>
                    <a:pt x="322" y="169"/>
                  </a:lnTo>
                  <a:lnTo>
                    <a:pt x="315" y="167"/>
                  </a:lnTo>
                  <a:lnTo>
                    <a:pt x="310" y="164"/>
                  </a:lnTo>
                  <a:lnTo>
                    <a:pt x="305" y="160"/>
                  </a:lnTo>
                  <a:lnTo>
                    <a:pt x="302" y="155"/>
                  </a:lnTo>
                  <a:lnTo>
                    <a:pt x="299" y="149"/>
                  </a:lnTo>
                  <a:lnTo>
                    <a:pt x="309" y="145"/>
                  </a:lnTo>
                  <a:lnTo>
                    <a:pt x="320" y="142"/>
                  </a:lnTo>
                  <a:lnTo>
                    <a:pt x="331" y="140"/>
                  </a:lnTo>
                  <a:lnTo>
                    <a:pt x="345" y="138"/>
                  </a:lnTo>
                  <a:lnTo>
                    <a:pt x="378" y="137"/>
                  </a:lnTo>
                  <a:lnTo>
                    <a:pt x="425" y="137"/>
                  </a:lnTo>
                  <a:lnTo>
                    <a:pt x="426" y="141"/>
                  </a:lnTo>
                  <a:lnTo>
                    <a:pt x="429" y="146"/>
                  </a:lnTo>
                  <a:lnTo>
                    <a:pt x="434" y="150"/>
                  </a:lnTo>
                  <a:lnTo>
                    <a:pt x="438" y="155"/>
                  </a:lnTo>
                  <a:lnTo>
                    <a:pt x="484" y="155"/>
                  </a:lnTo>
                  <a:lnTo>
                    <a:pt x="483" y="146"/>
                  </a:lnTo>
                  <a:lnTo>
                    <a:pt x="481" y="137"/>
                  </a:lnTo>
                  <a:lnTo>
                    <a:pt x="479" y="130"/>
                  </a:lnTo>
                  <a:lnTo>
                    <a:pt x="478" y="124"/>
                  </a:lnTo>
                  <a:lnTo>
                    <a:pt x="645" y="124"/>
                  </a:lnTo>
                  <a:lnTo>
                    <a:pt x="648" y="109"/>
                  </a:lnTo>
                  <a:lnTo>
                    <a:pt x="651" y="101"/>
                  </a:lnTo>
                  <a:lnTo>
                    <a:pt x="657" y="95"/>
                  </a:lnTo>
                  <a:lnTo>
                    <a:pt x="664" y="87"/>
                  </a:lnTo>
                  <a:lnTo>
                    <a:pt x="653" y="91"/>
                  </a:lnTo>
                  <a:lnTo>
                    <a:pt x="638" y="99"/>
                  </a:lnTo>
                  <a:lnTo>
                    <a:pt x="622" y="108"/>
                  </a:lnTo>
                  <a:lnTo>
                    <a:pt x="611" y="111"/>
                  </a:lnTo>
                  <a:lnTo>
                    <a:pt x="589" y="110"/>
                  </a:lnTo>
                  <a:lnTo>
                    <a:pt x="556" y="108"/>
                  </a:lnTo>
                  <a:lnTo>
                    <a:pt x="522" y="106"/>
                  </a:lnTo>
                  <a:lnTo>
                    <a:pt x="491" y="105"/>
                  </a:lnTo>
                  <a:lnTo>
                    <a:pt x="476" y="107"/>
                  </a:lnTo>
                  <a:lnTo>
                    <a:pt x="449" y="111"/>
                  </a:lnTo>
                  <a:lnTo>
                    <a:pt x="414" y="115"/>
                  </a:lnTo>
                  <a:lnTo>
                    <a:pt x="376" y="119"/>
                  </a:lnTo>
                  <a:lnTo>
                    <a:pt x="355" y="120"/>
                  </a:lnTo>
                  <a:lnTo>
                    <a:pt x="333" y="119"/>
                  </a:lnTo>
                  <a:lnTo>
                    <a:pt x="312" y="116"/>
                  </a:lnTo>
                  <a:lnTo>
                    <a:pt x="291" y="113"/>
                  </a:lnTo>
                  <a:lnTo>
                    <a:pt x="281" y="111"/>
                  </a:lnTo>
                  <a:lnTo>
                    <a:pt x="271" y="108"/>
                  </a:lnTo>
                  <a:lnTo>
                    <a:pt x="261" y="105"/>
                  </a:lnTo>
                  <a:lnTo>
                    <a:pt x="253" y="101"/>
                  </a:lnTo>
                  <a:lnTo>
                    <a:pt x="244" y="97"/>
                  </a:lnTo>
                  <a:lnTo>
                    <a:pt x="235" y="92"/>
                  </a:lnTo>
                  <a:lnTo>
                    <a:pt x="226" y="87"/>
                  </a:lnTo>
                  <a:lnTo>
                    <a:pt x="219" y="81"/>
                  </a:lnTo>
                  <a:lnTo>
                    <a:pt x="219" y="80"/>
                  </a:lnTo>
                  <a:lnTo>
                    <a:pt x="221" y="79"/>
                  </a:lnTo>
                  <a:lnTo>
                    <a:pt x="223" y="78"/>
                  </a:lnTo>
                  <a:lnTo>
                    <a:pt x="227" y="76"/>
                  </a:lnTo>
                  <a:lnTo>
                    <a:pt x="238" y="74"/>
                  </a:lnTo>
                  <a:lnTo>
                    <a:pt x="253" y="71"/>
                  </a:lnTo>
                  <a:lnTo>
                    <a:pt x="290" y="66"/>
                  </a:lnTo>
                  <a:lnTo>
                    <a:pt x="334" y="60"/>
                  </a:lnTo>
                  <a:lnTo>
                    <a:pt x="378" y="55"/>
                  </a:lnTo>
                  <a:lnTo>
                    <a:pt x="417" y="50"/>
                  </a:lnTo>
                  <a:lnTo>
                    <a:pt x="446" y="47"/>
                  </a:lnTo>
                  <a:lnTo>
                    <a:pt x="458" y="44"/>
                  </a:lnTo>
                  <a:lnTo>
                    <a:pt x="545" y="44"/>
                  </a:lnTo>
                  <a:lnTo>
                    <a:pt x="591" y="32"/>
                  </a:lnTo>
                  <a:lnTo>
                    <a:pt x="605" y="33"/>
                  </a:lnTo>
                  <a:lnTo>
                    <a:pt x="618" y="32"/>
                  </a:lnTo>
                  <a:lnTo>
                    <a:pt x="631" y="31"/>
                  </a:lnTo>
                  <a:lnTo>
                    <a:pt x="642" y="28"/>
                  </a:lnTo>
                  <a:lnTo>
                    <a:pt x="653" y="25"/>
                  </a:lnTo>
                  <a:lnTo>
                    <a:pt x="664" y="22"/>
                  </a:lnTo>
                  <a:lnTo>
                    <a:pt x="674" y="20"/>
                  </a:lnTo>
                  <a:lnTo>
                    <a:pt x="684" y="20"/>
                  </a:lnTo>
                  <a:lnTo>
                    <a:pt x="707" y="21"/>
                  </a:lnTo>
                  <a:lnTo>
                    <a:pt x="723" y="23"/>
                  </a:lnTo>
                  <a:lnTo>
                    <a:pt x="737" y="25"/>
                  </a:lnTo>
                  <a:lnTo>
                    <a:pt x="757" y="26"/>
                  </a:lnTo>
                  <a:lnTo>
                    <a:pt x="764" y="2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66" name="Freeform 418"/>
            <p:cNvSpPr>
              <a:spLocks/>
            </p:cNvSpPr>
            <p:nvPr/>
          </p:nvSpPr>
          <p:spPr bwMode="auto">
            <a:xfrm>
              <a:off x="553" y="1660"/>
              <a:ext cx="51" cy="38"/>
            </a:xfrm>
            <a:custGeom>
              <a:avLst/>
              <a:gdLst>
                <a:gd name="T0" fmla="*/ 0 w 160"/>
                <a:gd name="T1" fmla="*/ 0 h 117"/>
                <a:gd name="T2" fmla="*/ 1 w 160"/>
                <a:gd name="T3" fmla="*/ 10 h 117"/>
                <a:gd name="T4" fmla="*/ 4 w 160"/>
                <a:gd name="T5" fmla="*/ 19 h 117"/>
                <a:gd name="T6" fmla="*/ 9 w 160"/>
                <a:gd name="T7" fmla="*/ 29 h 117"/>
                <a:gd name="T8" fmla="*/ 15 w 160"/>
                <a:gd name="T9" fmla="*/ 39 h 117"/>
                <a:gd name="T10" fmla="*/ 22 w 160"/>
                <a:gd name="T11" fmla="*/ 48 h 117"/>
                <a:gd name="T12" fmla="*/ 31 w 160"/>
                <a:gd name="T13" fmla="*/ 59 h 117"/>
                <a:gd name="T14" fmla="*/ 41 w 160"/>
                <a:gd name="T15" fmla="*/ 68 h 117"/>
                <a:gd name="T16" fmla="*/ 51 w 160"/>
                <a:gd name="T17" fmla="*/ 77 h 117"/>
                <a:gd name="T18" fmla="*/ 62 w 160"/>
                <a:gd name="T19" fmla="*/ 85 h 117"/>
                <a:gd name="T20" fmla="*/ 73 w 160"/>
                <a:gd name="T21" fmla="*/ 93 h 117"/>
                <a:gd name="T22" fmla="*/ 84 w 160"/>
                <a:gd name="T23" fmla="*/ 99 h 117"/>
                <a:gd name="T24" fmla="*/ 95 w 160"/>
                <a:gd name="T25" fmla="*/ 105 h 117"/>
                <a:gd name="T26" fmla="*/ 106 w 160"/>
                <a:gd name="T27" fmla="*/ 111 h 117"/>
                <a:gd name="T28" fmla="*/ 116 w 160"/>
                <a:gd name="T29" fmla="*/ 114 h 117"/>
                <a:gd name="T30" fmla="*/ 124 w 160"/>
                <a:gd name="T31" fmla="*/ 117 h 117"/>
                <a:gd name="T32" fmla="*/ 133 w 160"/>
                <a:gd name="T33" fmla="*/ 117 h 117"/>
                <a:gd name="T34" fmla="*/ 139 w 160"/>
                <a:gd name="T35" fmla="*/ 116 h 117"/>
                <a:gd name="T36" fmla="*/ 146 w 160"/>
                <a:gd name="T37" fmla="*/ 113 h 117"/>
                <a:gd name="T38" fmla="*/ 153 w 160"/>
                <a:gd name="T39" fmla="*/ 110 h 117"/>
                <a:gd name="T40" fmla="*/ 160 w 160"/>
                <a:gd name="T41" fmla="*/ 104 h 117"/>
                <a:gd name="T42" fmla="*/ 150 w 160"/>
                <a:gd name="T43" fmla="*/ 91 h 117"/>
                <a:gd name="T44" fmla="*/ 141 w 160"/>
                <a:gd name="T45" fmla="*/ 79 h 117"/>
                <a:gd name="T46" fmla="*/ 138 w 160"/>
                <a:gd name="T47" fmla="*/ 73 h 117"/>
                <a:gd name="T48" fmla="*/ 135 w 160"/>
                <a:gd name="T49" fmla="*/ 66 h 117"/>
                <a:gd name="T50" fmla="*/ 133 w 160"/>
                <a:gd name="T51" fmla="*/ 58 h 117"/>
                <a:gd name="T52" fmla="*/ 133 w 160"/>
                <a:gd name="T53" fmla="*/ 49 h 117"/>
                <a:gd name="T54" fmla="*/ 127 w 160"/>
                <a:gd name="T55" fmla="*/ 48 h 117"/>
                <a:gd name="T56" fmla="*/ 118 w 160"/>
                <a:gd name="T57" fmla="*/ 45 h 117"/>
                <a:gd name="T58" fmla="*/ 108 w 160"/>
                <a:gd name="T59" fmla="*/ 40 h 117"/>
                <a:gd name="T60" fmla="*/ 97 w 160"/>
                <a:gd name="T61" fmla="*/ 34 h 117"/>
                <a:gd name="T62" fmla="*/ 87 w 160"/>
                <a:gd name="T63" fmla="*/ 28 h 117"/>
                <a:gd name="T64" fmla="*/ 77 w 160"/>
                <a:gd name="T65" fmla="*/ 21 h 117"/>
                <a:gd name="T66" fmla="*/ 74 w 160"/>
                <a:gd name="T67" fmla="*/ 17 h 117"/>
                <a:gd name="T68" fmla="*/ 71 w 160"/>
                <a:gd name="T69" fmla="*/ 13 h 117"/>
                <a:gd name="T70" fmla="*/ 68 w 160"/>
                <a:gd name="T71" fmla="*/ 10 h 117"/>
                <a:gd name="T72" fmla="*/ 66 w 160"/>
                <a:gd name="T73" fmla="*/ 6 h 117"/>
                <a:gd name="T74" fmla="*/ 60 w 160"/>
                <a:gd name="T75" fmla="*/ 6 h 117"/>
                <a:gd name="T76" fmla="*/ 52 w 160"/>
                <a:gd name="T77" fmla="*/ 6 h 117"/>
                <a:gd name="T78" fmla="*/ 43 w 160"/>
                <a:gd name="T79" fmla="*/ 4 h 117"/>
                <a:gd name="T80" fmla="*/ 33 w 160"/>
                <a:gd name="T81" fmla="*/ 0 h 117"/>
                <a:gd name="T82" fmla="*/ 0 w 160"/>
                <a:gd name="T83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60" h="117">
                  <a:moveTo>
                    <a:pt x="0" y="0"/>
                  </a:moveTo>
                  <a:lnTo>
                    <a:pt x="1" y="10"/>
                  </a:lnTo>
                  <a:lnTo>
                    <a:pt x="4" y="19"/>
                  </a:lnTo>
                  <a:lnTo>
                    <a:pt x="9" y="29"/>
                  </a:lnTo>
                  <a:lnTo>
                    <a:pt x="15" y="39"/>
                  </a:lnTo>
                  <a:lnTo>
                    <a:pt x="22" y="48"/>
                  </a:lnTo>
                  <a:lnTo>
                    <a:pt x="31" y="59"/>
                  </a:lnTo>
                  <a:lnTo>
                    <a:pt x="41" y="68"/>
                  </a:lnTo>
                  <a:lnTo>
                    <a:pt x="51" y="77"/>
                  </a:lnTo>
                  <a:lnTo>
                    <a:pt x="62" y="85"/>
                  </a:lnTo>
                  <a:lnTo>
                    <a:pt x="73" y="93"/>
                  </a:lnTo>
                  <a:lnTo>
                    <a:pt x="84" y="99"/>
                  </a:lnTo>
                  <a:lnTo>
                    <a:pt x="95" y="105"/>
                  </a:lnTo>
                  <a:lnTo>
                    <a:pt x="106" y="111"/>
                  </a:lnTo>
                  <a:lnTo>
                    <a:pt x="116" y="114"/>
                  </a:lnTo>
                  <a:lnTo>
                    <a:pt x="124" y="117"/>
                  </a:lnTo>
                  <a:lnTo>
                    <a:pt x="133" y="117"/>
                  </a:lnTo>
                  <a:lnTo>
                    <a:pt x="139" y="116"/>
                  </a:lnTo>
                  <a:lnTo>
                    <a:pt x="146" y="113"/>
                  </a:lnTo>
                  <a:lnTo>
                    <a:pt x="153" y="110"/>
                  </a:lnTo>
                  <a:lnTo>
                    <a:pt x="160" y="104"/>
                  </a:lnTo>
                  <a:lnTo>
                    <a:pt x="150" y="91"/>
                  </a:lnTo>
                  <a:lnTo>
                    <a:pt x="141" y="79"/>
                  </a:lnTo>
                  <a:lnTo>
                    <a:pt x="138" y="73"/>
                  </a:lnTo>
                  <a:lnTo>
                    <a:pt x="135" y="66"/>
                  </a:lnTo>
                  <a:lnTo>
                    <a:pt x="133" y="58"/>
                  </a:lnTo>
                  <a:lnTo>
                    <a:pt x="133" y="49"/>
                  </a:lnTo>
                  <a:lnTo>
                    <a:pt x="127" y="48"/>
                  </a:lnTo>
                  <a:lnTo>
                    <a:pt x="118" y="45"/>
                  </a:lnTo>
                  <a:lnTo>
                    <a:pt x="108" y="40"/>
                  </a:lnTo>
                  <a:lnTo>
                    <a:pt x="97" y="34"/>
                  </a:lnTo>
                  <a:lnTo>
                    <a:pt x="87" y="28"/>
                  </a:lnTo>
                  <a:lnTo>
                    <a:pt x="77" y="21"/>
                  </a:lnTo>
                  <a:lnTo>
                    <a:pt x="74" y="17"/>
                  </a:lnTo>
                  <a:lnTo>
                    <a:pt x="71" y="13"/>
                  </a:lnTo>
                  <a:lnTo>
                    <a:pt x="68" y="10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52" y="6"/>
                  </a:lnTo>
                  <a:lnTo>
                    <a:pt x="43" y="4"/>
                  </a:lnTo>
                  <a:lnTo>
                    <a:pt x="3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67" name="Freeform 419"/>
            <p:cNvSpPr>
              <a:spLocks/>
            </p:cNvSpPr>
            <p:nvPr/>
          </p:nvSpPr>
          <p:spPr bwMode="auto">
            <a:xfrm>
              <a:off x="527" y="1592"/>
              <a:ext cx="26" cy="46"/>
            </a:xfrm>
            <a:custGeom>
              <a:avLst/>
              <a:gdLst>
                <a:gd name="T0" fmla="*/ 40 w 80"/>
                <a:gd name="T1" fmla="*/ 123 h 141"/>
                <a:gd name="T2" fmla="*/ 80 w 80"/>
                <a:gd name="T3" fmla="*/ 36 h 141"/>
                <a:gd name="T4" fmla="*/ 80 w 80"/>
                <a:gd name="T5" fmla="*/ 18 h 141"/>
                <a:gd name="T6" fmla="*/ 68 w 80"/>
                <a:gd name="T7" fmla="*/ 17 h 141"/>
                <a:gd name="T8" fmla="*/ 59 w 80"/>
                <a:gd name="T9" fmla="*/ 16 h 141"/>
                <a:gd name="T10" fmla="*/ 53 w 80"/>
                <a:gd name="T11" fmla="*/ 14 h 141"/>
                <a:gd name="T12" fmla="*/ 47 w 80"/>
                <a:gd name="T13" fmla="*/ 11 h 141"/>
                <a:gd name="T14" fmla="*/ 44 w 80"/>
                <a:gd name="T15" fmla="*/ 8 h 141"/>
                <a:gd name="T16" fmla="*/ 42 w 80"/>
                <a:gd name="T17" fmla="*/ 5 h 141"/>
                <a:gd name="T18" fmla="*/ 41 w 80"/>
                <a:gd name="T19" fmla="*/ 2 h 141"/>
                <a:gd name="T20" fmla="*/ 40 w 80"/>
                <a:gd name="T21" fmla="*/ 0 h 141"/>
                <a:gd name="T22" fmla="*/ 0 w 80"/>
                <a:gd name="T23" fmla="*/ 0 h 141"/>
                <a:gd name="T24" fmla="*/ 0 w 80"/>
                <a:gd name="T25" fmla="*/ 23 h 141"/>
                <a:gd name="T26" fmla="*/ 0 w 80"/>
                <a:gd name="T27" fmla="*/ 40 h 141"/>
                <a:gd name="T28" fmla="*/ 0 w 80"/>
                <a:gd name="T29" fmla="*/ 52 h 141"/>
                <a:gd name="T30" fmla="*/ 0 w 80"/>
                <a:gd name="T31" fmla="*/ 61 h 141"/>
                <a:gd name="T32" fmla="*/ 1 w 80"/>
                <a:gd name="T33" fmla="*/ 69 h 141"/>
                <a:gd name="T34" fmla="*/ 3 w 80"/>
                <a:gd name="T35" fmla="*/ 78 h 141"/>
                <a:gd name="T36" fmla="*/ 7 w 80"/>
                <a:gd name="T37" fmla="*/ 88 h 141"/>
                <a:gd name="T38" fmla="*/ 11 w 80"/>
                <a:gd name="T39" fmla="*/ 99 h 141"/>
                <a:gd name="T40" fmla="*/ 20 w 80"/>
                <a:gd name="T41" fmla="*/ 121 h 141"/>
                <a:gd name="T42" fmla="*/ 27 w 80"/>
                <a:gd name="T43" fmla="*/ 141 h 141"/>
                <a:gd name="T44" fmla="*/ 31 w 80"/>
                <a:gd name="T45" fmla="*/ 135 h 141"/>
                <a:gd name="T46" fmla="*/ 33 w 80"/>
                <a:gd name="T47" fmla="*/ 129 h 141"/>
                <a:gd name="T48" fmla="*/ 34 w 80"/>
                <a:gd name="T49" fmla="*/ 127 h 141"/>
                <a:gd name="T50" fmla="*/ 36 w 80"/>
                <a:gd name="T51" fmla="*/ 125 h 141"/>
                <a:gd name="T52" fmla="*/ 38 w 80"/>
                <a:gd name="T53" fmla="*/ 123 h 141"/>
                <a:gd name="T54" fmla="*/ 40 w 80"/>
                <a:gd name="T55" fmla="*/ 12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0" h="141">
                  <a:moveTo>
                    <a:pt x="40" y="123"/>
                  </a:moveTo>
                  <a:lnTo>
                    <a:pt x="80" y="36"/>
                  </a:lnTo>
                  <a:lnTo>
                    <a:pt x="80" y="18"/>
                  </a:lnTo>
                  <a:lnTo>
                    <a:pt x="68" y="17"/>
                  </a:lnTo>
                  <a:lnTo>
                    <a:pt x="59" y="16"/>
                  </a:lnTo>
                  <a:lnTo>
                    <a:pt x="53" y="14"/>
                  </a:lnTo>
                  <a:lnTo>
                    <a:pt x="47" y="11"/>
                  </a:lnTo>
                  <a:lnTo>
                    <a:pt x="44" y="8"/>
                  </a:lnTo>
                  <a:lnTo>
                    <a:pt x="42" y="5"/>
                  </a:lnTo>
                  <a:lnTo>
                    <a:pt x="41" y="2"/>
                  </a:lnTo>
                  <a:lnTo>
                    <a:pt x="40" y="0"/>
                  </a:lnTo>
                  <a:lnTo>
                    <a:pt x="0" y="0"/>
                  </a:lnTo>
                  <a:lnTo>
                    <a:pt x="0" y="23"/>
                  </a:lnTo>
                  <a:lnTo>
                    <a:pt x="0" y="40"/>
                  </a:lnTo>
                  <a:lnTo>
                    <a:pt x="0" y="52"/>
                  </a:lnTo>
                  <a:lnTo>
                    <a:pt x="0" y="61"/>
                  </a:lnTo>
                  <a:lnTo>
                    <a:pt x="1" y="69"/>
                  </a:lnTo>
                  <a:lnTo>
                    <a:pt x="3" y="78"/>
                  </a:lnTo>
                  <a:lnTo>
                    <a:pt x="7" y="88"/>
                  </a:lnTo>
                  <a:lnTo>
                    <a:pt x="11" y="99"/>
                  </a:lnTo>
                  <a:lnTo>
                    <a:pt x="20" y="121"/>
                  </a:lnTo>
                  <a:lnTo>
                    <a:pt x="27" y="141"/>
                  </a:lnTo>
                  <a:lnTo>
                    <a:pt x="31" y="135"/>
                  </a:lnTo>
                  <a:lnTo>
                    <a:pt x="33" y="129"/>
                  </a:lnTo>
                  <a:lnTo>
                    <a:pt x="34" y="127"/>
                  </a:lnTo>
                  <a:lnTo>
                    <a:pt x="36" y="125"/>
                  </a:lnTo>
                  <a:lnTo>
                    <a:pt x="38" y="123"/>
                  </a:lnTo>
                  <a:lnTo>
                    <a:pt x="40" y="12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68" name="Freeform 420"/>
            <p:cNvSpPr>
              <a:spLocks/>
            </p:cNvSpPr>
            <p:nvPr/>
          </p:nvSpPr>
          <p:spPr bwMode="auto">
            <a:xfrm>
              <a:off x="1379" y="1383"/>
              <a:ext cx="83" cy="41"/>
            </a:xfrm>
            <a:custGeom>
              <a:avLst/>
              <a:gdLst>
                <a:gd name="T0" fmla="*/ 0 w 259"/>
                <a:gd name="T1" fmla="*/ 93 h 124"/>
                <a:gd name="T2" fmla="*/ 0 w 259"/>
                <a:gd name="T3" fmla="*/ 96 h 124"/>
                <a:gd name="T4" fmla="*/ 2 w 259"/>
                <a:gd name="T5" fmla="*/ 100 h 124"/>
                <a:gd name="T6" fmla="*/ 4 w 259"/>
                <a:gd name="T7" fmla="*/ 103 h 124"/>
                <a:gd name="T8" fmla="*/ 6 w 259"/>
                <a:gd name="T9" fmla="*/ 106 h 124"/>
                <a:gd name="T10" fmla="*/ 14 w 259"/>
                <a:gd name="T11" fmla="*/ 111 h 124"/>
                <a:gd name="T12" fmla="*/ 23 w 259"/>
                <a:gd name="T13" fmla="*/ 115 h 124"/>
                <a:gd name="T14" fmla="*/ 31 w 259"/>
                <a:gd name="T15" fmla="*/ 120 h 124"/>
                <a:gd name="T16" fmla="*/ 41 w 259"/>
                <a:gd name="T17" fmla="*/ 122 h 124"/>
                <a:gd name="T18" fmla="*/ 51 w 259"/>
                <a:gd name="T19" fmla="*/ 124 h 124"/>
                <a:gd name="T20" fmla="*/ 60 w 259"/>
                <a:gd name="T21" fmla="*/ 124 h 124"/>
                <a:gd name="T22" fmla="*/ 68 w 259"/>
                <a:gd name="T23" fmla="*/ 124 h 124"/>
                <a:gd name="T24" fmla="*/ 75 w 259"/>
                <a:gd name="T25" fmla="*/ 123 h 124"/>
                <a:gd name="T26" fmla="*/ 81 w 259"/>
                <a:gd name="T27" fmla="*/ 122 h 124"/>
                <a:gd name="T28" fmla="*/ 87 w 259"/>
                <a:gd name="T29" fmla="*/ 120 h 124"/>
                <a:gd name="T30" fmla="*/ 97 w 259"/>
                <a:gd name="T31" fmla="*/ 114 h 124"/>
                <a:gd name="T32" fmla="*/ 106 w 259"/>
                <a:gd name="T33" fmla="*/ 108 h 124"/>
                <a:gd name="T34" fmla="*/ 115 w 259"/>
                <a:gd name="T35" fmla="*/ 103 h 124"/>
                <a:gd name="T36" fmla="*/ 125 w 259"/>
                <a:gd name="T37" fmla="*/ 98 h 124"/>
                <a:gd name="T38" fmla="*/ 130 w 259"/>
                <a:gd name="T39" fmla="*/ 96 h 124"/>
                <a:gd name="T40" fmla="*/ 137 w 259"/>
                <a:gd name="T41" fmla="*/ 94 h 124"/>
                <a:gd name="T42" fmla="*/ 145 w 259"/>
                <a:gd name="T43" fmla="*/ 93 h 124"/>
                <a:gd name="T44" fmla="*/ 152 w 259"/>
                <a:gd name="T45" fmla="*/ 93 h 124"/>
                <a:gd name="T46" fmla="*/ 162 w 259"/>
                <a:gd name="T47" fmla="*/ 94 h 124"/>
                <a:gd name="T48" fmla="*/ 171 w 259"/>
                <a:gd name="T49" fmla="*/ 96 h 124"/>
                <a:gd name="T50" fmla="*/ 180 w 259"/>
                <a:gd name="T51" fmla="*/ 99 h 124"/>
                <a:gd name="T52" fmla="*/ 188 w 259"/>
                <a:gd name="T53" fmla="*/ 103 h 124"/>
                <a:gd name="T54" fmla="*/ 204 w 259"/>
                <a:gd name="T55" fmla="*/ 111 h 124"/>
                <a:gd name="T56" fmla="*/ 219 w 259"/>
                <a:gd name="T57" fmla="*/ 117 h 124"/>
                <a:gd name="T58" fmla="*/ 259 w 259"/>
                <a:gd name="T59" fmla="*/ 117 h 124"/>
                <a:gd name="T60" fmla="*/ 259 w 259"/>
                <a:gd name="T61" fmla="*/ 99 h 124"/>
                <a:gd name="T62" fmla="*/ 252 w 259"/>
                <a:gd name="T63" fmla="*/ 98 h 124"/>
                <a:gd name="T64" fmla="*/ 244 w 259"/>
                <a:gd name="T65" fmla="*/ 96 h 124"/>
                <a:gd name="T66" fmla="*/ 236 w 259"/>
                <a:gd name="T67" fmla="*/ 94 h 124"/>
                <a:gd name="T68" fmla="*/ 226 w 259"/>
                <a:gd name="T69" fmla="*/ 93 h 124"/>
                <a:gd name="T70" fmla="*/ 230 w 259"/>
                <a:gd name="T71" fmla="*/ 85 h 124"/>
                <a:gd name="T72" fmla="*/ 236 w 259"/>
                <a:gd name="T73" fmla="*/ 79 h 124"/>
                <a:gd name="T74" fmla="*/ 240 w 259"/>
                <a:gd name="T75" fmla="*/ 74 h 124"/>
                <a:gd name="T76" fmla="*/ 246 w 259"/>
                <a:gd name="T77" fmla="*/ 69 h 124"/>
                <a:gd name="T78" fmla="*/ 238 w 259"/>
                <a:gd name="T79" fmla="*/ 61 h 124"/>
                <a:gd name="T80" fmla="*/ 230 w 259"/>
                <a:gd name="T81" fmla="*/ 56 h 124"/>
                <a:gd name="T82" fmla="*/ 222 w 259"/>
                <a:gd name="T83" fmla="*/ 50 h 124"/>
                <a:gd name="T84" fmla="*/ 214 w 259"/>
                <a:gd name="T85" fmla="*/ 46 h 124"/>
                <a:gd name="T86" fmla="*/ 197 w 259"/>
                <a:gd name="T87" fmla="*/ 37 h 124"/>
                <a:gd name="T88" fmla="*/ 182 w 259"/>
                <a:gd name="T89" fmla="*/ 30 h 124"/>
                <a:gd name="T90" fmla="*/ 166 w 259"/>
                <a:gd name="T91" fmla="*/ 23 h 124"/>
                <a:gd name="T92" fmla="*/ 153 w 259"/>
                <a:gd name="T93" fmla="*/ 17 h 124"/>
                <a:gd name="T94" fmla="*/ 147 w 259"/>
                <a:gd name="T95" fmla="*/ 13 h 124"/>
                <a:gd name="T96" fmla="*/ 141 w 259"/>
                <a:gd name="T97" fmla="*/ 10 h 124"/>
                <a:gd name="T98" fmla="*/ 137 w 259"/>
                <a:gd name="T99" fmla="*/ 5 h 124"/>
                <a:gd name="T100" fmla="*/ 132 w 259"/>
                <a:gd name="T101" fmla="*/ 0 h 124"/>
                <a:gd name="T102" fmla="*/ 124 w 259"/>
                <a:gd name="T103" fmla="*/ 3 h 124"/>
                <a:gd name="T104" fmla="*/ 114 w 259"/>
                <a:gd name="T105" fmla="*/ 7 h 124"/>
                <a:gd name="T106" fmla="*/ 105 w 259"/>
                <a:gd name="T107" fmla="*/ 12 h 124"/>
                <a:gd name="T108" fmla="*/ 95 w 259"/>
                <a:gd name="T109" fmla="*/ 17 h 124"/>
                <a:gd name="T110" fmla="*/ 75 w 259"/>
                <a:gd name="T111" fmla="*/ 29 h 124"/>
                <a:gd name="T112" fmla="*/ 57 w 259"/>
                <a:gd name="T113" fmla="*/ 42 h 124"/>
                <a:gd name="T114" fmla="*/ 38 w 259"/>
                <a:gd name="T115" fmla="*/ 56 h 124"/>
                <a:gd name="T116" fmla="*/ 23 w 259"/>
                <a:gd name="T117" fmla="*/ 70 h 124"/>
                <a:gd name="T118" fmla="*/ 9 w 259"/>
                <a:gd name="T119" fmla="*/ 83 h 124"/>
                <a:gd name="T120" fmla="*/ 0 w 259"/>
                <a:gd name="T121" fmla="*/ 93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59" h="124">
                  <a:moveTo>
                    <a:pt x="0" y="93"/>
                  </a:moveTo>
                  <a:lnTo>
                    <a:pt x="0" y="96"/>
                  </a:lnTo>
                  <a:lnTo>
                    <a:pt x="2" y="100"/>
                  </a:lnTo>
                  <a:lnTo>
                    <a:pt x="4" y="103"/>
                  </a:lnTo>
                  <a:lnTo>
                    <a:pt x="6" y="106"/>
                  </a:lnTo>
                  <a:lnTo>
                    <a:pt x="14" y="111"/>
                  </a:lnTo>
                  <a:lnTo>
                    <a:pt x="23" y="115"/>
                  </a:lnTo>
                  <a:lnTo>
                    <a:pt x="31" y="120"/>
                  </a:lnTo>
                  <a:lnTo>
                    <a:pt x="41" y="122"/>
                  </a:lnTo>
                  <a:lnTo>
                    <a:pt x="51" y="124"/>
                  </a:lnTo>
                  <a:lnTo>
                    <a:pt x="60" y="124"/>
                  </a:lnTo>
                  <a:lnTo>
                    <a:pt x="68" y="124"/>
                  </a:lnTo>
                  <a:lnTo>
                    <a:pt x="75" y="123"/>
                  </a:lnTo>
                  <a:lnTo>
                    <a:pt x="81" y="122"/>
                  </a:lnTo>
                  <a:lnTo>
                    <a:pt x="87" y="120"/>
                  </a:lnTo>
                  <a:lnTo>
                    <a:pt x="97" y="114"/>
                  </a:lnTo>
                  <a:lnTo>
                    <a:pt x="106" y="108"/>
                  </a:lnTo>
                  <a:lnTo>
                    <a:pt x="115" y="103"/>
                  </a:lnTo>
                  <a:lnTo>
                    <a:pt x="125" y="98"/>
                  </a:lnTo>
                  <a:lnTo>
                    <a:pt x="130" y="96"/>
                  </a:lnTo>
                  <a:lnTo>
                    <a:pt x="137" y="94"/>
                  </a:lnTo>
                  <a:lnTo>
                    <a:pt x="145" y="93"/>
                  </a:lnTo>
                  <a:lnTo>
                    <a:pt x="152" y="93"/>
                  </a:lnTo>
                  <a:lnTo>
                    <a:pt x="162" y="94"/>
                  </a:lnTo>
                  <a:lnTo>
                    <a:pt x="171" y="96"/>
                  </a:lnTo>
                  <a:lnTo>
                    <a:pt x="180" y="99"/>
                  </a:lnTo>
                  <a:lnTo>
                    <a:pt x="188" y="103"/>
                  </a:lnTo>
                  <a:lnTo>
                    <a:pt x="204" y="111"/>
                  </a:lnTo>
                  <a:lnTo>
                    <a:pt x="219" y="117"/>
                  </a:lnTo>
                  <a:lnTo>
                    <a:pt x="259" y="117"/>
                  </a:lnTo>
                  <a:lnTo>
                    <a:pt x="259" y="99"/>
                  </a:lnTo>
                  <a:lnTo>
                    <a:pt x="252" y="98"/>
                  </a:lnTo>
                  <a:lnTo>
                    <a:pt x="244" y="96"/>
                  </a:lnTo>
                  <a:lnTo>
                    <a:pt x="236" y="94"/>
                  </a:lnTo>
                  <a:lnTo>
                    <a:pt x="226" y="93"/>
                  </a:lnTo>
                  <a:lnTo>
                    <a:pt x="230" y="85"/>
                  </a:lnTo>
                  <a:lnTo>
                    <a:pt x="236" y="79"/>
                  </a:lnTo>
                  <a:lnTo>
                    <a:pt x="240" y="74"/>
                  </a:lnTo>
                  <a:lnTo>
                    <a:pt x="246" y="69"/>
                  </a:lnTo>
                  <a:lnTo>
                    <a:pt x="238" y="61"/>
                  </a:lnTo>
                  <a:lnTo>
                    <a:pt x="230" y="56"/>
                  </a:lnTo>
                  <a:lnTo>
                    <a:pt x="222" y="50"/>
                  </a:lnTo>
                  <a:lnTo>
                    <a:pt x="214" y="46"/>
                  </a:lnTo>
                  <a:lnTo>
                    <a:pt x="197" y="37"/>
                  </a:lnTo>
                  <a:lnTo>
                    <a:pt x="182" y="30"/>
                  </a:lnTo>
                  <a:lnTo>
                    <a:pt x="166" y="23"/>
                  </a:lnTo>
                  <a:lnTo>
                    <a:pt x="153" y="17"/>
                  </a:lnTo>
                  <a:lnTo>
                    <a:pt x="147" y="13"/>
                  </a:lnTo>
                  <a:lnTo>
                    <a:pt x="141" y="10"/>
                  </a:lnTo>
                  <a:lnTo>
                    <a:pt x="137" y="5"/>
                  </a:lnTo>
                  <a:lnTo>
                    <a:pt x="132" y="0"/>
                  </a:lnTo>
                  <a:lnTo>
                    <a:pt x="124" y="3"/>
                  </a:lnTo>
                  <a:lnTo>
                    <a:pt x="114" y="7"/>
                  </a:lnTo>
                  <a:lnTo>
                    <a:pt x="105" y="12"/>
                  </a:lnTo>
                  <a:lnTo>
                    <a:pt x="95" y="17"/>
                  </a:lnTo>
                  <a:lnTo>
                    <a:pt x="75" y="29"/>
                  </a:lnTo>
                  <a:lnTo>
                    <a:pt x="57" y="42"/>
                  </a:lnTo>
                  <a:lnTo>
                    <a:pt x="38" y="56"/>
                  </a:lnTo>
                  <a:lnTo>
                    <a:pt x="23" y="70"/>
                  </a:lnTo>
                  <a:lnTo>
                    <a:pt x="9" y="83"/>
                  </a:lnTo>
                  <a:lnTo>
                    <a:pt x="0" y="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69" name="Freeform 421"/>
            <p:cNvSpPr>
              <a:spLocks/>
            </p:cNvSpPr>
            <p:nvPr/>
          </p:nvSpPr>
          <p:spPr bwMode="auto">
            <a:xfrm>
              <a:off x="1509" y="1389"/>
              <a:ext cx="38" cy="19"/>
            </a:xfrm>
            <a:custGeom>
              <a:avLst/>
              <a:gdLst>
                <a:gd name="T0" fmla="*/ 0 w 119"/>
                <a:gd name="T1" fmla="*/ 32 h 57"/>
                <a:gd name="T2" fmla="*/ 7 w 119"/>
                <a:gd name="T3" fmla="*/ 35 h 57"/>
                <a:gd name="T4" fmla="*/ 14 w 119"/>
                <a:gd name="T5" fmla="*/ 38 h 57"/>
                <a:gd name="T6" fmla="*/ 20 w 119"/>
                <a:gd name="T7" fmla="*/ 42 h 57"/>
                <a:gd name="T8" fmla="*/ 26 w 119"/>
                <a:gd name="T9" fmla="*/ 47 h 57"/>
                <a:gd name="T10" fmla="*/ 32 w 119"/>
                <a:gd name="T11" fmla="*/ 51 h 57"/>
                <a:gd name="T12" fmla="*/ 36 w 119"/>
                <a:gd name="T13" fmla="*/ 54 h 57"/>
                <a:gd name="T14" fmla="*/ 41 w 119"/>
                <a:gd name="T15" fmla="*/ 56 h 57"/>
                <a:gd name="T16" fmla="*/ 47 w 119"/>
                <a:gd name="T17" fmla="*/ 57 h 57"/>
                <a:gd name="T18" fmla="*/ 55 w 119"/>
                <a:gd name="T19" fmla="*/ 57 h 57"/>
                <a:gd name="T20" fmla="*/ 62 w 119"/>
                <a:gd name="T21" fmla="*/ 56 h 57"/>
                <a:gd name="T22" fmla="*/ 70 w 119"/>
                <a:gd name="T23" fmla="*/ 55 h 57"/>
                <a:gd name="T24" fmla="*/ 77 w 119"/>
                <a:gd name="T25" fmla="*/ 53 h 57"/>
                <a:gd name="T26" fmla="*/ 83 w 119"/>
                <a:gd name="T27" fmla="*/ 50 h 57"/>
                <a:gd name="T28" fmla="*/ 89 w 119"/>
                <a:gd name="T29" fmla="*/ 48 h 57"/>
                <a:gd name="T30" fmla="*/ 93 w 119"/>
                <a:gd name="T31" fmla="*/ 44 h 57"/>
                <a:gd name="T32" fmla="*/ 97 w 119"/>
                <a:gd name="T33" fmla="*/ 40 h 57"/>
                <a:gd name="T34" fmla="*/ 106 w 119"/>
                <a:gd name="T35" fmla="*/ 32 h 57"/>
                <a:gd name="T36" fmla="*/ 112 w 119"/>
                <a:gd name="T37" fmla="*/ 23 h 57"/>
                <a:gd name="T38" fmla="*/ 116 w 119"/>
                <a:gd name="T39" fmla="*/ 13 h 57"/>
                <a:gd name="T40" fmla="*/ 119 w 119"/>
                <a:gd name="T41" fmla="*/ 1 h 57"/>
                <a:gd name="T42" fmla="*/ 101 w 119"/>
                <a:gd name="T43" fmla="*/ 0 h 57"/>
                <a:gd name="T44" fmla="*/ 82 w 119"/>
                <a:gd name="T45" fmla="*/ 0 h 57"/>
                <a:gd name="T46" fmla="*/ 63 w 119"/>
                <a:gd name="T47" fmla="*/ 2 h 57"/>
                <a:gd name="T48" fmla="*/ 45 w 119"/>
                <a:gd name="T49" fmla="*/ 5 h 57"/>
                <a:gd name="T50" fmla="*/ 36 w 119"/>
                <a:gd name="T51" fmla="*/ 7 h 57"/>
                <a:gd name="T52" fmla="*/ 28 w 119"/>
                <a:gd name="T53" fmla="*/ 10 h 57"/>
                <a:gd name="T54" fmla="*/ 22 w 119"/>
                <a:gd name="T55" fmla="*/ 13 h 57"/>
                <a:gd name="T56" fmla="*/ 15 w 119"/>
                <a:gd name="T57" fmla="*/ 16 h 57"/>
                <a:gd name="T58" fmla="*/ 10 w 119"/>
                <a:gd name="T59" fmla="*/ 19 h 57"/>
                <a:gd name="T60" fmla="*/ 5 w 119"/>
                <a:gd name="T61" fmla="*/ 23 h 57"/>
                <a:gd name="T62" fmla="*/ 2 w 119"/>
                <a:gd name="T63" fmla="*/ 27 h 57"/>
                <a:gd name="T64" fmla="*/ 0 w 119"/>
                <a:gd name="T65" fmla="*/ 32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9" h="57">
                  <a:moveTo>
                    <a:pt x="0" y="32"/>
                  </a:moveTo>
                  <a:lnTo>
                    <a:pt x="7" y="35"/>
                  </a:lnTo>
                  <a:lnTo>
                    <a:pt x="14" y="38"/>
                  </a:lnTo>
                  <a:lnTo>
                    <a:pt x="20" y="42"/>
                  </a:lnTo>
                  <a:lnTo>
                    <a:pt x="26" y="47"/>
                  </a:lnTo>
                  <a:lnTo>
                    <a:pt x="32" y="51"/>
                  </a:lnTo>
                  <a:lnTo>
                    <a:pt x="36" y="54"/>
                  </a:lnTo>
                  <a:lnTo>
                    <a:pt x="41" y="56"/>
                  </a:lnTo>
                  <a:lnTo>
                    <a:pt x="47" y="57"/>
                  </a:lnTo>
                  <a:lnTo>
                    <a:pt x="55" y="57"/>
                  </a:lnTo>
                  <a:lnTo>
                    <a:pt x="62" y="56"/>
                  </a:lnTo>
                  <a:lnTo>
                    <a:pt x="70" y="55"/>
                  </a:lnTo>
                  <a:lnTo>
                    <a:pt x="77" y="53"/>
                  </a:lnTo>
                  <a:lnTo>
                    <a:pt x="83" y="50"/>
                  </a:lnTo>
                  <a:lnTo>
                    <a:pt x="89" y="48"/>
                  </a:lnTo>
                  <a:lnTo>
                    <a:pt x="93" y="44"/>
                  </a:lnTo>
                  <a:lnTo>
                    <a:pt x="97" y="40"/>
                  </a:lnTo>
                  <a:lnTo>
                    <a:pt x="106" y="32"/>
                  </a:lnTo>
                  <a:lnTo>
                    <a:pt x="112" y="23"/>
                  </a:lnTo>
                  <a:lnTo>
                    <a:pt x="116" y="13"/>
                  </a:lnTo>
                  <a:lnTo>
                    <a:pt x="119" y="1"/>
                  </a:lnTo>
                  <a:lnTo>
                    <a:pt x="101" y="0"/>
                  </a:lnTo>
                  <a:lnTo>
                    <a:pt x="82" y="0"/>
                  </a:lnTo>
                  <a:lnTo>
                    <a:pt x="63" y="2"/>
                  </a:lnTo>
                  <a:lnTo>
                    <a:pt x="45" y="5"/>
                  </a:lnTo>
                  <a:lnTo>
                    <a:pt x="36" y="7"/>
                  </a:lnTo>
                  <a:lnTo>
                    <a:pt x="28" y="10"/>
                  </a:lnTo>
                  <a:lnTo>
                    <a:pt x="22" y="13"/>
                  </a:lnTo>
                  <a:lnTo>
                    <a:pt x="15" y="16"/>
                  </a:lnTo>
                  <a:lnTo>
                    <a:pt x="10" y="19"/>
                  </a:lnTo>
                  <a:lnTo>
                    <a:pt x="5" y="23"/>
                  </a:lnTo>
                  <a:lnTo>
                    <a:pt x="2" y="27"/>
                  </a:lnTo>
                  <a:lnTo>
                    <a:pt x="0" y="3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70" name="Freeform 422"/>
            <p:cNvSpPr>
              <a:spLocks/>
            </p:cNvSpPr>
            <p:nvPr/>
          </p:nvSpPr>
          <p:spPr bwMode="auto">
            <a:xfrm>
              <a:off x="1554" y="1335"/>
              <a:ext cx="34" cy="17"/>
            </a:xfrm>
            <a:custGeom>
              <a:avLst/>
              <a:gdLst>
                <a:gd name="T0" fmla="*/ 0 w 107"/>
                <a:gd name="T1" fmla="*/ 50 h 52"/>
                <a:gd name="T2" fmla="*/ 6 w 107"/>
                <a:gd name="T3" fmla="*/ 51 h 52"/>
                <a:gd name="T4" fmla="*/ 9 w 107"/>
                <a:gd name="T5" fmla="*/ 52 h 52"/>
                <a:gd name="T6" fmla="*/ 13 w 107"/>
                <a:gd name="T7" fmla="*/ 52 h 52"/>
                <a:gd name="T8" fmla="*/ 17 w 107"/>
                <a:gd name="T9" fmla="*/ 52 h 52"/>
                <a:gd name="T10" fmla="*/ 24 w 107"/>
                <a:gd name="T11" fmla="*/ 50 h 52"/>
                <a:gd name="T12" fmla="*/ 34 w 107"/>
                <a:gd name="T13" fmla="*/ 50 h 52"/>
                <a:gd name="T14" fmla="*/ 43 w 107"/>
                <a:gd name="T15" fmla="*/ 49 h 52"/>
                <a:gd name="T16" fmla="*/ 53 w 107"/>
                <a:gd name="T17" fmla="*/ 48 h 52"/>
                <a:gd name="T18" fmla="*/ 62 w 107"/>
                <a:gd name="T19" fmla="*/ 47 h 52"/>
                <a:gd name="T20" fmla="*/ 70 w 107"/>
                <a:gd name="T21" fmla="*/ 43 h 52"/>
                <a:gd name="T22" fmla="*/ 79 w 107"/>
                <a:gd name="T23" fmla="*/ 40 h 52"/>
                <a:gd name="T24" fmla="*/ 88 w 107"/>
                <a:gd name="T25" fmla="*/ 36 h 52"/>
                <a:gd name="T26" fmla="*/ 97 w 107"/>
                <a:gd name="T27" fmla="*/ 31 h 52"/>
                <a:gd name="T28" fmla="*/ 107 w 107"/>
                <a:gd name="T29" fmla="*/ 24 h 52"/>
                <a:gd name="T30" fmla="*/ 107 w 107"/>
                <a:gd name="T31" fmla="*/ 0 h 52"/>
                <a:gd name="T32" fmla="*/ 98 w 107"/>
                <a:gd name="T33" fmla="*/ 1 h 52"/>
                <a:gd name="T34" fmla="*/ 86 w 107"/>
                <a:gd name="T35" fmla="*/ 3 h 52"/>
                <a:gd name="T36" fmla="*/ 72 w 107"/>
                <a:gd name="T37" fmla="*/ 7 h 52"/>
                <a:gd name="T38" fmla="*/ 56 w 107"/>
                <a:gd name="T39" fmla="*/ 13 h 52"/>
                <a:gd name="T40" fmla="*/ 41 w 107"/>
                <a:gd name="T41" fmla="*/ 20 h 52"/>
                <a:gd name="T42" fmla="*/ 25 w 107"/>
                <a:gd name="T43" fmla="*/ 28 h 52"/>
                <a:gd name="T44" fmla="*/ 19 w 107"/>
                <a:gd name="T45" fmla="*/ 33 h 52"/>
                <a:gd name="T46" fmla="*/ 12 w 107"/>
                <a:gd name="T47" fmla="*/ 38 h 52"/>
                <a:gd name="T48" fmla="*/ 6 w 107"/>
                <a:gd name="T49" fmla="*/ 43 h 52"/>
                <a:gd name="T50" fmla="*/ 0 w 107"/>
                <a:gd name="T51" fmla="*/ 5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7" h="52">
                  <a:moveTo>
                    <a:pt x="0" y="50"/>
                  </a:moveTo>
                  <a:lnTo>
                    <a:pt x="6" y="51"/>
                  </a:lnTo>
                  <a:lnTo>
                    <a:pt x="9" y="52"/>
                  </a:lnTo>
                  <a:lnTo>
                    <a:pt x="13" y="52"/>
                  </a:lnTo>
                  <a:lnTo>
                    <a:pt x="17" y="52"/>
                  </a:lnTo>
                  <a:lnTo>
                    <a:pt x="24" y="50"/>
                  </a:lnTo>
                  <a:lnTo>
                    <a:pt x="34" y="50"/>
                  </a:lnTo>
                  <a:lnTo>
                    <a:pt x="43" y="49"/>
                  </a:lnTo>
                  <a:lnTo>
                    <a:pt x="53" y="48"/>
                  </a:lnTo>
                  <a:lnTo>
                    <a:pt x="62" y="47"/>
                  </a:lnTo>
                  <a:lnTo>
                    <a:pt x="70" y="43"/>
                  </a:lnTo>
                  <a:lnTo>
                    <a:pt x="79" y="40"/>
                  </a:lnTo>
                  <a:lnTo>
                    <a:pt x="88" y="36"/>
                  </a:lnTo>
                  <a:lnTo>
                    <a:pt x="97" y="31"/>
                  </a:lnTo>
                  <a:lnTo>
                    <a:pt x="107" y="24"/>
                  </a:lnTo>
                  <a:lnTo>
                    <a:pt x="107" y="0"/>
                  </a:lnTo>
                  <a:lnTo>
                    <a:pt x="98" y="1"/>
                  </a:lnTo>
                  <a:lnTo>
                    <a:pt x="86" y="3"/>
                  </a:lnTo>
                  <a:lnTo>
                    <a:pt x="72" y="7"/>
                  </a:lnTo>
                  <a:lnTo>
                    <a:pt x="56" y="13"/>
                  </a:lnTo>
                  <a:lnTo>
                    <a:pt x="41" y="20"/>
                  </a:lnTo>
                  <a:lnTo>
                    <a:pt x="25" y="28"/>
                  </a:lnTo>
                  <a:lnTo>
                    <a:pt x="19" y="33"/>
                  </a:lnTo>
                  <a:lnTo>
                    <a:pt x="12" y="38"/>
                  </a:lnTo>
                  <a:lnTo>
                    <a:pt x="6" y="43"/>
                  </a:lnTo>
                  <a:lnTo>
                    <a:pt x="0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71" name="Freeform 423"/>
            <p:cNvSpPr>
              <a:spLocks/>
            </p:cNvSpPr>
            <p:nvPr/>
          </p:nvSpPr>
          <p:spPr bwMode="auto">
            <a:xfrm>
              <a:off x="1381" y="1244"/>
              <a:ext cx="79" cy="32"/>
            </a:xfrm>
            <a:custGeom>
              <a:avLst/>
              <a:gdLst>
                <a:gd name="T0" fmla="*/ 27 w 246"/>
                <a:gd name="T1" fmla="*/ 99 h 99"/>
                <a:gd name="T2" fmla="*/ 22 w 246"/>
                <a:gd name="T3" fmla="*/ 97 h 99"/>
                <a:gd name="T4" fmla="*/ 17 w 246"/>
                <a:gd name="T5" fmla="*/ 96 h 99"/>
                <a:gd name="T6" fmla="*/ 12 w 246"/>
                <a:gd name="T7" fmla="*/ 93 h 99"/>
                <a:gd name="T8" fmla="*/ 9 w 246"/>
                <a:gd name="T9" fmla="*/ 90 h 99"/>
                <a:gd name="T10" fmla="*/ 6 w 246"/>
                <a:gd name="T11" fmla="*/ 86 h 99"/>
                <a:gd name="T12" fmla="*/ 2 w 246"/>
                <a:gd name="T13" fmla="*/ 82 h 99"/>
                <a:gd name="T14" fmla="*/ 1 w 246"/>
                <a:gd name="T15" fmla="*/ 78 h 99"/>
                <a:gd name="T16" fmla="*/ 0 w 246"/>
                <a:gd name="T17" fmla="*/ 73 h 99"/>
                <a:gd name="T18" fmla="*/ 0 w 246"/>
                <a:gd name="T19" fmla="*/ 69 h 99"/>
                <a:gd name="T20" fmla="*/ 1 w 246"/>
                <a:gd name="T21" fmla="*/ 65 h 99"/>
                <a:gd name="T22" fmla="*/ 3 w 246"/>
                <a:gd name="T23" fmla="*/ 60 h 99"/>
                <a:gd name="T24" fmla="*/ 5 w 246"/>
                <a:gd name="T25" fmla="*/ 56 h 99"/>
                <a:gd name="T26" fmla="*/ 10 w 246"/>
                <a:gd name="T27" fmla="*/ 49 h 99"/>
                <a:gd name="T28" fmla="*/ 18 w 246"/>
                <a:gd name="T29" fmla="*/ 41 h 99"/>
                <a:gd name="T30" fmla="*/ 25 w 246"/>
                <a:gd name="T31" fmla="*/ 34 h 99"/>
                <a:gd name="T32" fmla="*/ 35 w 246"/>
                <a:gd name="T33" fmla="*/ 28 h 99"/>
                <a:gd name="T34" fmla="*/ 46 w 246"/>
                <a:gd name="T35" fmla="*/ 23 h 99"/>
                <a:gd name="T36" fmla="*/ 57 w 246"/>
                <a:gd name="T37" fmla="*/ 18 h 99"/>
                <a:gd name="T38" fmla="*/ 69 w 246"/>
                <a:gd name="T39" fmla="*/ 14 h 99"/>
                <a:gd name="T40" fmla="*/ 81 w 246"/>
                <a:gd name="T41" fmla="*/ 10 h 99"/>
                <a:gd name="T42" fmla="*/ 92 w 246"/>
                <a:gd name="T43" fmla="*/ 7 h 99"/>
                <a:gd name="T44" fmla="*/ 104 w 246"/>
                <a:gd name="T45" fmla="*/ 4 h 99"/>
                <a:gd name="T46" fmla="*/ 124 w 246"/>
                <a:gd name="T47" fmla="*/ 1 h 99"/>
                <a:gd name="T48" fmla="*/ 140 w 246"/>
                <a:gd name="T49" fmla="*/ 0 h 99"/>
                <a:gd name="T50" fmla="*/ 168 w 246"/>
                <a:gd name="T51" fmla="*/ 0 h 99"/>
                <a:gd name="T52" fmla="*/ 193 w 246"/>
                <a:gd name="T53" fmla="*/ 1 h 99"/>
                <a:gd name="T54" fmla="*/ 219 w 246"/>
                <a:gd name="T55" fmla="*/ 2 h 99"/>
                <a:gd name="T56" fmla="*/ 246 w 246"/>
                <a:gd name="T57" fmla="*/ 6 h 99"/>
                <a:gd name="T58" fmla="*/ 244 w 246"/>
                <a:gd name="T59" fmla="*/ 11 h 99"/>
                <a:gd name="T60" fmla="*/ 241 w 246"/>
                <a:gd name="T61" fmla="*/ 15 h 99"/>
                <a:gd name="T62" fmla="*/ 236 w 246"/>
                <a:gd name="T63" fmla="*/ 20 h 99"/>
                <a:gd name="T64" fmla="*/ 231 w 246"/>
                <a:gd name="T65" fmla="*/ 26 h 99"/>
                <a:gd name="T66" fmla="*/ 215 w 246"/>
                <a:gd name="T67" fmla="*/ 36 h 99"/>
                <a:gd name="T68" fmla="*/ 199 w 246"/>
                <a:gd name="T69" fmla="*/ 46 h 99"/>
                <a:gd name="T70" fmla="*/ 180 w 246"/>
                <a:gd name="T71" fmla="*/ 55 h 99"/>
                <a:gd name="T72" fmla="*/ 162 w 246"/>
                <a:gd name="T73" fmla="*/ 61 h 99"/>
                <a:gd name="T74" fmla="*/ 152 w 246"/>
                <a:gd name="T75" fmla="*/ 64 h 99"/>
                <a:gd name="T76" fmla="*/ 143 w 246"/>
                <a:gd name="T77" fmla="*/ 66 h 99"/>
                <a:gd name="T78" fmla="*/ 134 w 246"/>
                <a:gd name="T79" fmla="*/ 67 h 99"/>
                <a:gd name="T80" fmla="*/ 126 w 246"/>
                <a:gd name="T81" fmla="*/ 67 h 99"/>
                <a:gd name="T82" fmla="*/ 120 w 246"/>
                <a:gd name="T83" fmla="*/ 67 h 99"/>
                <a:gd name="T84" fmla="*/ 110 w 246"/>
                <a:gd name="T85" fmla="*/ 67 h 99"/>
                <a:gd name="T86" fmla="*/ 100 w 246"/>
                <a:gd name="T87" fmla="*/ 67 h 99"/>
                <a:gd name="T88" fmla="*/ 93 w 246"/>
                <a:gd name="T89" fmla="*/ 67 h 99"/>
                <a:gd name="T90" fmla="*/ 88 w 246"/>
                <a:gd name="T91" fmla="*/ 69 h 99"/>
                <a:gd name="T92" fmla="*/ 80 w 246"/>
                <a:gd name="T93" fmla="*/ 72 h 99"/>
                <a:gd name="T94" fmla="*/ 72 w 246"/>
                <a:gd name="T95" fmla="*/ 77 h 99"/>
                <a:gd name="T96" fmla="*/ 63 w 246"/>
                <a:gd name="T97" fmla="*/ 83 h 99"/>
                <a:gd name="T98" fmla="*/ 53 w 246"/>
                <a:gd name="T99" fmla="*/ 88 h 99"/>
                <a:gd name="T100" fmla="*/ 44 w 246"/>
                <a:gd name="T101" fmla="*/ 93 h 99"/>
                <a:gd name="T102" fmla="*/ 35 w 246"/>
                <a:gd name="T103" fmla="*/ 96 h 99"/>
                <a:gd name="T104" fmla="*/ 27 w 246"/>
                <a:gd name="T10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46" h="99">
                  <a:moveTo>
                    <a:pt x="27" y="99"/>
                  </a:moveTo>
                  <a:lnTo>
                    <a:pt x="22" y="97"/>
                  </a:lnTo>
                  <a:lnTo>
                    <a:pt x="17" y="96"/>
                  </a:lnTo>
                  <a:lnTo>
                    <a:pt x="12" y="93"/>
                  </a:lnTo>
                  <a:lnTo>
                    <a:pt x="9" y="90"/>
                  </a:lnTo>
                  <a:lnTo>
                    <a:pt x="6" y="86"/>
                  </a:lnTo>
                  <a:lnTo>
                    <a:pt x="2" y="82"/>
                  </a:lnTo>
                  <a:lnTo>
                    <a:pt x="1" y="78"/>
                  </a:lnTo>
                  <a:lnTo>
                    <a:pt x="0" y="73"/>
                  </a:lnTo>
                  <a:lnTo>
                    <a:pt x="0" y="69"/>
                  </a:lnTo>
                  <a:lnTo>
                    <a:pt x="1" y="65"/>
                  </a:lnTo>
                  <a:lnTo>
                    <a:pt x="3" y="60"/>
                  </a:lnTo>
                  <a:lnTo>
                    <a:pt x="5" y="56"/>
                  </a:lnTo>
                  <a:lnTo>
                    <a:pt x="10" y="49"/>
                  </a:lnTo>
                  <a:lnTo>
                    <a:pt x="18" y="41"/>
                  </a:lnTo>
                  <a:lnTo>
                    <a:pt x="25" y="34"/>
                  </a:lnTo>
                  <a:lnTo>
                    <a:pt x="35" y="28"/>
                  </a:lnTo>
                  <a:lnTo>
                    <a:pt x="46" y="23"/>
                  </a:lnTo>
                  <a:lnTo>
                    <a:pt x="57" y="18"/>
                  </a:lnTo>
                  <a:lnTo>
                    <a:pt x="69" y="14"/>
                  </a:lnTo>
                  <a:lnTo>
                    <a:pt x="81" y="10"/>
                  </a:lnTo>
                  <a:lnTo>
                    <a:pt x="92" y="7"/>
                  </a:lnTo>
                  <a:lnTo>
                    <a:pt x="104" y="4"/>
                  </a:lnTo>
                  <a:lnTo>
                    <a:pt x="124" y="1"/>
                  </a:lnTo>
                  <a:lnTo>
                    <a:pt x="140" y="0"/>
                  </a:lnTo>
                  <a:lnTo>
                    <a:pt x="168" y="0"/>
                  </a:lnTo>
                  <a:lnTo>
                    <a:pt x="193" y="1"/>
                  </a:lnTo>
                  <a:lnTo>
                    <a:pt x="219" y="2"/>
                  </a:lnTo>
                  <a:lnTo>
                    <a:pt x="246" y="6"/>
                  </a:lnTo>
                  <a:lnTo>
                    <a:pt x="244" y="11"/>
                  </a:lnTo>
                  <a:lnTo>
                    <a:pt x="241" y="15"/>
                  </a:lnTo>
                  <a:lnTo>
                    <a:pt x="236" y="20"/>
                  </a:lnTo>
                  <a:lnTo>
                    <a:pt x="231" y="26"/>
                  </a:lnTo>
                  <a:lnTo>
                    <a:pt x="215" y="36"/>
                  </a:lnTo>
                  <a:lnTo>
                    <a:pt x="199" y="46"/>
                  </a:lnTo>
                  <a:lnTo>
                    <a:pt x="180" y="55"/>
                  </a:lnTo>
                  <a:lnTo>
                    <a:pt x="162" y="61"/>
                  </a:lnTo>
                  <a:lnTo>
                    <a:pt x="152" y="64"/>
                  </a:lnTo>
                  <a:lnTo>
                    <a:pt x="143" y="66"/>
                  </a:lnTo>
                  <a:lnTo>
                    <a:pt x="134" y="67"/>
                  </a:lnTo>
                  <a:lnTo>
                    <a:pt x="126" y="67"/>
                  </a:lnTo>
                  <a:lnTo>
                    <a:pt x="120" y="67"/>
                  </a:lnTo>
                  <a:lnTo>
                    <a:pt x="110" y="67"/>
                  </a:lnTo>
                  <a:lnTo>
                    <a:pt x="100" y="67"/>
                  </a:lnTo>
                  <a:lnTo>
                    <a:pt x="93" y="67"/>
                  </a:lnTo>
                  <a:lnTo>
                    <a:pt x="88" y="69"/>
                  </a:lnTo>
                  <a:lnTo>
                    <a:pt x="80" y="72"/>
                  </a:lnTo>
                  <a:lnTo>
                    <a:pt x="72" y="77"/>
                  </a:lnTo>
                  <a:lnTo>
                    <a:pt x="63" y="83"/>
                  </a:lnTo>
                  <a:lnTo>
                    <a:pt x="53" y="88"/>
                  </a:lnTo>
                  <a:lnTo>
                    <a:pt x="44" y="93"/>
                  </a:lnTo>
                  <a:lnTo>
                    <a:pt x="35" y="96"/>
                  </a:lnTo>
                  <a:lnTo>
                    <a:pt x="27" y="9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72" name="Freeform 424"/>
            <p:cNvSpPr>
              <a:spLocks/>
            </p:cNvSpPr>
            <p:nvPr/>
          </p:nvSpPr>
          <p:spPr bwMode="auto">
            <a:xfrm>
              <a:off x="1294" y="1248"/>
              <a:ext cx="76" cy="40"/>
            </a:xfrm>
            <a:custGeom>
              <a:avLst/>
              <a:gdLst>
                <a:gd name="T0" fmla="*/ 33 w 233"/>
                <a:gd name="T1" fmla="*/ 88 h 123"/>
                <a:gd name="T2" fmla="*/ 10 w 233"/>
                <a:gd name="T3" fmla="*/ 78 h 123"/>
                <a:gd name="T4" fmla="*/ 0 w 233"/>
                <a:gd name="T5" fmla="*/ 55 h 123"/>
                <a:gd name="T6" fmla="*/ 20 w 233"/>
                <a:gd name="T7" fmla="*/ 37 h 123"/>
                <a:gd name="T8" fmla="*/ 40 w 233"/>
                <a:gd name="T9" fmla="*/ 37 h 123"/>
                <a:gd name="T10" fmla="*/ 61 w 233"/>
                <a:gd name="T11" fmla="*/ 37 h 123"/>
                <a:gd name="T12" fmla="*/ 72 w 233"/>
                <a:gd name="T13" fmla="*/ 36 h 123"/>
                <a:gd name="T14" fmla="*/ 83 w 233"/>
                <a:gd name="T15" fmla="*/ 33 h 123"/>
                <a:gd name="T16" fmla="*/ 104 w 233"/>
                <a:gd name="T17" fmla="*/ 23 h 123"/>
                <a:gd name="T18" fmla="*/ 123 w 233"/>
                <a:gd name="T19" fmla="*/ 11 h 123"/>
                <a:gd name="T20" fmla="*/ 146 w 233"/>
                <a:gd name="T21" fmla="*/ 0 h 123"/>
                <a:gd name="T22" fmla="*/ 161 w 233"/>
                <a:gd name="T23" fmla="*/ 8 h 123"/>
                <a:gd name="T24" fmla="*/ 181 w 233"/>
                <a:gd name="T25" fmla="*/ 12 h 123"/>
                <a:gd name="T26" fmla="*/ 190 w 233"/>
                <a:gd name="T27" fmla="*/ 10 h 123"/>
                <a:gd name="T28" fmla="*/ 201 w 233"/>
                <a:gd name="T29" fmla="*/ 6 h 123"/>
                <a:gd name="T30" fmla="*/ 213 w 233"/>
                <a:gd name="T31" fmla="*/ 0 h 123"/>
                <a:gd name="T32" fmla="*/ 232 w 233"/>
                <a:gd name="T33" fmla="*/ 6 h 123"/>
                <a:gd name="T34" fmla="*/ 228 w 233"/>
                <a:gd name="T35" fmla="*/ 18 h 123"/>
                <a:gd name="T36" fmla="*/ 219 w 233"/>
                <a:gd name="T37" fmla="*/ 25 h 123"/>
                <a:gd name="T38" fmla="*/ 207 w 233"/>
                <a:gd name="T39" fmla="*/ 30 h 123"/>
                <a:gd name="T40" fmla="*/ 201 w 233"/>
                <a:gd name="T41" fmla="*/ 43 h 123"/>
                <a:gd name="T42" fmla="*/ 206 w 233"/>
                <a:gd name="T43" fmla="*/ 62 h 123"/>
                <a:gd name="T44" fmla="*/ 185 w 233"/>
                <a:gd name="T45" fmla="*/ 85 h 123"/>
                <a:gd name="T46" fmla="*/ 157 w 233"/>
                <a:gd name="T47" fmla="*/ 96 h 123"/>
                <a:gd name="T48" fmla="*/ 139 w 233"/>
                <a:gd name="T49" fmla="*/ 98 h 123"/>
                <a:gd name="T50" fmla="*/ 116 w 233"/>
                <a:gd name="T51" fmla="*/ 100 h 123"/>
                <a:gd name="T52" fmla="*/ 96 w 233"/>
                <a:gd name="T53" fmla="*/ 106 h 123"/>
                <a:gd name="T54" fmla="*/ 82 w 233"/>
                <a:gd name="T55" fmla="*/ 115 h 123"/>
                <a:gd name="T56" fmla="*/ 67 w 233"/>
                <a:gd name="T57" fmla="*/ 122 h 123"/>
                <a:gd name="T58" fmla="*/ 58 w 233"/>
                <a:gd name="T59" fmla="*/ 122 h 123"/>
                <a:gd name="T60" fmla="*/ 53 w 233"/>
                <a:gd name="T61" fmla="*/ 115 h 123"/>
                <a:gd name="T62" fmla="*/ 48 w 233"/>
                <a:gd name="T63" fmla="*/ 10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33" h="123">
                  <a:moveTo>
                    <a:pt x="47" y="93"/>
                  </a:moveTo>
                  <a:lnTo>
                    <a:pt x="33" y="88"/>
                  </a:lnTo>
                  <a:lnTo>
                    <a:pt x="21" y="83"/>
                  </a:lnTo>
                  <a:lnTo>
                    <a:pt x="10" y="78"/>
                  </a:lnTo>
                  <a:lnTo>
                    <a:pt x="0" y="74"/>
                  </a:lnTo>
                  <a:lnTo>
                    <a:pt x="0" y="55"/>
                  </a:lnTo>
                  <a:lnTo>
                    <a:pt x="10" y="46"/>
                  </a:lnTo>
                  <a:lnTo>
                    <a:pt x="20" y="37"/>
                  </a:lnTo>
                  <a:lnTo>
                    <a:pt x="30" y="37"/>
                  </a:lnTo>
                  <a:lnTo>
                    <a:pt x="40" y="37"/>
                  </a:lnTo>
                  <a:lnTo>
                    <a:pt x="51" y="37"/>
                  </a:lnTo>
                  <a:lnTo>
                    <a:pt x="61" y="37"/>
                  </a:lnTo>
                  <a:lnTo>
                    <a:pt x="66" y="37"/>
                  </a:lnTo>
                  <a:lnTo>
                    <a:pt x="72" y="36"/>
                  </a:lnTo>
                  <a:lnTo>
                    <a:pt x="77" y="35"/>
                  </a:lnTo>
                  <a:lnTo>
                    <a:pt x="83" y="33"/>
                  </a:lnTo>
                  <a:lnTo>
                    <a:pt x="94" y="28"/>
                  </a:lnTo>
                  <a:lnTo>
                    <a:pt x="104" y="23"/>
                  </a:lnTo>
                  <a:lnTo>
                    <a:pt x="114" y="17"/>
                  </a:lnTo>
                  <a:lnTo>
                    <a:pt x="123" y="11"/>
                  </a:lnTo>
                  <a:lnTo>
                    <a:pt x="134" y="5"/>
                  </a:lnTo>
                  <a:lnTo>
                    <a:pt x="146" y="0"/>
                  </a:lnTo>
                  <a:lnTo>
                    <a:pt x="153" y="4"/>
                  </a:lnTo>
                  <a:lnTo>
                    <a:pt x="161" y="8"/>
                  </a:lnTo>
                  <a:lnTo>
                    <a:pt x="171" y="11"/>
                  </a:lnTo>
                  <a:lnTo>
                    <a:pt x="181" y="12"/>
                  </a:lnTo>
                  <a:lnTo>
                    <a:pt x="185" y="12"/>
                  </a:lnTo>
                  <a:lnTo>
                    <a:pt x="190" y="10"/>
                  </a:lnTo>
                  <a:lnTo>
                    <a:pt x="196" y="8"/>
                  </a:lnTo>
                  <a:lnTo>
                    <a:pt x="201" y="6"/>
                  </a:lnTo>
                  <a:lnTo>
                    <a:pt x="210" y="2"/>
                  </a:lnTo>
                  <a:lnTo>
                    <a:pt x="213" y="0"/>
                  </a:lnTo>
                  <a:lnTo>
                    <a:pt x="233" y="0"/>
                  </a:lnTo>
                  <a:lnTo>
                    <a:pt x="232" y="6"/>
                  </a:lnTo>
                  <a:lnTo>
                    <a:pt x="231" y="12"/>
                  </a:lnTo>
                  <a:lnTo>
                    <a:pt x="228" y="18"/>
                  </a:lnTo>
                  <a:lnTo>
                    <a:pt x="224" y="22"/>
                  </a:lnTo>
                  <a:lnTo>
                    <a:pt x="219" y="25"/>
                  </a:lnTo>
                  <a:lnTo>
                    <a:pt x="213" y="28"/>
                  </a:lnTo>
                  <a:lnTo>
                    <a:pt x="207" y="30"/>
                  </a:lnTo>
                  <a:lnTo>
                    <a:pt x="200" y="30"/>
                  </a:lnTo>
                  <a:lnTo>
                    <a:pt x="201" y="43"/>
                  </a:lnTo>
                  <a:lnTo>
                    <a:pt x="204" y="52"/>
                  </a:lnTo>
                  <a:lnTo>
                    <a:pt x="206" y="62"/>
                  </a:lnTo>
                  <a:lnTo>
                    <a:pt x="207" y="74"/>
                  </a:lnTo>
                  <a:lnTo>
                    <a:pt x="185" y="85"/>
                  </a:lnTo>
                  <a:lnTo>
                    <a:pt x="166" y="93"/>
                  </a:lnTo>
                  <a:lnTo>
                    <a:pt x="157" y="96"/>
                  </a:lnTo>
                  <a:lnTo>
                    <a:pt x="149" y="98"/>
                  </a:lnTo>
                  <a:lnTo>
                    <a:pt x="139" y="98"/>
                  </a:lnTo>
                  <a:lnTo>
                    <a:pt x="127" y="99"/>
                  </a:lnTo>
                  <a:lnTo>
                    <a:pt x="116" y="100"/>
                  </a:lnTo>
                  <a:lnTo>
                    <a:pt x="105" y="103"/>
                  </a:lnTo>
                  <a:lnTo>
                    <a:pt x="96" y="106"/>
                  </a:lnTo>
                  <a:lnTo>
                    <a:pt x="88" y="111"/>
                  </a:lnTo>
                  <a:lnTo>
                    <a:pt x="82" y="115"/>
                  </a:lnTo>
                  <a:lnTo>
                    <a:pt x="74" y="119"/>
                  </a:lnTo>
                  <a:lnTo>
                    <a:pt x="67" y="122"/>
                  </a:lnTo>
                  <a:lnTo>
                    <a:pt x="61" y="123"/>
                  </a:lnTo>
                  <a:lnTo>
                    <a:pt x="58" y="122"/>
                  </a:lnTo>
                  <a:lnTo>
                    <a:pt x="55" y="119"/>
                  </a:lnTo>
                  <a:lnTo>
                    <a:pt x="53" y="115"/>
                  </a:lnTo>
                  <a:lnTo>
                    <a:pt x="51" y="110"/>
                  </a:lnTo>
                  <a:lnTo>
                    <a:pt x="48" y="100"/>
                  </a:lnTo>
                  <a:lnTo>
                    <a:pt x="47" y="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73" name="Freeform 425"/>
            <p:cNvSpPr>
              <a:spLocks/>
            </p:cNvSpPr>
            <p:nvPr/>
          </p:nvSpPr>
          <p:spPr bwMode="auto">
            <a:xfrm>
              <a:off x="983" y="1236"/>
              <a:ext cx="157" cy="56"/>
            </a:xfrm>
            <a:custGeom>
              <a:avLst/>
              <a:gdLst>
                <a:gd name="T0" fmla="*/ 0 w 484"/>
                <a:gd name="T1" fmla="*/ 147 h 172"/>
                <a:gd name="T2" fmla="*/ 3 w 484"/>
                <a:gd name="T3" fmla="*/ 156 h 172"/>
                <a:gd name="T4" fmla="*/ 9 w 484"/>
                <a:gd name="T5" fmla="*/ 162 h 172"/>
                <a:gd name="T6" fmla="*/ 17 w 484"/>
                <a:gd name="T7" fmla="*/ 167 h 172"/>
                <a:gd name="T8" fmla="*/ 31 w 484"/>
                <a:gd name="T9" fmla="*/ 170 h 172"/>
                <a:gd name="T10" fmla="*/ 51 w 484"/>
                <a:gd name="T11" fmla="*/ 172 h 172"/>
                <a:gd name="T12" fmla="*/ 73 w 484"/>
                <a:gd name="T13" fmla="*/ 172 h 172"/>
                <a:gd name="T14" fmla="*/ 99 w 484"/>
                <a:gd name="T15" fmla="*/ 167 h 172"/>
                <a:gd name="T16" fmla="*/ 139 w 484"/>
                <a:gd name="T17" fmla="*/ 156 h 172"/>
                <a:gd name="T18" fmla="*/ 189 w 484"/>
                <a:gd name="T19" fmla="*/ 135 h 172"/>
                <a:gd name="T20" fmla="*/ 240 w 484"/>
                <a:gd name="T21" fmla="*/ 113 h 172"/>
                <a:gd name="T22" fmla="*/ 287 w 484"/>
                <a:gd name="T23" fmla="*/ 100 h 172"/>
                <a:gd name="T24" fmla="*/ 350 w 484"/>
                <a:gd name="T25" fmla="*/ 87 h 172"/>
                <a:gd name="T26" fmla="*/ 401 w 484"/>
                <a:gd name="T27" fmla="*/ 75 h 172"/>
                <a:gd name="T28" fmla="*/ 434 w 484"/>
                <a:gd name="T29" fmla="*/ 64 h 172"/>
                <a:gd name="T30" fmla="*/ 461 w 484"/>
                <a:gd name="T31" fmla="*/ 52 h 172"/>
                <a:gd name="T32" fmla="*/ 475 w 484"/>
                <a:gd name="T33" fmla="*/ 42 h 172"/>
                <a:gd name="T34" fmla="*/ 482 w 484"/>
                <a:gd name="T35" fmla="*/ 35 h 172"/>
                <a:gd name="T36" fmla="*/ 449 w 484"/>
                <a:gd name="T37" fmla="*/ 26 h 172"/>
                <a:gd name="T38" fmla="*/ 387 w 484"/>
                <a:gd name="T39" fmla="*/ 16 h 172"/>
                <a:gd name="T40" fmla="*/ 331 w 484"/>
                <a:gd name="T41" fmla="*/ 6 h 172"/>
                <a:gd name="T42" fmla="*/ 272 w 484"/>
                <a:gd name="T43" fmla="*/ 0 h 172"/>
                <a:gd name="T44" fmla="*/ 225 w 484"/>
                <a:gd name="T45" fmla="*/ 0 h 172"/>
                <a:gd name="T46" fmla="*/ 203 w 484"/>
                <a:gd name="T47" fmla="*/ 4 h 172"/>
                <a:gd name="T48" fmla="*/ 186 w 484"/>
                <a:gd name="T49" fmla="*/ 8 h 172"/>
                <a:gd name="T50" fmla="*/ 176 w 484"/>
                <a:gd name="T51" fmla="*/ 6 h 172"/>
                <a:gd name="T52" fmla="*/ 169 w 484"/>
                <a:gd name="T53" fmla="*/ 3 h 172"/>
                <a:gd name="T54" fmla="*/ 165 w 484"/>
                <a:gd name="T55" fmla="*/ 8 h 172"/>
                <a:gd name="T56" fmla="*/ 161 w 484"/>
                <a:gd name="T57" fmla="*/ 24 h 172"/>
                <a:gd name="T58" fmla="*/ 154 w 484"/>
                <a:gd name="T59" fmla="*/ 36 h 172"/>
                <a:gd name="T60" fmla="*/ 144 w 484"/>
                <a:gd name="T61" fmla="*/ 46 h 172"/>
                <a:gd name="T62" fmla="*/ 127 w 484"/>
                <a:gd name="T63" fmla="*/ 58 h 172"/>
                <a:gd name="T64" fmla="*/ 97 w 484"/>
                <a:gd name="T65" fmla="*/ 69 h 172"/>
                <a:gd name="T66" fmla="*/ 66 w 484"/>
                <a:gd name="T67" fmla="*/ 78 h 172"/>
                <a:gd name="T68" fmla="*/ 38 w 484"/>
                <a:gd name="T69" fmla="*/ 88 h 172"/>
                <a:gd name="T70" fmla="*/ 19 w 484"/>
                <a:gd name="T71" fmla="*/ 98 h 172"/>
                <a:gd name="T72" fmla="*/ 10 w 484"/>
                <a:gd name="T73" fmla="*/ 107 h 172"/>
                <a:gd name="T74" fmla="*/ 3 w 484"/>
                <a:gd name="T75" fmla="*/ 119 h 172"/>
                <a:gd name="T76" fmla="*/ 0 w 484"/>
                <a:gd name="T77" fmla="*/ 134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4" h="172">
                  <a:moveTo>
                    <a:pt x="0" y="142"/>
                  </a:moveTo>
                  <a:lnTo>
                    <a:pt x="0" y="147"/>
                  </a:lnTo>
                  <a:lnTo>
                    <a:pt x="1" y="152"/>
                  </a:lnTo>
                  <a:lnTo>
                    <a:pt x="3" y="156"/>
                  </a:lnTo>
                  <a:lnTo>
                    <a:pt x="6" y="159"/>
                  </a:lnTo>
                  <a:lnTo>
                    <a:pt x="9" y="162"/>
                  </a:lnTo>
                  <a:lnTo>
                    <a:pt x="13" y="165"/>
                  </a:lnTo>
                  <a:lnTo>
                    <a:pt x="17" y="167"/>
                  </a:lnTo>
                  <a:lnTo>
                    <a:pt x="21" y="168"/>
                  </a:lnTo>
                  <a:lnTo>
                    <a:pt x="31" y="170"/>
                  </a:lnTo>
                  <a:lnTo>
                    <a:pt x="41" y="172"/>
                  </a:lnTo>
                  <a:lnTo>
                    <a:pt x="51" y="172"/>
                  </a:lnTo>
                  <a:lnTo>
                    <a:pt x="59" y="172"/>
                  </a:lnTo>
                  <a:lnTo>
                    <a:pt x="73" y="172"/>
                  </a:lnTo>
                  <a:lnTo>
                    <a:pt x="86" y="170"/>
                  </a:lnTo>
                  <a:lnTo>
                    <a:pt x="99" y="167"/>
                  </a:lnTo>
                  <a:lnTo>
                    <a:pt x="113" y="164"/>
                  </a:lnTo>
                  <a:lnTo>
                    <a:pt x="139" y="156"/>
                  </a:lnTo>
                  <a:lnTo>
                    <a:pt x="164" y="146"/>
                  </a:lnTo>
                  <a:lnTo>
                    <a:pt x="189" y="135"/>
                  </a:lnTo>
                  <a:lnTo>
                    <a:pt x="215" y="124"/>
                  </a:lnTo>
                  <a:lnTo>
                    <a:pt x="240" y="113"/>
                  </a:lnTo>
                  <a:lnTo>
                    <a:pt x="265" y="104"/>
                  </a:lnTo>
                  <a:lnTo>
                    <a:pt x="287" y="100"/>
                  </a:lnTo>
                  <a:lnTo>
                    <a:pt x="316" y="94"/>
                  </a:lnTo>
                  <a:lnTo>
                    <a:pt x="350" y="87"/>
                  </a:lnTo>
                  <a:lnTo>
                    <a:pt x="385" y="80"/>
                  </a:lnTo>
                  <a:lnTo>
                    <a:pt x="401" y="75"/>
                  </a:lnTo>
                  <a:lnTo>
                    <a:pt x="418" y="70"/>
                  </a:lnTo>
                  <a:lnTo>
                    <a:pt x="434" y="64"/>
                  </a:lnTo>
                  <a:lnTo>
                    <a:pt x="449" y="58"/>
                  </a:lnTo>
                  <a:lnTo>
                    <a:pt x="461" y="52"/>
                  </a:lnTo>
                  <a:lnTo>
                    <a:pt x="471" y="46"/>
                  </a:lnTo>
                  <a:lnTo>
                    <a:pt x="475" y="42"/>
                  </a:lnTo>
                  <a:lnTo>
                    <a:pt x="479" y="39"/>
                  </a:lnTo>
                  <a:lnTo>
                    <a:pt x="482" y="35"/>
                  </a:lnTo>
                  <a:lnTo>
                    <a:pt x="484" y="31"/>
                  </a:lnTo>
                  <a:lnTo>
                    <a:pt x="449" y="26"/>
                  </a:lnTo>
                  <a:lnTo>
                    <a:pt x="417" y="21"/>
                  </a:lnTo>
                  <a:lnTo>
                    <a:pt x="387" y="16"/>
                  </a:lnTo>
                  <a:lnTo>
                    <a:pt x="359" y="10"/>
                  </a:lnTo>
                  <a:lnTo>
                    <a:pt x="331" y="6"/>
                  </a:lnTo>
                  <a:lnTo>
                    <a:pt x="303" y="3"/>
                  </a:lnTo>
                  <a:lnTo>
                    <a:pt x="272" y="0"/>
                  </a:lnTo>
                  <a:lnTo>
                    <a:pt x="239" y="0"/>
                  </a:lnTo>
                  <a:lnTo>
                    <a:pt x="225" y="0"/>
                  </a:lnTo>
                  <a:lnTo>
                    <a:pt x="213" y="2"/>
                  </a:lnTo>
                  <a:lnTo>
                    <a:pt x="203" y="4"/>
                  </a:lnTo>
                  <a:lnTo>
                    <a:pt x="195" y="6"/>
                  </a:lnTo>
                  <a:lnTo>
                    <a:pt x="186" y="8"/>
                  </a:lnTo>
                  <a:lnTo>
                    <a:pt x="180" y="7"/>
                  </a:lnTo>
                  <a:lnTo>
                    <a:pt x="176" y="6"/>
                  </a:lnTo>
                  <a:lnTo>
                    <a:pt x="173" y="5"/>
                  </a:lnTo>
                  <a:lnTo>
                    <a:pt x="169" y="3"/>
                  </a:lnTo>
                  <a:lnTo>
                    <a:pt x="165" y="0"/>
                  </a:lnTo>
                  <a:lnTo>
                    <a:pt x="165" y="8"/>
                  </a:lnTo>
                  <a:lnTo>
                    <a:pt x="163" y="17"/>
                  </a:lnTo>
                  <a:lnTo>
                    <a:pt x="161" y="24"/>
                  </a:lnTo>
                  <a:lnTo>
                    <a:pt x="159" y="31"/>
                  </a:lnTo>
                  <a:lnTo>
                    <a:pt x="154" y="36"/>
                  </a:lnTo>
                  <a:lnTo>
                    <a:pt x="150" y="42"/>
                  </a:lnTo>
                  <a:lnTo>
                    <a:pt x="144" y="46"/>
                  </a:lnTo>
                  <a:lnTo>
                    <a:pt x="139" y="50"/>
                  </a:lnTo>
                  <a:lnTo>
                    <a:pt x="127" y="58"/>
                  </a:lnTo>
                  <a:lnTo>
                    <a:pt x="113" y="63"/>
                  </a:lnTo>
                  <a:lnTo>
                    <a:pt x="97" y="69"/>
                  </a:lnTo>
                  <a:lnTo>
                    <a:pt x="82" y="73"/>
                  </a:lnTo>
                  <a:lnTo>
                    <a:pt x="66" y="78"/>
                  </a:lnTo>
                  <a:lnTo>
                    <a:pt x="52" y="82"/>
                  </a:lnTo>
                  <a:lnTo>
                    <a:pt x="38" y="88"/>
                  </a:lnTo>
                  <a:lnTo>
                    <a:pt x="25" y="94"/>
                  </a:lnTo>
                  <a:lnTo>
                    <a:pt x="19" y="98"/>
                  </a:lnTo>
                  <a:lnTo>
                    <a:pt x="15" y="103"/>
                  </a:lnTo>
                  <a:lnTo>
                    <a:pt x="10" y="107"/>
                  </a:lnTo>
                  <a:lnTo>
                    <a:pt x="6" y="113"/>
                  </a:lnTo>
                  <a:lnTo>
                    <a:pt x="3" y="119"/>
                  </a:lnTo>
                  <a:lnTo>
                    <a:pt x="1" y="126"/>
                  </a:lnTo>
                  <a:lnTo>
                    <a:pt x="0" y="134"/>
                  </a:lnTo>
                  <a:lnTo>
                    <a:pt x="0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74" name="Freeform 426"/>
            <p:cNvSpPr>
              <a:spLocks/>
            </p:cNvSpPr>
            <p:nvPr/>
          </p:nvSpPr>
          <p:spPr bwMode="auto">
            <a:xfrm>
              <a:off x="1043" y="1255"/>
              <a:ext cx="221" cy="79"/>
            </a:xfrm>
            <a:custGeom>
              <a:avLst/>
              <a:gdLst>
                <a:gd name="T0" fmla="*/ 317 w 684"/>
                <a:gd name="T1" fmla="*/ 5 h 240"/>
                <a:gd name="T2" fmla="*/ 304 w 684"/>
                <a:gd name="T3" fmla="*/ 27 h 240"/>
                <a:gd name="T4" fmla="*/ 297 w 684"/>
                <a:gd name="T5" fmla="*/ 41 h 240"/>
                <a:gd name="T6" fmla="*/ 299 w 684"/>
                <a:gd name="T7" fmla="*/ 43 h 240"/>
                <a:gd name="T8" fmla="*/ 337 w 684"/>
                <a:gd name="T9" fmla="*/ 39 h 240"/>
                <a:gd name="T10" fmla="*/ 372 w 684"/>
                <a:gd name="T11" fmla="*/ 19 h 240"/>
                <a:gd name="T12" fmla="*/ 379 w 684"/>
                <a:gd name="T13" fmla="*/ 38 h 240"/>
                <a:gd name="T14" fmla="*/ 377 w 684"/>
                <a:gd name="T15" fmla="*/ 55 h 240"/>
                <a:gd name="T16" fmla="*/ 405 w 684"/>
                <a:gd name="T17" fmla="*/ 69 h 240"/>
                <a:gd name="T18" fmla="*/ 511 w 684"/>
                <a:gd name="T19" fmla="*/ 51 h 240"/>
                <a:gd name="T20" fmla="*/ 514 w 684"/>
                <a:gd name="T21" fmla="*/ 70 h 240"/>
                <a:gd name="T22" fmla="*/ 541 w 684"/>
                <a:gd name="T23" fmla="*/ 63 h 240"/>
                <a:gd name="T24" fmla="*/ 557 w 684"/>
                <a:gd name="T25" fmla="*/ 45 h 240"/>
                <a:gd name="T26" fmla="*/ 558 w 684"/>
                <a:gd name="T27" fmla="*/ 19 h 240"/>
                <a:gd name="T28" fmla="*/ 563 w 684"/>
                <a:gd name="T29" fmla="*/ 8 h 240"/>
                <a:gd name="T30" fmla="*/ 579 w 684"/>
                <a:gd name="T31" fmla="*/ 0 h 240"/>
                <a:gd name="T32" fmla="*/ 624 w 684"/>
                <a:gd name="T33" fmla="*/ 3 h 240"/>
                <a:gd name="T34" fmla="*/ 645 w 684"/>
                <a:gd name="T35" fmla="*/ 0 h 240"/>
                <a:gd name="T36" fmla="*/ 657 w 684"/>
                <a:gd name="T37" fmla="*/ 39 h 240"/>
                <a:gd name="T38" fmla="*/ 653 w 684"/>
                <a:gd name="T39" fmla="*/ 70 h 240"/>
                <a:gd name="T40" fmla="*/ 637 w 684"/>
                <a:gd name="T41" fmla="*/ 101 h 240"/>
                <a:gd name="T42" fmla="*/ 618 w 684"/>
                <a:gd name="T43" fmla="*/ 124 h 240"/>
                <a:gd name="T44" fmla="*/ 648 w 684"/>
                <a:gd name="T45" fmla="*/ 137 h 240"/>
                <a:gd name="T46" fmla="*/ 672 w 684"/>
                <a:gd name="T47" fmla="*/ 145 h 240"/>
                <a:gd name="T48" fmla="*/ 684 w 684"/>
                <a:gd name="T49" fmla="*/ 180 h 240"/>
                <a:gd name="T50" fmla="*/ 639 w 684"/>
                <a:gd name="T51" fmla="*/ 185 h 240"/>
                <a:gd name="T52" fmla="*/ 608 w 684"/>
                <a:gd name="T53" fmla="*/ 181 h 240"/>
                <a:gd name="T54" fmla="*/ 574 w 684"/>
                <a:gd name="T55" fmla="*/ 180 h 240"/>
                <a:gd name="T56" fmla="*/ 564 w 684"/>
                <a:gd name="T57" fmla="*/ 184 h 240"/>
                <a:gd name="T58" fmla="*/ 542 w 684"/>
                <a:gd name="T59" fmla="*/ 200 h 240"/>
                <a:gd name="T60" fmla="*/ 524 w 684"/>
                <a:gd name="T61" fmla="*/ 209 h 240"/>
                <a:gd name="T62" fmla="*/ 493 w 684"/>
                <a:gd name="T63" fmla="*/ 209 h 240"/>
                <a:gd name="T64" fmla="*/ 452 w 684"/>
                <a:gd name="T65" fmla="*/ 204 h 240"/>
                <a:gd name="T66" fmla="*/ 422 w 684"/>
                <a:gd name="T67" fmla="*/ 198 h 240"/>
                <a:gd name="T68" fmla="*/ 337 w 684"/>
                <a:gd name="T69" fmla="*/ 211 h 240"/>
                <a:gd name="T70" fmla="*/ 231 w 684"/>
                <a:gd name="T71" fmla="*/ 230 h 240"/>
                <a:gd name="T72" fmla="*/ 169 w 684"/>
                <a:gd name="T73" fmla="*/ 238 h 240"/>
                <a:gd name="T74" fmla="*/ 124 w 684"/>
                <a:gd name="T75" fmla="*/ 238 h 240"/>
                <a:gd name="T76" fmla="*/ 100 w 684"/>
                <a:gd name="T77" fmla="*/ 228 h 240"/>
                <a:gd name="T78" fmla="*/ 67 w 684"/>
                <a:gd name="T79" fmla="*/ 208 h 240"/>
                <a:gd name="T80" fmla="*/ 29 w 684"/>
                <a:gd name="T81" fmla="*/ 196 h 240"/>
                <a:gd name="T82" fmla="*/ 0 w 684"/>
                <a:gd name="T83" fmla="*/ 173 h 240"/>
                <a:gd name="T84" fmla="*/ 64 w 684"/>
                <a:gd name="T85" fmla="*/ 159 h 240"/>
                <a:gd name="T86" fmla="*/ 100 w 684"/>
                <a:gd name="T87" fmla="*/ 154 h 240"/>
                <a:gd name="T88" fmla="*/ 156 w 684"/>
                <a:gd name="T89" fmla="*/ 160 h 240"/>
                <a:gd name="T90" fmla="*/ 201 w 684"/>
                <a:gd name="T91" fmla="*/ 165 h 240"/>
                <a:gd name="T92" fmla="*/ 224 w 684"/>
                <a:gd name="T93" fmla="*/ 162 h 240"/>
                <a:gd name="T94" fmla="*/ 26 w 684"/>
                <a:gd name="T95" fmla="*/ 136 h 240"/>
                <a:gd name="T96" fmla="*/ 52 w 684"/>
                <a:gd name="T97" fmla="*/ 128 h 240"/>
                <a:gd name="T98" fmla="*/ 109 w 684"/>
                <a:gd name="T99" fmla="*/ 117 h 240"/>
                <a:gd name="T100" fmla="*/ 165 w 684"/>
                <a:gd name="T101" fmla="*/ 108 h 240"/>
                <a:gd name="T102" fmla="*/ 187 w 684"/>
                <a:gd name="T103" fmla="*/ 99 h 240"/>
                <a:gd name="T104" fmla="*/ 166 w 684"/>
                <a:gd name="T105" fmla="*/ 93 h 240"/>
                <a:gd name="T106" fmla="*/ 125 w 684"/>
                <a:gd name="T107" fmla="*/ 98 h 240"/>
                <a:gd name="T108" fmla="*/ 71 w 684"/>
                <a:gd name="T109" fmla="*/ 110 h 240"/>
                <a:gd name="T110" fmla="*/ 52 w 684"/>
                <a:gd name="T111" fmla="*/ 106 h 240"/>
                <a:gd name="T112" fmla="*/ 55 w 684"/>
                <a:gd name="T113" fmla="*/ 90 h 240"/>
                <a:gd name="T114" fmla="*/ 54 w 684"/>
                <a:gd name="T115" fmla="*/ 81 h 240"/>
                <a:gd name="T116" fmla="*/ 59 w 684"/>
                <a:gd name="T117" fmla="*/ 78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84" h="240">
                  <a:moveTo>
                    <a:pt x="60" y="75"/>
                  </a:moveTo>
                  <a:lnTo>
                    <a:pt x="320" y="0"/>
                  </a:lnTo>
                  <a:lnTo>
                    <a:pt x="317" y="5"/>
                  </a:lnTo>
                  <a:lnTo>
                    <a:pt x="314" y="13"/>
                  </a:lnTo>
                  <a:lnTo>
                    <a:pt x="310" y="20"/>
                  </a:lnTo>
                  <a:lnTo>
                    <a:pt x="304" y="27"/>
                  </a:lnTo>
                  <a:lnTo>
                    <a:pt x="300" y="33"/>
                  </a:lnTo>
                  <a:lnTo>
                    <a:pt x="297" y="39"/>
                  </a:lnTo>
                  <a:lnTo>
                    <a:pt x="297" y="41"/>
                  </a:lnTo>
                  <a:lnTo>
                    <a:pt x="297" y="42"/>
                  </a:lnTo>
                  <a:lnTo>
                    <a:pt x="298" y="43"/>
                  </a:lnTo>
                  <a:lnTo>
                    <a:pt x="299" y="43"/>
                  </a:lnTo>
                  <a:lnTo>
                    <a:pt x="315" y="43"/>
                  </a:lnTo>
                  <a:lnTo>
                    <a:pt x="327" y="41"/>
                  </a:lnTo>
                  <a:lnTo>
                    <a:pt x="337" y="39"/>
                  </a:lnTo>
                  <a:lnTo>
                    <a:pt x="346" y="36"/>
                  </a:lnTo>
                  <a:lnTo>
                    <a:pt x="359" y="28"/>
                  </a:lnTo>
                  <a:lnTo>
                    <a:pt x="372" y="19"/>
                  </a:lnTo>
                  <a:lnTo>
                    <a:pt x="376" y="26"/>
                  </a:lnTo>
                  <a:lnTo>
                    <a:pt x="378" y="32"/>
                  </a:lnTo>
                  <a:lnTo>
                    <a:pt x="379" y="38"/>
                  </a:lnTo>
                  <a:lnTo>
                    <a:pt x="378" y="44"/>
                  </a:lnTo>
                  <a:lnTo>
                    <a:pt x="378" y="49"/>
                  </a:lnTo>
                  <a:lnTo>
                    <a:pt x="377" y="55"/>
                  </a:lnTo>
                  <a:lnTo>
                    <a:pt x="378" y="61"/>
                  </a:lnTo>
                  <a:lnTo>
                    <a:pt x="379" y="69"/>
                  </a:lnTo>
                  <a:lnTo>
                    <a:pt x="405" y="69"/>
                  </a:lnTo>
                  <a:lnTo>
                    <a:pt x="512" y="19"/>
                  </a:lnTo>
                  <a:lnTo>
                    <a:pt x="511" y="36"/>
                  </a:lnTo>
                  <a:lnTo>
                    <a:pt x="511" y="51"/>
                  </a:lnTo>
                  <a:lnTo>
                    <a:pt x="511" y="58"/>
                  </a:lnTo>
                  <a:lnTo>
                    <a:pt x="512" y="65"/>
                  </a:lnTo>
                  <a:lnTo>
                    <a:pt x="514" y="70"/>
                  </a:lnTo>
                  <a:lnTo>
                    <a:pt x="518" y="75"/>
                  </a:lnTo>
                  <a:lnTo>
                    <a:pt x="531" y="68"/>
                  </a:lnTo>
                  <a:lnTo>
                    <a:pt x="541" y="63"/>
                  </a:lnTo>
                  <a:lnTo>
                    <a:pt x="549" y="57"/>
                  </a:lnTo>
                  <a:lnTo>
                    <a:pt x="553" y="51"/>
                  </a:lnTo>
                  <a:lnTo>
                    <a:pt x="557" y="45"/>
                  </a:lnTo>
                  <a:lnTo>
                    <a:pt x="558" y="38"/>
                  </a:lnTo>
                  <a:lnTo>
                    <a:pt x="558" y="30"/>
                  </a:lnTo>
                  <a:lnTo>
                    <a:pt x="558" y="19"/>
                  </a:lnTo>
                  <a:lnTo>
                    <a:pt x="559" y="15"/>
                  </a:lnTo>
                  <a:lnTo>
                    <a:pt x="560" y="11"/>
                  </a:lnTo>
                  <a:lnTo>
                    <a:pt x="563" y="8"/>
                  </a:lnTo>
                  <a:lnTo>
                    <a:pt x="566" y="5"/>
                  </a:lnTo>
                  <a:lnTo>
                    <a:pt x="572" y="1"/>
                  </a:lnTo>
                  <a:lnTo>
                    <a:pt x="579" y="0"/>
                  </a:lnTo>
                  <a:lnTo>
                    <a:pt x="600" y="1"/>
                  </a:lnTo>
                  <a:lnTo>
                    <a:pt x="616" y="2"/>
                  </a:lnTo>
                  <a:lnTo>
                    <a:pt x="624" y="3"/>
                  </a:lnTo>
                  <a:lnTo>
                    <a:pt x="630" y="3"/>
                  </a:lnTo>
                  <a:lnTo>
                    <a:pt x="637" y="2"/>
                  </a:lnTo>
                  <a:lnTo>
                    <a:pt x="645" y="0"/>
                  </a:lnTo>
                  <a:lnTo>
                    <a:pt x="650" y="15"/>
                  </a:lnTo>
                  <a:lnTo>
                    <a:pt x="653" y="28"/>
                  </a:lnTo>
                  <a:lnTo>
                    <a:pt x="657" y="39"/>
                  </a:lnTo>
                  <a:lnTo>
                    <a:pt x="658" y="50"/>
                  </a:lnTo>
                  <a:lnTo>
                    <a:pt x="657" y="59"/>
                  </a:lnTo>
                  <a:lnTo>
                    <a:pt x="653" y="70"/>
                  </a:lnTo>
                  <a:lnTo>
                    <a:pt x="649" y="81"/>
                  </a:lnTo>
                  <a:lnTo>
                    <a:pt x="643" y="91"/>
                  </a:lnTo>
                  <a:lnTo>
                    <a:pt x="637" y="101"/>
                  </a:lnTo>
                  <a:lnTo>
                    <a:pt x="630" y="110"/>
                  </a:lnTo>
                  <a:lnTo>
                    <a:pt x="624" y="119"/>
                  </a:lnTo>
                  <a:lnTo>
                    <a:pt x="618" y="124"/>
                  </a:lnTo>
                  <a:lnTo>
                    <a:pt x="628" y="130"/>
                  </a:lnTo>
                  <a:lnTo>
                    <a:pt x="638" y="134"/>
                  </a:lnTo>
                  <a:lnTo>
                    <a:pt x="648" y="137"/>
                  </a:lnTo>
                  <a:lnTo>
                    <a:pt x="657" y="139"/>
                  </a:lnTo>
                  <a:lnTo>
                    <a:pt x="664" y="142"/>
                  </a:lnTo>
                  <a:lnTo>
                    <a:pt x="672" y="145"/>
                  </a:lnTo>
                  <a:lnTo>
                    <a:pt x="679" y="149"/>
                  </a:lnTo>
                  <a:lnTo>
                    <a:pt x="684" y="154"/>
                  </a:lnTo>
                  <a:lnTo>
                    <a:pt x="684" y="180"/>
                  </a:lnTo>
                  <a:lnTo>
                    <a:pt x="665" y="183"/>
                  </a:lnTo>
                  <a:lnTo>
                    <a:pt x="650" y="185"/>
                  </a:lnTo>
                  <a:lnTo>
                    <a:pt x="639" y="185"/>
                  </a:lnTo>
                  <a:lnTo>
                    <a:pt x="629" y="184"/>
                  </a:lnTo>
                  <a:lnTo>
                    <a:pt x="619" y="183"/>
                  </a:lnTo>
                  <a:lnTo>
                    <a:pt x="608" y="181"/>
                  </a:lnTo>
                  <a:lnTo>
                    <a:pt x="595" y="180"/>
                  </a:lnTo>
                  <a:lnTo>
                    <a:pt x="579" y="180"/>
                  </a:lnTo>
                  <a:lnTo>
                    <a:pt x="574" y="180"/>
                  </a:lnTo>
                  <a:lnTo>
                    <a:pt x="571" y="181"/>
                  </a:lnTo>
                  <a:lnTo>
                    <a:pt x="568" y="182"/>
                  </a:lnTo>
                  <a:lnTo>
                    <a:pt x="564" y="184"/>
                  </a:lnTo>
                  <a:lnTo>
                    <a:pt x="557" y="189"/>
                  </a:lnTo>
                  <a:lnTo>
                    <a:pt x="550" y="195"/>
                  </a:lnTo>
                  <a:lnTo>
                    <a:pt x="542" y="200"/>
                  </a:lnTo>
                  <a:lnTo>
                    <a:pt x="534" y="205"/>
                  </a:lnTo>
                  <a:lnTo>
                    <a:pt x="528" y="207"/>
                  </a:lnTo>
                  <a:lnTo>
                    <a:pt x="524" y="209"/>
                  </a:lnTo>
                  <a:lnTo>
                    <a:pt x="518" y="210"/>
                  </a:lnTo>
                  <a:lnTo>
                    <a:pt x="512" y="210"/>
                  </a:lnTo>
                  <a:lnTo>
                    <a:pt x="493" y="209"/>
                  </a:lnTo>
                  <a:lnTo>
                    <a:pt x="478" y="208"/>
                  </a:lnTo>
                  <a:lnTo>
                    <a:pt x="463" y="206"/>
                  </a:lnTo>
                  <a:lnTo>
                    <a:pt x="452" y="204"/>
                  </a:lnTo>
                  <a:lnTo>
                    <a:pt x="441" y="202"/>
                  </a:lnTo>
                  <a:lnTo>
                    <a:pt x="432" y="200"/>
                  </a:lnTo>
                  <a:lnTo>
                    <a:pt x="422" y="198"/>
                  </a:lnTo>
                  <a:lnTo>
                    <a:pt x="412" y="198"/>
                  </a:lnTo>
                  <a:lnTo>
                    <a:pt x="389" y="202"/>
                  </a:lnTo>
                  <a:lnTo>
                    <a:pt x="337" y="211"/>
                  </a:lnTo>
                  <a:lnTo>
                    <a:pt x="283" y="221"/>
                  </a:lnTo>
                  <a:lnTo>
                    <a:pt x="253" y="228"/>
                  </a:lnTo>
                  <a:lnTo>
                    <a:pt x="231" y="230"/>
                  </a:lnTo>
                  <a:lnTo>
                    <a:pt x="209" y="232"/>
                  </a:lnTo>
                  <a:lnTo>
                    <a:pt x="189" y="235"/>
                  </a:lnTo>
                  <a:lnTo>
                    <a:pt x="169" y="238"/>
                  </a:lnTo>
                  <a:lnTo>
                    <a:pt x="150" y="240"/>
                  </a:lnTo>
                  <a:lnTo>
                    <a:pt x="132" y="239"/>
                  </a:lnTo>
                  <a:lnTo>
                    <a:pt x="124" y="238"/>
                  </a:lnTo>
                  <a:lnTo>
                    <a:pt x="115" y="236"/>
                  </a:lnTo>
                  <a:lnTo>
                    <a:pt x="108" y="233"/>
                  </a:lnTo>
                  <a:lnTo>
                    <a:pt x="100" y="228"/>
                  </a:lnTo>
                  <a:lnTo>
                    <a:pt x="100" y="210"/>
                  </a:lnTo>
                  <a:lnTo>
                    <a:pt x="84" y="209"/>
                  </a:lnTo>
                  <a:lnTo>
                    <a:pt x="67" y="208"/>
                  </a:lnTo>
                  <a:lnTo>
                    <a:pt x="53" y="205"/>
                  </a:lnTo>
                  <a:lnTo>
                    <a:pt x="41" y="201"/>
                  </a:lnTo>
                  <a:lnTo>
                    <a:pt x="29" y="196"/>
                  </a:lnTo>
                  <a:lnTo>
                    <a:pt x="18" y="189"/>
                  </a:lnTo>
                  <a:lnTo>
                    <a:pt x="9" y="182"/>
                  </a:lnTo>
                  <a:lnTo>
                    <a:pt x="0" y="173"/>
                  </a:lnTo>
                  <a:lnTo>
                    <a:pt x="28" y="167"/>
                  </a:lnTo>
                  <a:lnTo>
                    <a:pt x="53" y="161"/>
                  </a:lnTo>
                  <a:lnTo>
                    <a:pt x="64" y="159"/>
                  </a:lnTo>
                  <a:lnTo>
                    <a:pt x="76" y="156"/>
                  </a:lnTo>
                  <a:lnTo>
                    <a:pt x="88" y="155"/>
                  </a:lnTo>
                  <a:lnTo>
                    <a:pt x="100" y="154"/>
                  </a:lnTo>
                  <a:lnTo>
                    <a:pt x="121" y="155"/>
                  </a:lnTo>
                  <a:lnTo>
                    <a:pt x="140" y="157"/>
                  </a:lnTo>
                  <a:lnTo>
                    <a:pt x="156" y="160"/>
                  </a:lnTo>
                  <a:lnTo>
                    <a:pt x="171" y="162"/>
                  </a:lnTo>
                  <a:lnTo>
                    <a:pt x="186" y="164"/>
                  </a:lnTo>
                  <a:lnTo>
                    <a:pt x="201" y="165"/>
                  </a:lnTo>
                  <a:lnTo>
                    <a:pt x="209" y="164"/>
                  </a:lnTo>
                  <a:lnTo>
                    <a:pt x="216" y="164"/>
                  </a:lnTo>
                  <a:lnTo>
                    <a:pt x="224" y="162"/>
                  </a:lnTo>
                  <a:lnTo>
                    <a:pt x="233" y="160"/>
                  </a:lnTo>
                  <a:lnTo>
                    <a:pt x="126" y="142"/>
                  </a:lnTo>
                  <a:lnTo>
                    <a:pt x="26" y="136"/>
                  </a:lnTo>
                  <a:lnTo>
                    <a:pt x="34" y="133"/>
                  </a:lnTo>
                  <a:lnTo>
                    <a:pt x="42" y="130"/>
                  </a:lnTo>
                  <a:lnTo>
                    <a:pt x="52" y="128"/>
                  </a:lnTo>
                  <a:lnTo>
                    <a:pt x="62" y="125"/>
                  </a:lnTo>
                  <a:lnTo>
                    <a:pt x="85" y="122"/>
                  </a:lnTo>
                  <a:lnTo>
                    <a:pt x="109" y="117"/>
                  </a:lnTo>
                  <a:lnTo>
                    <a:pt x="133" y="114"/>
                  </a:lnTo>
                  <a:lnTo>
                    <a:pt x="155" y="110"/>
                  </a:lnTo>
                  <a:lnTo>
                    <a:pt x="165" y="108"/>
                  </a:lnTo>
                  <a:lnTo>
                    <a:pt x="174" y="105"/>
                  </a:lnTo>
                  <a:lnTo>
                    <a:pt x="180" y="102"/>
                  </a:lnTo>
                  <a:lnTo>
                    <a:pt x="187" y="99"/>
                  </a:lnTo>
                  <a:lnTo>
                    <a:pt x="180" y="96"/>
                  </a:lnTo>
                  <a:lnTo>
                    <a:pt x="172" y="94"/>
                  </a:lnTo>
                  <a:lnTo>
                    <a:pt x="166" y="93"/>
                  </a:lnTo>
                  <a:lnTo>
                    <a:pt x="158" y="93"/>
                  </a:lnTo>
                  <a:lnTo>
                    <a:pt x="142" y="95"/>
                  </a:lnTo>
                  <a:lnTo>
                    <a:pt x="125" y="98"/>
                  </a:lnTo>
                  <a:lnTo>
                    <a:pt x="107" y="102"/>
                  </a:lnTo>
                  <a:lnTo>
                    <a:pt x="89" y="107"/>
                  </a:lnTo>
                  <a:lnTo>
                    <a:pt x="71" y="110"/>
                  </a:lnTo>
                  <a:lnTo>
                    <a:pt x="54" y="111"/>
                  </a:lnTo>
                  <a:lnTo>
                    <a:pt x="52" y="110"/>
                  </a:lnTo>
                  <a:lnTo>
                    <a:pt x="52" y="106"/>
                  </a:lnTo>
                  <a:lnTo>
                    <a:pt x="53" y="102"/>
                  </a:lnTo>
                  <a:lnTo>
                    <a:pt x="54" y="96"/>
                  </a:lnTo>
                  <a:lnTo>
                    <a:pt x="55" y="90"/>
                  </a:lnTo>
                  <a:lnTo>
                    <a:pt x="55" y="86"/>
                  </a:lnTo>
                  <a:lnTo>
                    <a:pt x="55" y="82"/>
                  </a:lnTo>
                  <a:lnTo>
                    <a:pt x="54" y="81"/>
                  </a:lnTo>
                  <a:lnTo>
                    <a:pt x="55" y="81"/>
                  </a:lnTo>
                  <a:lnTo>
                    <a:pt x="57" y="80"/>
                  </a:lnTo>
                  <a:lnTo>
                    <a:pt x="59" y="78"/>
                  </a:lnTo>
                  <a:lnTo>
                    <a:pt x="60" y="7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75" name="Freeform 427"/>
            <p:cNvSpPr>
              <a:spLocks/>
            </p:cNvSpPr>
            <p:nvPr/>
          </p:nvSpPr>
          <p:spPr bwMode="auto">
            <a:xfrm>
              <a:off x="1645" y="1643"/>
              <a:ext cx="108" cy="93"/>
            </a:xfrm>
            <a:custGeom>
              <a:avLst/>
              <a:gdLst>
                <a:gd name="T0" fmla="*/ 180 w 332"/>
                <a:gd name="T1" fmla="*/ 38 h 287"/>
                <a:gd name="T2" fmla="*/ 202 w 332"/>
                <a:gd name="T3" fmla="*/ 24 h 287"/>
                <a:gd name="T4" fmla="*/ 226 w 332"/>
                <a:gd name="T5" fmla="*/ 7 h 287"/>
                <a:gd name="T6" fmla="*/ 240 w 332"/>
                <a:gd name="T7" fmla="*/ 1 h 287"/>
                <a:gd name="T8" fmla="*/ 246 w 332"/>
                <a:gd name="T9" fmla="*/ 1 h 287"/>
                <a:gd name="T10" fmla="*/ 245 w 332"/>
                <a:gd name="T11" fmla="*/ 12 h 287"/>
                <a:gd name="T12" fmla="*/ 234 w 332"/>
                <a:gd name="T13" fmla="*/ 33 h 287"/>
                <a:gd name="T14" fmla="*/ 217 w 332"/>
                <a:gd name="T15" fmla="*/ 55 h 287"/>
                <a:gd name="T16" fmla="*/ 202 w 332"/>
                <a:gd name="T17" fmla="*/ 67 h 287"/>
                <a:gd name="T18" fmla="*/ 191 w 332"/>
                <a:gd name="T19" fmla="*/ 71 h 287"/>
                <a:gd name="T20" fmla="*/ 191 w 332"/>
                <a:gd name="T21" fmla="*/ 73 h 287"/>
                <a:gd name="T22" fmla="*/ 201 w 332"/>
                <a:gd name="T23" fmla="*/ 74 h 287"/>
                <a:gd name="T24" fmla="*/ 216 w 332"/>
                <a:gd name="T25" fmla="*/ 72 h 287"/>
                <a:gd name="T26" fmla="*/ 224 w 332"/>
                <a:gd name="T27" fmla="*/ 77 h 287"/>
                <a:gd name="T28" fmla="*/ 217 w 332"/>
                <a:gd name="T29" fmla="*/ 88 h 287"/>
                <a:gd name="T30" fmla="*/ 214 w 332"/>
                <a:gd name="T31" fmla="*/ 97 h 287"/>
                <a:gd name="T32" fmla="*/ 217 w 332"/>
                <a:gd name="T33" fmla="*/ 105 h 287"/>
                <a:gd name="T34" fmla="*/ 249 w 332"/>
                <a:gd name="T35" fmla="*/ 113 h 287"/>
                <a:gd name="T36" fmla="*/ 308 w 332"/>
                <a:gd name="T37" fmla="*/ 124 h 287"/>
                <a:gd name="T38" fmla="*/ 322 w 332"/>
                <a:gd name="T39" fmla="*/ 131 h 287"/>
                <a:gd name="T40" fmla="*/ 315 w 332"/>
                <a:gd name="T41" fmla="*/ 140 h 287"/>
                <a:gd name="T42" fmla="*/ 303 w 332"/>
                <a:gd name="T43" fmla="*/ 149 h 287"/>
                <a:gd name="T44" fmla="*/ 299 w 332"/>
                <a:gd name="T45" fmla="*/ 154 h 287"/>
                <a:gd name="T46" fmla="*/ 302 w 332"/>
                <a:gd name="T47" fmla="*/ 160 h 287"/>
                <a:gd name="T48" fmla="*/ 308 w 332"/>
                <a:gd name="T49" fmla="*/ 168 h 287"/>
                <a:gd name="T50" fmla="*/ 319 w 332"/>
                <a:gd name="T51" fmla="*/ 176 h 287"/>
                <a:gd name="T52" fmla="*/ 329 w 332"/>
                <a:gd name="T53" fmla="*/ 184 h 287"/>
                <a:gd name="T54" fmla="*/ 290 w 332"/>
                <a:gd name="T55" fmla="*/ 211 h 287"/>
                <a:gd name="T56" fmla="*/ 241 w 332"/>
                <a:gd name="T57" fmla="*/ 241 h 287"/>
                <a:gd name="T58" fmla="*/ 207 w 332"/>
                <a:gd name="T59" fmla="*/ 268 h 287"/>
                <a:gd name="T60" fmla="*/ 173 w 332"/>
                <a:gd name="T61" fmla="*/ 244 h 287"/>
                <a:gd name="T62" fmla="*/ 182 w 332"/>
                <a:gd name="T63" fmla="*/ 243 h 287"/>
                <a:gd name="T64" fmla="*/ 189 w 332"/>
                <a:gd name="T65" fmla="*/ 240 h 287"/>
                <a:gd name="T66" fmla="*/ 200 w 332"/>
                <a:gd name="T67" fmla="*/ 232 h 287"/>
                <a:gd name="T68" fmla="*/ 149 w 332"/>
                <a:gd name="T69" fmla="*/ 232 h 287"/>
                <a:gd name="T70" fmla="*/ 101 w 332"/>
                <a:gd name="T71" fmla="*/ 232 h 287"/>
                <a:gd name="T72" fmla="*/ 58 w 332"/>
                <a:gd name="T73" fmla="*/ 232 h 287"/>
                <a:gd name="T74" fmla="*/ 27 w 332"/>
                <a:gd name="T75" fmla="*/ 232 h 287"/>
                <a:gd name="T76" fmla="*/ 11 w 332"/>
                <a:gd name="T77" fmla="*/ 227 h 287"/>
                <a:gd name="T78" fmla="*/ 3 w 332"/>
                <a:gd name="T79" fmla="*/ 222 h 287"/>
                <a:gd name="T80" fmla="*/ 0 w 332"/>
                <a:gd name="T81" fmla="*/ 213 h 287"/>
                <a:gd name="T82" fmla="*/ 4 w 332"/>
                <a:gd name="T83" fmla="*/ 205 h 287"/>
                <a:gd name="T84" fmla="*/ 13 w 332"/>
                <a:gd name="T85" fmla="*/ 197 h 287"/>
                <a:gd name="T86" fmla="*/ 41 w 332"/>
                <a:gd name="T87" fmla="*/ 179 h 287"/>
                <a:gd name="T88" fmla="*/ 73 w 332"/>
                <a:gd name="T89" fmla="*/ 162 h 287"/>
                <a:gd name="T90" fmla="*/ 85 w 332"/>
                <a:gd name="T91" fmla="*/ 152 h 287"/>
                <a:gd name="T92" fmla="*/ 93 w 332"/>
                <a:gd name="T93" fmla="*/ 145 h 287"/>
                <a:gd name="T94" fmla="*/ 106 w 332"/>
                <a:gd name="T95" fmla="*/ 130 h 287"/>
                <a:gd name="T96" fmla="*/ 116 w 332"/>
                <a:gd name="T97" fmla="*/ 114 h 287"/>
                <a:gd name="T98" fmla="*/ 130 w 332"/>
                <a:gd name="T99" fmla="*/ 79 h 287"/>
                <a:gd name="T100" fmla="*/ 138 w 332"/>
                <a:gd name="T101" fmla="*/ 64 h 287"/>
                <a:gd name="T102" fmla="*/ 147 w 332"/>
                <a:gd name="T103" fmla="*/ 52 h 287"/>
                <a:gd name="T104" fmla="*/ 158 w 332"/>
                <a:gd name="T105" fmla="*/ 43 h 287"/>
                <a:gd name="T106" fmla="*/ 173 w 332"/>
                <a:gd name="T107" fmla="*/ 40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32" h="287">
                  <a:moveTo>
                    <a:pt x="173" y="40"/>
                  </a:moveTo>
                  <a:lnTo>
                    <a:pt x="180" y="38"/>
                  </a:lnTo>
                  <a:lnTo>
                    <a:pt x="190" y="32"/>
                  </a:lnTo>
                  <a:lnTo>
                    <a:pt x="202" y="24"/>
                  </a:lnTo>
                  <a:lnTo>
                    <a:pt x="215" y="15"/>
                  </a:lnTo>
                  <a:lnTo>
                    <a:pt x="226" y="7"/>
                  </a:lnTo>
                  <a:lnTo>
                    <a:pt x="237" y="2"/>
                  </a:lnTo>
                  <a:lnTo>
                    <a:pt x="240" y="1"/>
                  </a:lnTo>
                  <a:lnTo>
                    <a:pt x="243" y="0"/>
                  </a:lnTo>
                  <a:lnTo>
                    <a:pt x="246" y="1"/>
                  </a:lnTo>
                  <a:lnTo>
                    <a:pt x="246" y="4"/>
                  </a:lnTo>
                  <a:lnTo>
                    <a:pt x="245" y="12"/>
                  </a:lnTo>
                  <a:lnTo>
                    <a:pt x="240" y="22"/>
                  </a:lnTo>
                  <a:lnTo>
                    <a:pt x="234" y="33"/>
                  </a:lnTo>
                  <a:lnTo>
                    <a:pt x="226" y="44"/>
                  </a:lnTo>
                  <a:lnTo>
                    <a:pt x="217" y="55"/>
                  </a:lnTo>
                  <a:lnTo>
                    <a:pt x="207" y="64"/>
                  </a:lnTo>
                  <a:lnTo>
                    <a:pt x="202" y="67"/>
                  </a:lnTo>
                  <a:lnTo>
                    <a:pt x="196" y="69"/>
                  </a:lnTo>
                  <a:lnTo>
                    <a:pt x="191" y="71"/>
                  </a:lnTo>
                  <a:lnTo>
                    <a:pt x="186" y="71"/>
                  </a:lnTo>
                  <a:lnTo>
                    <a:pt x="191" y="73"/>
                  </a:lnTo>
                  <a:lnTo>
                    <a:pt x="196" y="74"/>
                  </a:lnTo>
                  <a:lnTo>
                    <a:pt x="201" y="74"/>
                  </a:lnTo>
                  <a:lnTo>
                    <a:pt x="206" y="74"/>
                  </a:lnTo>
                  <a:lnTo>
                    <a:pt x="216" y="72"/>
                  </a:lnTo>
                  <a:lnTo>
                    <a:pt x="226" y="71"/>
                  </a:lnTo>
                  <a:lnTo>
                    <a:pt x="224" y="77"/>
                  </a:lnTo>
                  <a:lnTo>
                    <a:pt x="219" y="84"/>
                  </a:lnTo>
                  <a:lnTo>
                    <a:pt x="217" y="88"/>
                  </a:lnTo>
                  <a:lnTo>
                    <a:pt x="215" y="93"/>
                  </a:lnTo>
                  <a:lnTo>
                    <a:pt x="214" y="97"/>
                  </a:lnTo>
                  <a:lnTo>
                    <a:pt x="213" y="102"/>
                  </a:lnTo>
                  <a:lnTo>
                    <a:pt x="217" y="105"/>
                  </a:lnTo>
                  <a:lnTo>
                    <a:pt x="230" y="109"/>
                  </a:lnTo>
                  <a:lnTo>
                    <a:pt x="249" y="113"/>
                  </a:lnTo>
                  <a:lnTo>
                    <a:pt x="269" y="117"/>
                  </a:lnTo>
                  <a:lnTo>
                    <a:pt x="308" y="124"/>
                  </a:lnTo>
                  <a:lnTo>
                    <a:pt x="326" y="127"/>
                  </a:lnTo>
                  <a:lnTo>
                    <a:pt x="322" y="131"/>
                  </a:lnTo>
                  <a:lnTo>
                    <a:pt x="319" y="136"/>
                  </a:lnTo>
                  <a:lnTo>
                    <a:pt x="315" y="140"/>
                  </a:lnTo>
                  <a:lnTo>
                    <a:pt x="310" y="144"/>
                  </a:lnTo>
                  <a:lnTo>
                    <a:pt x="303" y="149"/>
                  </a:lnTo>
                  <a:lnTo>
                    <a:pt x="299" y="151"/>
                  </a:lnTo>
                  <a:lnTo>
                    <a:pt x="299" y="154"/>
                  </a:lnTo>
                  <a:lnTo>
                    <a:pt x="301" y="157"/>
                  </a:lnTo>
                  <a:lnTo>
                    <a:pt x="302" y="160"/>
                  </a:lnTo>
                  <a:lnTo>
                    <a:pt x="304" y="164"/>
                  </a:lnTo>
                  <a:lnTo>
                    <a:pt x="308" y="168"/>
                  </a:lnTo>
                  <a:lnTo>
                    <a:pt x="314" y="173"/>
                  </a:lnTo>
                  <a:lnTo>
                    <a:pt x="319" y="176"/>
                  </a:lnTo>
                  <a:lnTo>
                    <a:pt x="325" y="180"/>
                  </a:lnTo>
                  <a:lnTo>
                    <a:pt x="329" y="184"/>
                  </a:lnTo>
                  <a:lnTo>
                    <a:pt x="332" y="188"/>
                  </a:lnTo>
                  <a:lnTo>
                    <a:pt x="290" y="211"/>
                  </a:lnTo>
                  <a:lnTo>
                    <a:pt x="257" y="231"/>
                  </a:lnTo>
                  <a:lnTo>
                    <a:pt x="241" y="241"/>
                  </a:lnTo>
                  <a:lnTo>
                    <a:pt x="225" y="253"/>
                  </a:lnTo>
                  <a:lnTo>
                    <a:pt x="207" y="268"/>
                  </a:lnTo>
                  <a:lnTo>
                    <a:pt x="186" y="287"/>
                  </a:lnTo>
                  <a:lnTo>
                    <a:pt x="173" y="244"/>
                  </a:lnTo>
                  <a:lnTo>
                    <a:pt x="178" y="244"/>
                  </a:lnTo>
                  <a:lnTo>
                    <a:pt x="182" y="243"/>
                  </a:lnTo>
                  <a:lnTo>
                    <a:pt x="185" y="242"/>
                  </a:lnTo>
                  <a:lnTo>
                    <a:pt x="189" y="240"/>
                  </a:lnTo>
                  <a:lnTo>
                    <a:pt x="194" y="236"/>
                  </a:lnTo>
                  <a:lnTo>
                    <a:pt x="200" y="232"/>
                  </a:lnTo>
                  <a:lnTo>
                    <a:pt x="174" y="232"/>
                  </a:lnTo>
                  <a:lnTo>
                    <a:pt x="149" y="232"/>
                  </a:lnTo>
                  <a:lnTo>
                    <a:pt x="125" y="232"/>
                  </a:lnTo>
                  <a:lnTo>
                    <a:pt x="101" y="232"/>
                  </a:lnTo>
                  <a:lnTo>
                    <a:pt x="79" y="232"/>
                  </a:lnTo>
                  <a:lnTo>
                    <a:pt x="58" y="232"/>
                  </a:lnTo>
                  <a:lnTo>
                    <a:pt x="41" y="232"/>
                  </a:lnTo>
                  <a:lnTo>
                    <a:pt x="27" y="232"/>
                  </a:lnTo>
                  <a:lnTo>
                    <a:pt x="19" y="231"/>
                  </a:lnTo>
                  <a:lnTo>
                    <a:pt x="11" y="227"/>
                  </a:lnTo>
                  <a:lnTo>
                    <a:pt x="6" y="225"/>
                  </a:lnTo>
                  <a:lnTo>
                    <a:pt x="3" y="222"/>
                  </a:lnTo>
                  <a:lnTo>
                    <a:pt x="1" y="218"/>
                  </a:lnTo>
                  <a:lnTo>
                    <a:pt x="0" y="213"/>
                  </a:lnTo>
                  <a:lnTo>
                    <a:pt x="1" y="209"/>
                  </a:lnTo>
                  <a:lnTo>
                    <a:pt x="4" y="205"/>
                  </a:lnTo>
                  <a:lnTo>
                    <a:pt x="7" y="201"/>
                  </a:lnTo>
                  <a:lnTo>
                    <a:pt x="13" y="197"/>
                  </a:lnTo>
                  <a:lnTo>
                    <a:pt x="26" y="188"/>
                  </a:lnTo>
                  <a:lnTo>
                    <a:pt x="41" y="179"/>
                  </a:lnTo>
                  <a:lnTo>
                    <a:pt x="58" y="170"/>
                  </a:lnTo>
                  <a:lnTo>
                    <a:pt x="73" y="162"/>
                  </a:lnTo>
                  <a:lnTo>
                    <a:pt x="80" y="156"/>
                  </a:lnTo>
                  <a:lnTo>
                    <a:pt x="85" y="152"/>
                  </a:lnTo>
                  <a:lnTo>
                    <a:pt x="90" y="149"/>
                  </a:lnTo>
                  <a:lnTo>
                    <a:pt x="93" y="145"/>
                  </a:lnTo>
                  <a:lnTo>
                    <a:pt x="100" y="138"/>
                  </a:lnTo>
                  <a:lnTo>
                    <a:pt x="106" y="130"/>
                  </a:lnTo>
                  <a:lnTo>
                    <a:pt x="112" y="122"/>
                  </a:lnTo>
                  <a:lnTo>
                    <a:pt x="116" y="114"/>
                  </a:lnTo>
                  <a:lnTo>
                    <a:pt x="124" y="96"/>
                  </a:lnTo>
                  <a:lnTo>
                    <a:pt x="130" y="79"/>
                  </a:lnTo>
                  <a:lnTo>
                    <a:pt x="134" y="71"/>
                  </a:lnTo>
                  <a:lnTo>
                    <a:pt x="138" y="64"/>
                  </a:lnTo>
                  <a:lnTo>
                    <a:pt x="141" y="58"/>
                  </a:lnTo>
                  <a:lnTo>
                    <a:pt x="147" y="52"/>
                  </a:lnTo>
                  <a:lnTo>
                    <a:pt x="151" y="47"/>
                  </a:lnTo>
                  <a:lnTo>
                    <a:pt x="158" y="43"/>
                  </a:lnTo>
                  <a:lnTo>
                    <a:pt x="164" y="41"/>
                  </a:lnTo>
                  <a:lnTo>
                    <a:pt x="173" y="4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76" name="Freeform 428"/>
            <p:cNvSpPr>
              <a:spLocks/>
            </p:cNvSpPr>
            <p:nvPr/>
          </p:nvSpPr>
          <p:spPr bwMode="auto">
            <a:xfrm>
              <a:off x="1102" y="1190"/>
              <a:ext cx="111" cy="27"/>
            </a:xfrm>
            <a:custGeom>
              <a:avLst/>
              <a:gdLst>
                <a:gd name="T0" fmla="*/ 106 w 345"/>
                <a:gd name="T1" fmla="*/ 86 h 86"/>
                <a:gd name="T2" fmla="*/ 119 w 345"/>
                <a:gd name="T3" fmla="*/ 81 h 86"/>
                <a:gd name="T4" fmla="*/ 133 w 345"/>
                <a:gd name="T5" fmla="*/ 76 h 86"/>
                <a:gd name="T6" fmla="*/ 148 w 345"/>
                <a:gd name="T7" fmla="*/ 72 h 86"/>
                <a:gd name="T8" fmla="*/ 164 w 345"/>
                <a:gd name="T9" fmla="*/ 69 h 86"/>
                <a:gd name="T10" fmla="*/ 197 w 345"/>
                <a:gd name="T11" fmla="*/ 63 h 86"/>
                <a:gd name="T12" fmla="*/ 231 w 345"/>
                <a:gd name="T13" fmla="*/ 57 h 86"/>
                <a:gd name="T14" fmla="*/ 247 w 345"/>
                <a:gd name="T15" fmla="*/ 53 h 86"/>
                <a:gd name="T16" fmla="*/ 264 w 345"/>
                <a:gd name="T17" fmla="*/ 50 h 86"/>
                <a:gd name="T18" fmla="*/ 279 w 345"/>
                <a:gd name="T19" fmla="*/ 46 h 86"/>
                <a:gd name="T20" fmla="*/ 294 w 345"/>
                <a:gd name="T21" fmla="*/ 40 h 86"/>
                <a:gd name="T22" fmla="*/ 309 w 345"/>
                <a:gd name="T23" fmla="*/ 35 h 86"/>
                <a:gd name="T24" fmla="*/ 322 w 345"/>
                <a:gd name="T25" fmla="*/ 28 h 86"/>
                <a:gd name="T26" fmla="*/ 334 w 345"/>
                <a:gd name="T27" fmla="*/ 21 h 86"/>
                <a:gd name="T28" fmla="*/ 345 w 345"/>
                <a:gd name="T29" fmla="*/ 13 h 86"/>
                <a:gd name="T30" fmla="*/ 335 w 345"/>
                <a:gd name="T31" fmla="*/ 12 h 86"/>
                <a:gd name="T32" fmla="*/ 326 w 345"/>
                <a:gd name="T33" fmla="*/ 11 h 86"/>
                <a:gd name="T34" fmla="*/ 317 w 345"/>
                <a:gd name="T35" fmla="*/ 9 h 86"/>
                <a:gd name="T36" fmla="*/ 309 w 345"/>
                <a:gd name="T37" fmla="*/ 6 h 86"/>
                <a:gd name="T38" fmla="*/ 300 w 345"/>
                <a:gd name="T39" fmla="*/ 4 h 86"/>
                <a:gd name="T40" fmla="*/ 291 w 345"/>
                <a:gd name="T41" fmla="*/ 2 h 86"/>
                <a:gd name="T42" fmla="*/ 281 w 345"/>
                <a:gd name="T43" fmla="*/ 1 h 86"/>
                <a:gd name="T44" fmla="*/ 272 w 345"/>
                <a:gd name="T45" fmla="*/ 0 h 86"/>
                <a:gd name="T46" fmla="*/ 259 w 345"/>
                <a:gd name="T47" fmla="*/ 1 h 86"/>
                <a:gd name="T48" fmla="*/ 245 w 345"/>
                <a:gd name="T49" fmla="*/ 3 h 86"/>
                <a:gd name="T50" fmla="*/ 227 w 345"/>
                <a:gd name="T51" fmla="*/ 5 h 86"/>
                <a:gd name="T52" fmla="*/ 209 w 345"/>
                <a:gd name="T53" fmla="*/ 9 h 86"/>
                <a:gd name="T54" fmla="*/ 168 w 345"/>
                <a:gd name="T55" fmla="*/ 18 h 86"/>
                <a:gd name="T56" fmla="*/ 126 w 345"/>
                <a:gd name="T57" fmla="*/ 29 h 86"/>
                <a:gd name="T58" fmla="*/ 104 w 345"/>
                <a:gd name="T59" fmla="*/ 36 h 86"/>
                <a:gd name="T60" fmla="*/ 85 w 345"/>
                <a:gd name="T61" fmla="*/ 42 h 86"/>
                <a:gd name="T62" fmla="*/ 66 w 345"/>
                <a:gd name="T63" fmla="*/ 50 h 86"/>
                <a:gd name="T64" fmla="*/ 47 w 345"/>
                <a:gd name="T65" fmla="*/ 58 h 86"/>
                <a:gd name="T66" fmla="*/ 32 w 345"/>
                <a:gd name="T67" fmla="*/ 65 h 86"/>
                <a:gd name="T68" fmla="*/ 19 w 345"/>
                <a:gd name="T69" fmla="*/ 72 h 86"/>
                <a:gd name="T70" fmla="*/ 8 w 345"/>
                <a:gd name="T71" fmla="*/ 79 h 86"/>
                <a:gd name="T72" fmla="*/ 0 w 345"/>
                <a:gd name="T73" fmla="*/ 86 h 86"/>
                <a:gd name="T74" fmla="*/ 106 w 345"/>
                <a:gd name="T75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45" h="86">
                  <a:moveTo>
                    <a:pt x="106" y="86"/>
                  </a:moveTo>
                  <a:lnTo>
                    <a:pt x="119" y="81"/>
                  </a:lnTo>
                  <a:lnTo>
                    <a:pt x="133" y="76"/>
                  </a:lnTo>
                  <a:lnTo>
                    <a:pt x="148" y="72"/>
                  </a:lnTo>
                  <a:lnTo>
                    <a:pt x="164" y="69"/>
                  </a:lnTo>
                  <a:lnTo>
                    <a:pt x="197" y="63"/>
                  </a:lnTo>
                  <a:lnTo>
                    <a:pt x="231" y="57"/>
                  </a:lnTo>
                  <a:lnTo>
                    <a:pt x="247" y="53"/>
                  </a:lnTo>
                  <a:lnTo>
                    <a:pt x="264" y="50"/>
                  </a:lnTo>
                  <a:lnTo>
                    <a:pt x="279" y="46"/>
                  </a:lnTo>
                  <a:lnTo>
                    <a:pt x="294" y="40"/>
                  </a:lnTo>
                  <a:lnTo>
                    <a:pt x="309" y="35"/>
                  </a:lnTo>
                  <a:lnTo>
                    <a:pt x="322" y="28"/>
                  </a:lnTo>
                  <a:lnTo>
                    <a:pt x="334" y="21"/>
                  </a:lnTo>
                  <a:lnTo>
                    <a:pt x="345" y="13"/>
                  </a:lnTo>
                  <a:lnTo>
                    <a:pt x="335" y="12"/>
                  </a:lnTo>
                  <a:lnTo>
                    <a:pt x="326" y="11"/>
                  </a:lnTo>
                  <a:lnTo>
                    <a:pt x="317" y="9"/>
                  </a:lnTo>
                  <a:lnTo>
                    <a:pt x="309" y="6"/>
                  </a:lnTo>
                  <a:lnTo>
                    <a:pt x="300" y="4"/>
                  </a:lnTo>
                  <a:lnTo>
                    <a:pt x="291" y="2"/>
                  </a:lnTo>
                  <a:lnTo>
                    <a:pt x="281" y="1"/>
                  </a:lnTo>
                  <a:lnTo>
                    <a:pt x="272" y="0"/>
                  </a:lnTo>
                  <a:lnTo>
                    <a:pt x="259" y="1"/>
                  </a:lnTo>
                  <a:lnTo>
                    <a:pt x="245" y="3"/>
                  </a:lnTo>
                  <a:lnTo>
                    <a:pt x="227" y="5"/>
                  </a:lnTo>
                  <a:lnTo>
                    <a:pt x="209" y="9"/>
                  </a:lnTo>
                  <a:lnTo>
                    <a:pt x="168" y="18"/>
                  </a:lnTo>
                  <a:lnTo>
                    <a:pt x="126" y="29"/>
                  </a:lnTo>
                  <a:lnTo>
                    <a:pt x="104" y="36"/>
                  </a:lnTo>
                  <a:lnTo>
                    <a:pt x="85" y="42"/>
                  </a:lnTo>
                  <a:lnTo>
                    <a:pt x="66" y="50"/>
                  </a:lnTo>
                  <a:lnTo>
                    <a:pt x="47" y="58"/>
                  </a:lnTo>
                  <a:lnTo>
                    <a:pt x="32" y="65"/>
                  </a:lnTo>
                  <a:lnTo>
                    <a:pt x="19" y="72"/>
                  </a:lnTo>
                  <a:lnTo>
                    <a:pt x="8" y="79"/>
                  </a:lnTo>
                  <a:lnTo>
                    <a:pt x="0" y="86"/>
                  </a:lnTo>
                  <a:lnTo>
                    <a:pt x="106" y="8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77" name="Freeform 429"/>
            <p:cNvSpPr>
              <a:spLocks/>
            </p:cNvSpPr>
            <p:nvPr/>
          </p:nvSpPr>
          <p:spPr bwMode="auto">
            <a:xfrm>
              <a:off x="1158" y="1199"/>
              <a:ext cx="149" cy="43"/>
            </a:xfrm>
            <a:custGeom>
              <a:avLst/>
              <a:gdLst>
                <a:gd name="T0" fmla="*/ 19 w 464"/>
                <a:gd name="T1" fmla="*/ 86 h 130"/>
                <a:gd name="T2" fmla="*/ 77 w 464"/>
                <a:gd name="T3" fmla="*/ 81 h 130"/>
                <a:gd name="T4" fmla="*/ 103 w 464"/>
                <a:gd name="T5" fmla="*/ 81 h 130"/>
                <a:gd name="T6" fmla="*/ 92 w 464"/>
                <a:gd name="T7" fmla="*/ 89 h 130"/>
                <a:gd name="T8" fmla="*/ 81 w 464"/>
                <a:gd name="T9" fmla="*/ 100 h 130"/>
                <a:gd name="T10" fmla="*/ 73 w 464"/>
                <a:gd name="T11" fmla="*/ 112 h 130"/>
                <a:gd name="T12" fmla="*/ 73 w 464"/>
                <a:gd name="T13" fmla="*/ 119 h 130"/>
                <a:gd name="T14" fmla="*/ 79 w 464"/>
                <a:gd name="T15" fmla="*/ 124 h 130"/>
                <a:gd name="T16" fmla="*/ 92 w 464"/>
                <a:gd name="T17" fmla="*/ 129 h 130"/>
                <a:gd name="T18" fmla="*/ 109 w 464"/>
                <a:gd name="T19" fmla="*/ 129 h 130"/>
                <a:gd name="T20" fmla="*/ 128 w 464"/>
                <a:gd name="T21" fmla="*/ 127 h 130"/>
                <a:gd name="T22" fmla="*/ 157 w 464"/>
                <a:gd name="T23" fmla="*/ 119 h 130"/>
                <a:gd name="T24" fmla="*/ 196 w 464"/>
                <a:gd name="T25" fmla="*/ 108 h 130"/>
                <a:gd name="T26" fmla="*/ 226 w 464"/>
                <a:gd name="T27" fmla="*/ 101 h 130"/>
                <a:gd name="T28" fmla="*/ 248 w 464"/>
                <a:gd name="T29" fmla="*/ 99 h 130"/>
                <a:gd name="T30" fmla="*/ 266 w 464"/>
                <a:gd name="T31" fmla="*/ 99 h 130"/>
                <a:gd name="T32" fmla="*/ 304 w 464"/>
                <a:gd name="T33" fmla="*/ 99 h 130"/>
                <a:gd name="T34" fmla="*/ 333 w 464"/>
                <a:gd name="T35" fmla="*/ 98 h 130"/>
                <a:gd name="T36" fmla="*/ 376 w 464"/>
                <a:gd name="T37" fmla="*/ 93 h 130"/>
                <a:gd name="T38" fmla="*/ 415 w 464"/>
                <a:gd name="T39" fmla="*/ 83 h 130"/>
                <a:gd name="T40" fmla="*/ 449 w 464"/>
                <a:gd name="T41" fmla="*/ 66 h 130"/>
                <a:gd name="T42" fmla="*/ 455 w 464"/>
                <a:gd name="T43" fmla="*/ 51 h 130"/>
                <a:gd name="T44" fmla="*/ 439 w 464"/>
                <a:gd name="T45" fmla="*/ 48 h 130"/>
                <a:gd name="T46" fmla="*/ 413 w 464"/>
                <a:gd name="T47" fmla="*/ 48 h 130"/>
                <a:gd name="T48" fmla="*/ 396 w 464"/>
                <a:gd name="T49" fmla="*/ 46 h 130"/>
                <a:gd name="T50" fmla="*/ 406 w 464"/>
                <a:gd name="T51" fmla="*/ 36 h 130"/>
                <a:gd name="T52" fmla="*/ 413 w 464"/>
                <a:gd name="T53" fmla="*/ 22 h 130"/>
                <a:gd name="T54" fmla="*/ 418 w 464"/>
                <a:gd name="T55" fmla="*/ 7 h 130"/>
                <a:gd name="T56" fmla="*/ 378 w 464"/>
                <a:gd name="T57" fmla="*/ 0 h 130"/>
                <a:gd name="T58" fmla="*/ 360 w 464"/>
                <a:gd name="T59" fmla="*/ 19 h 130"/>
                <a:gd name="T60" fmla="*/ 343 w 464"/>
                <a:gd name="T61" fmla="*/ 41 h 130"/>
                <a:gd name="T62" fmla="*/ 323 w 464"/>
                <a:gd name="T63" fmla="*/ 59 h 130"/>
                <a:gd name="T64" fmla="*/ 312 w 464"/>
                <a:gd name="T65" fmla="*/ 65 h 130"/>
                <a:gd name="T66" fmla="*/ 298 w 464"/>
                <a:gd name="T67" fmla="*/ 68 h 130"/>
                <a:gd name="T68" fmla="*/ 278 w 464"/>
                <a:gd name="T69" fmla="*/ 66 h 130"/>
                <a:gd name="T70" fmla="*/ 262 w 464"/>
                <a:gd name="T71" fmla="*/ 63 h 130"/>
                <a:gd name="T72" fmla="*/ 239 w 464"/>
                <a:gd name="T73" fmla="*/ 54 h 130"/>
                <a:gd name="T74" fmla="*/ 205 w 464"/>
                <a:gd name="T75" fmla="*/ 31 h 130"/>
                <a:gd name="T76" fmla="*/ 180 w 464"/>
                <a:gd name="T77" fmla="*/ 29 h 130"/>
                <a:gd name="T78" fmla="*/ 150 w 464"/>
                <a:gd name="T79" fmla="*/ 31 h 130"/>
                <a:gd name="T80" fmla="*/ 117 w 464"/>
                <a:gd name="T81" fmla="*/ 37 h 130"/>
                <a:gd name="T82" fmla="*/ 85 w 464"/>
                <a:gd name="T83" fmla="*/ 45 h 130"/>
                <a:gd name="T84" fmla="*/ 54 w 464"/>
                <a:gd name="T85" fmla="*/ 54 h 130"/>
                <a:gd name="T86" fmla="*/ 29 w 464"/>
                <a:gd name="T87" fmla="*/ 65 h 130"/>
                <a:gd name="T88" fmla="*/ 9 w 464"/>
                <a:gd name="T89" fmla="*/ 77 h 130"/>
                <a:gd name="T90" fmla="*/ 0 w 464"/>
                <a:gd name="T91" fmla="*/ 86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64" h="130">
                  <a:moveTo>
                    <a:pt x="0" y="86"/>
                  </a:moveTo>
                  <a:lnTo>
                    <a:pt x="19" y="86"/>
                  </a:lnTo>
                  <a:lnTo>
                    <a:pt x="48" y="83"/>
                  </a:lnTo>
                  <a:lnTo>
                    <a:pt x="77" y="81"/>
                  </a:lnTo>
                  <a:lnTo>
                    <a:pt x="106" y="80"/>
                  </a:lnTo>
                  <a:lnTo>
                    <a:pt x="103" y="81"/>
                  </a:lnTo>
                  <a:lnTo>
                    <a:pt x="97" y="84"/>
                  </a:lnTo>
                  <a:lnTo>
                    <a:pt x="92" y="89"/>
                  </a:lnTo>
                  <a:lnTo>
                    <a:pt x="86" y="94"/>
                  </a:lnTo>
                  <a:lnTo>
                    <a:pt x="81" y="100"/>
                  </a:lnTo>
                  <a:lnTo>
                    <a:pt x="76" y="106"/>
                  </a:lnTo>
                  <a:lnTo>
                    <a:pt x="73" y="112"/>
                  </a:lnTo>
                  <a:lnTo>
                    <a:pt x="72" y="117"/>
                  </a:lnTo>
                  <a:lnTo>
                    <a:pt x="73" y="119"/>
                  </a:lnTo>
                  <a:lnTo>
                    <a:pt x="75" y="121"/>
                  </a:lnTo>
                  <a:lnTo>
                    <a:pt x="79" y="124"/>
                  </a:lnTo>
                  <a:lnTo>
                    <a:pt x="83" y="126"/>
                  </a:lnTo>
                  <a:lnTo>
                    <a:pt x="92" y="129"/>
                  </a:lnTo>
                  <a:lnTo>
                    <a:pt x="99" y="130"/>
                  </a:lnTo>
                  <a:lnTo>
                    <a:pt x="109" y="129"/>
                  </a:lnTo>
                  <a:lnTo>
                    <a:pt x="119" y="129"/>
                  </a:lnTo>
                  <a:lnTo>
                    <a:pt x="128" y="127"/>
                  </a:lnTo>
                  <a:lnTo>
                    <a:pt x="138" y="125"/>
                  </a:lnTo>
                  <a:lnTo>
                    <a:pt x="157" y="119"/>
                  </a:lnTo>
                  <a:lnTo>
                    <a:pt x="176" y="114"/>
                  </a:lnTo>
                  <a:lnTo>
                    <a:pt x="196" y="108"/>
                  </a:lnTo>
                  <a:lnTo>
                    <a:pt x="216" y="103"/>
                  </a:lnTo>
                  <a:lnTo>
                    <a:pt x="226" y="101"/>
                  </a:lnTo>
                  <a:lnTo>
                    <a:pt x="237" y="100"/>
                  </a:lnTo>
                  <a:lnTo>
                    <a:pt x="248" y="99"/>
                  </a:lnTo>
                  <a:lnTo>
                    <a:pt x="259" y="99"/>
                  </a:lnTo>
                  <a:lnTo>
                    <a:pt x="266" y="99"/>
                  </a:lnTo>
                  <a:lnTo>
                    <a:pt x="285" y="99"/>
                  </a:lnTo>
                  <a:lnTo>
                    <a:pt x="304" y="99"/>
                  </a:lnTo>
                  <a:lnTo>
                    <a:pt x="311" y="99"/>
                  </a:lnTo>
                  <a:lnTo>
                    <a:pt x="333" y="98"/>
                  </a:lnTo>
                  <a:lnTo>
                    <a:pt x="355" y="96"/>
                  </a:lnTo>
                  <a:lnTo>
                    <a:pt x="376" y="93"/>
                  </a:lnTo>
                  <a:lnTo>
                    <a:pt x="396" y="89"/>
                  </a:lnTo>
                  <a:lnTo>
                    <a:pt x="415" y="83"/>
                  </a:lnTo>
                  <a:lnTo>
                    <a:pt x="432" y="76"/>
                  </a:lnTo>
                  <a:lnTo>
                    <a:pt x="449" y="66"/>
                  </a:lnTo>
                  <a:lnTo>
                    <a:pt x="464" y="55"/>
                  </a:lnTo>
                  <a:lnTo>
                    <a:pt x="455" y="51"/>
                  </a:lnTo>
                  <a:lnTo>
                    <a:pt x="446" y="49"/>
                  </a:lnTo>
                  <a:lnTo>
                    <a:pt x="439" y="48"/>
                  </a:lnTo>
                  <a:lnTo>
                    <a:pt x="430" y="48"/>
                  </a:lnTo>
                  <a:lnTo>
                    <a:pt x="413" y="48"/>
                  </a:lnTo>
                  <a:lnTo>
                    <a:pt x="392" y="49"/>
                  </a:lnTo>
                  <a:lnTo>
                    <a:pt x="396" y="46"/>
                  </a:lnTo>
                  <a:lnTo>
                    <a:pt x="401" y="42"/>
                  </a:lnTo>
                  <a:lnTo>
                    <a:pt x="406" y="36"/>
                  </a:lnTo>
                  <a:lnTo>
                    <a:pt x="410" y="29"/>
                  </a:lnTo>
                  <a:lnTo>
                    <a:pt x="413" y="22"/>
                  </a:lnTo>
                  <a:lnTo>
                    <a:pt x="416" y="15"/>
                  </a:lnTo>
                  <a:lnTo>
                    <a:pt x="418" y="7"/>
                  </a:lnTo>
                  <a:lnTo>
                    <a:pt x="418" y="0"/>
                  </a:lnTo>
                  <a:lnTo>
                    <a:pt x="378" y="0"/>
                  </a:lnTo>
                  <a:lnTo>
                    <a:pt x="368" y="8"/>
                  </a:lnTo>
                  <a:lnTo>
                    <a:pt x="360" y="19"/>
                  </a:lnTo>
                  <a:lnTo>
                    <a:pt x="352" y="30"/>
                  </a:lnTo>
                  <a:lnTo>
                    <a:pt x="343" y="41"/>
                  </a:lnTo>
                  <a:lnTo>
                    <a:pt x="334" y="51"/>
                  </a:lnTo>
                  <a:lnTo>
                    <a:pt x="323" y="59"/>
                  </a:lnTo>
                  <a:lnTo>
                    <a:pt x="318" y="63"/>
                  </a:lnTo>
                  <a:lnTo>
                    <a:pt x="312" y="65"/>
                  </a:lnTo>
                  <a:lnTo>
                    <a:pt x="306" y="68"/>
                  </a:lnTo>
                  <a:lnTo>
                    <a:pt x="298" y="68"/>
                  </a:lnTo>
                  <a:lnTo>
                    <a:pt x="287" y="68"/>
                  </a:lnTo>
                  <a:lnTo>
                    <a:pt x="278" y="66"/>
                  </a:lnTo>
                  <a:lnTo>
                    <a:pt x="270" y="65"/>
                  </a:lnTo>
                  <a:lnTo>
                    <a:pt x="262" y="63"/>
                  </a:lnTo>
                  <a:lnTo>
                    <a:pt x="250" y="59"/>
                  </a:lnTo>
                  <a:lnTo>
                    <a:pt x="239" y="54"/>
                  </a:lnTo>
                  <a:lnTo>
                    <a:pt x="222" y="42"/>
                  </a:lnTo>
                  <a:lnTo>
                    <a:pt x="205" y="31"/>
                  </a:lnTo>
                  <a:lnTo>
                    <a:pt x="193" y="29"/>
                  </a:lnTo>
                  <a:lnTo>
                    <a:pt x="180" y="29"/>
                  </a:lnTo>
                  <a:lnTo>
                    <a:pt x="165" y="29"/>
                  </a:lnTo>
                  <a:lnTo>
                    <a:pt x="150" y="31"/>
                  </a:lnTo>
                  <a:lnTo>
                    <a:pt x="133" y="33"/>
                  </a:lnTo>
                  <a:lnTo>
                    <a:pt x="117" y="37"/>
                  </a:lnTo>
                  <a:lnTo>
                    <a:pt x="101" y="40"/>
                  </a:lnTo>
                  <a:lnTo>
                    <a:pt x="85" y="45"/>
                  </a:lnTo>
                  <a:lnTo>
                    <a:pt x="70" y="49"/>
                  </a:lnTo>
                  <a:lnTo>
                    <a:pt x="54" y="54"/>
                  </a:lnTo>
                  <a:lnTo>
                    <a:pt x="41" y="60"/>
                  </a:lnTo>
                  <a:lnTo>
                    <a:pt x="29" y="65"/>
                  </a:lnTo>
                  <a:lnTo>
                    <a:pt x="18" y="71"/>
                  </a:lnTo>
                  <a:lnTo>
                    <a:pt x="9" y="77"/>
                  </a:lnTo>
                  <a:lnTo>
                    <a:pt x="3" y="82"/>
                  </a:lnTo>
                  <a:lnTo>
                    <a:pt x="0" y="8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78" name="Freeform 430"/>
            <p:cNvSpPr>
              <a:spLocks/>
            </p:cNvSpPr>
            <p:nvPr/>
          </p:nvSpPr>
          <p:spPr bwMode="auto">
            <a:xfrm>
              <a:off x="1472" y="1205"/>
              <a:ext cx="153" cy="31"/>
            </a:xfrm>
            <a:custGeom>
              <a:avLst/>
              <a:gdLst>
                <a:gd name="T0" fmla="*/ 63 w 472"/>
                <a:gd name="T1" fmla="*/ 0 h 92"/>
                <a:gd name="T2" fmla="*/ 44 w 472"/>
                <a:gd name="T3" fmla="*/ 0 h 92"/>
                <a:gd name="T4" fmla="*/ 24 w 472"/>
                <a:gd name="T5" fmla="*/ 0 h 92"/>
                <a:gd name="T6" fmla="*/ 12 w 472"/>
                <a:gd name="T7" fmla="*/ 3 h 92"/>
                <a:gd name="T8" fmla="*/ 7 w 472"/>
                <a:gd name="T9" fmla="*/ 8 h 92"/>
                <a:gd name="T10" fmla="*/ 7 w 472"/>
                <a:gd name="T11" fmla="*/ 16 h 92"/>
                <a:gd name="T12" fmla="*/ 10 w 472"/>
                <a:gd name="T13" fmla="*/ 23 h 92"/>
                <a:gd name="T14" fmla="*/ 15 w 472"/>
                <a:gd name="T15" fmla="*/ 32 h 92"/>
                <a:gd name="T16" fmla="*/ 14 w 472"/>
                <a:gd name="T17" fmla="*/ 41 h 92"/>
                <a:gd name="T18" fmla="*/ 4 w 472"/>
                <a:gd name="T19" fmla="*/ 50 h 92"/>
                <a:gd name="T20" fmla="*/ 1 w 472"/>
                <a:gd name="T21" fmla="*/ 57 h 92"/>
                <a:gd name="T22" fmla="*/ 2 w 472"/>
                <a:gd name="T23" fmla="*/ 64 h 92"/>
                <a:gd name="T24" fmla="*/ 14 w 472"/>
                <a:gd name="T25" fmla="*/ 69 h 92"/>
                <a:gd name="T26" fmla="*/ 48 w 472"/>
                <a:gd name="T27" fmla="*/ 76 h 92"/>
                <a:gd name="T28" fmla="*/ 109 w 472"/>
                <a:gd name="T29" fmla="*/ 85 h 92"/>
                <a:gd name="T30" fmla="*/ 167 w 472"/>
                <a:gd name="T31" fmla="*/ 91 h 92"/>
                <a:gd name="T32" fmla="*/ 365 w 472"/>
                <a:gd name="T33" fmla="*/ 92 h 92"/>
                <a:gd name="T34" fmla="*/ 374 w 472"/>
                <a:gd name="T35" fmla="*/ 81 h 92"/>
                <a:gd name="T36" fmla="*/ 385 w 472"/>
                <a:gd name="T37" fmla="*/ 75 h 92"/>
                <a:gd name="T38" fmla="*/ 397 w 472"/>
                <a:gd name="T39" fmla="*/ 73 h 92"/>
                <a:gd name="T40" fmla="*/ 411 w 472"/>
                <a:gd name="T41" fmla="*/ 73 h 92"/>
                <a:gd name="T42" fmla="*/ 441 w 472"/>
                <a:gd name="T43" fmla="*/ 76 h 92"/>
                <a:gd name="T44" fmla="*/ 456 w 472"/>
                <a:gd name="T45" fmla="*/ 76 h 92"/>
                <a:gd name="T46" fmla="*/ 472 w 472"/>
                <a:gd name="T47" fmla="*/ 73 h 92"/>
                <a:gd name="T48" fmla="*/ 465 w 472"/>
                <a:gd name="T49" fmla="*/ 33 h 92"/>
                <a:gd name="T50" fmla="*/ 453 w 472"/>
                <a:gd name="T51" fmla="*/ 26 h 92"/>
                <a:gd name="T52" fmla="*/ 443 w 472"/>
                <a:gd name="T53" fmla="*/ 18 h 92"/>
                <a:gd name="T54" fmla="*/ 432 w 472"/>
                <a:gd name="T55" fmla="*/ 13 h 92"/>
                <a:gd name="T56" fmla="*/ 416 w 472"/>
                <a:gd name="T57" fmla="*/ 12 h 92"/>
                <a:gd name="T58" fmla="*/ 396 w 472"/>
                <a:gd name="T59" fmla="*/ 15 h 92"/>
                <a:gd name="T60" fmla="*/ 367 w 472"/>
                <a:gd name="T61" fmla="*/ 22 h 92"/>
                <a:gd name="T62" fmla="*/ 328 w 472"/>
                <a:gd name="T63" fmla="*/ 33 h 92"/>
                <a:gd name="T64" fmla="*/ 298 w 472"/>
                <a:gd name="T65" fmla="*/ 39 h 92"/>
                <a:gd name="T66" fmla="*/ 276 w 472"/>
                <a:gd name="T67" fmla="*/ 42 h 92"/>
                <a:gd name="T68" fmla="*/ 236 w 472"/>
                <a:gd name="T69" fmla="*/ 42 h 92"/>
                <a:gd name="T70" fmla="*/ 191 w 472"/>
                <a:gd name="T71" fmla="*/ 42 h 92"/>
                <a:gd name="T72" fmla="*/ 156 w 472"/>
                <a:gd name="T73" fmla="*/ 42 h 92"/>
                <a:gd name="T74" fmla="*/ 120 w 472"/>
                <a:gd name="T75" fmla="*/ 42 h 92"/>
                <a:gd name="T76" fmla="*/ 91 w 472"/>
                <a:gd name="T77" fmla="*/ 41 h 92"/>
                <a:gd name="T78" fmla="*/ 78 w 472"/>
                <a:gd name="T79" fmla="*/ 36 h 92"/>
                <a:gd name="T80" fmla="*/ 70 w 472"/>
                <a:gd name="T81" fmla="*/ 27 h 92"/>
                <a:gd name="T82" fmla="*/ 67 w 472"/>
                <a:gd name="T83" fmla="*/ 17 h 92"/>
                <a:gd name="T84" fmla="*/ 69 w 472"/>
                <a:gd name="T85" fmla="*/ 8 h 92"/>
                <a:gd name="T86" fmla="*/ 74 w 472"/>
                <a:gd name="T87" fmla="*/ 2 h 92"/>
                <a:gd name="T88" fmla="*/ 74 w 472"/>
                <a:gd name="T89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72" h="92">
                  <a:moveTo>
                    <a:pt x="73" y="0"/>
                  </a:moveTo>
                  <a:lnTo>
                    <a:pt x="63" y="0"/>
                  </a:lnTo>
                  <a:lnTo>
                    <a:pt x="53" y="0"/>
                  </a:lnTo>
                  <a:lnTo>
                    <a:pt x="44" y="0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5" y="1"/>
                  </a:lnTo>
                  <a:lnTo>
                    <a:pt x="12" y="3"/>
                  </a:lnTo>
                  <a:lnTo>
                    <a:pt x="8" y="5"/>
                  </a:lnTo>
                  <a:lnTo>
                    <a:pt x="7" y="8"/>
                  </a:lnTo>
                  <a:lnTo>
                    <a:pt x="6" y="12"/>
                  </a:lnTo>
                  <a:lnTo>
                    <a:pt x="7" y="16"/>
                  </a:lnTo>
                  <a:lnTo>
                    <a:pt x="7" y="20"/>
                  </a:lnTo>
                  <a:lnTo>
                    <a:pt x="10" y="23"/>
                  </a:lnTo>
                  <a:lnTo>
                    <a:pt x="11" y="26"/>
                  </a:lnTo>
                  <a:lnTo>
                    <a:pt x="15" y="32"/>
                  </a:lnTo>
                  <a:lnTo>
                    <a:pt x="19" y="36"/>
                  </a:lnTo>
                  <a:lnTo>
                    <a:pt x="14" y="41"/>
                  </a:lnTo>
                  <a:lnTo>
                    <a:pt x="7" y="46"/>
                  </a:lnTo>
                  <a:lnTo>
                    <a:pt x="4" y="50"/>
                  </a:lnTo>
                  <a:lnTo>
                    <a:pt x="2" y="53"/>
                  </a:lnTo>
                  <a:lnTo>
                    <a:pt x="1" y="57"/>
                  </a:lnTo>
                  <a:lnTo>
                    <a:pt x="0" y="61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14" y="69"/>
                  </a:lnTo>
                  <a:lnTo>
                    <a:pt x="24" y="71"/>
                  </a:lnTo>
                  <a:lnTo>
                    <a:pt x="48" y="76"/>
                  </a:lnTo>
                  <a:lnTo>
                    <a:pt x="78" y="81"/>
                  </a:lnTo>
                  <a:lnTo>
                    <a:pt x="109" y="85"/>
                  </a:lnTo>
                  <a:lnTo>
                    <a:pt x="140" y="89"/>
                  </a:lnTo>
                  <a:lnTo>
                    <a:pt x="167" y="91"/>
                  </a:lnTo>
                  <a:lnTo>
                    <a:pt x="186" y="92"/>
                  </a:lnTo>
                  <a:lnTo>
                    <a:pt x="365" y="92"/>
                  </a:lnTo>
                  <a:lnTo>
                    <a:pt x="370" y="86"/>
                  </a:lnTo>
                  <a:lnTo>
                    <a:pt x="374" y="81"/>
                  </a:lnTo>
                  <a:lnTo>
                    <a:pt x="380" y="78"/>
                  </a:lnTo>
                  <a:lnTo>
                    <a:pt x="385" y="75"/>
                  </a:lnTo>
                  <a:lnTo>
                    <a:pt x="391" y="74"/>
                  </a:lnTo>
                  <a:lnTo>
                    <a:pt x="397" y="73"/>
                  </a:lnTo>
                  <a:lnTo>
                    <a:pt x="404" y="73"/>
                  </a:lnTo>
                  <a:lnTo>
                    <a:pt x="411" y="73"/>
                  </a:lnTo>
                  <a:lnTo>
                    <a:pt x="426" y="75"/>
                  </a:lnTo>
                  <a:lnTo>
                    <a:pt x="441" y="76"/>
                  </a:lnTo>
                  <a:lnTo>
                    <a:pt x="449" y="77"/>
                  </a:lnTo>
                  <a:lnTo>
                    <a:pt x="456" y="76"/>
                  </a:lnTo>
                  <a:lnTo>
                    <a:pt x="464" y="75"/>
                  </a:lnTo>
                  <a:lnTo>
                    <a:pt x="472" y="73"/>
                  </a:lnTo>
                  <a:lnTo>
                    <a:pt x="472" y="36"/>
                  </a:lnTo>
                  <a:lnTo>
                    <a:pt x="465" y="33"/>
                  </a:lnTo>
                  <a:lnTo>
                    <a:pt x="459" y="30"/>
                  </a:lnTo>
                  <a:lnTo>
                    <a:pt x="453" y="26"/>
                  </a:lnTo>
                  <a:lnTo>
                    <a:pt x="449" y="22"/>
                  </a:lnTo>
                  <a:lnTo>
                    <a:pt x="443" y="18"/>
                  </a:lnTo>
                  <a:lnTo>
                    <a:pt x="438" y="15"/>
                  </a:lnTo>
                  <a:lnTo>
                    <a:pt x="432" y="13"/>
                  </a:lnTo>
                  <a:lnTo>
                    <a:pt x="426" y="12"/>
                  </a:lnTo>
                  <a:lnTo>
                    <a:pt x="416" y="12"/>
                  </a:lnTo>
                  <a:lnTo>
                    <a:pt x="406" y="13"/>
                  </a:lnTo>
                  <a:lnTo>
                    <a:pt x="396" y="15"/>
                  </a:lnTo>
                  <a:lnTo>
                    <a:pt x="386" y="17"/>
                  </a:lnTo>
                  <a:lnTo>
                    <a:pt x="367" y="22"/>
                  </a:lnTo>
                  <a:lnTo>
                    <a:pt x="348" y="27"/>
                  </a:lnTo>
                  <a:lnTo>
                    <a:pt x="328" y="33"/>
                  </a:lnTo>
                  <a:lnTo>
                    <a:pt x="308" y="38"/>
                  </a:lnTo>
                  <a:lnTo>
                    <a:pt x="298" y="39"/>
                  </a:lnTo>
                  <a:lnTo>
                    <a:pt x="287" y="41"/>
                  </a:lnTo>
                  <a:lnTo>
                    <a:pt x="276" y="42"/>
                  </a:lnTo>
                  <a:lnTo>
                    <a:pt x="265" y="42"/>
                  </a:lnTo>
                  <a:lnTo>
                    <a:pt x="236" y="42"/>
                  </a:lnTo>
                  <a:lnTo>
                    <a:pt x="212" y="42"/>
                  </a:lnTo>
                  <a:lnTo>
                    <a:pt x="191" y="42"/>
                  </a:lnTo>
                  <a:lnTo>
                    <a:pt x="173" y="42"/>
                  </a:lnTo>
                  <a:lnTo>
                    <a:pt x="156" y="42"/>
                  </a:lnTo>
                  <a:lnTo>
                    <a:pt x="139" y="42"/>
                  </a:lnTo>
                  <a:lnTo>
                    <a:pt x="120" y="42"/>
                  </a:lnTo>
                  <a:lnTo>
                    <a:pt x="100" y="42"/>
                  </a:lnTo>
                  <a:lnTo>
                    <a:pt x="91" y="41"/>
                  </a:lnTo>
                  <a:lnTo>
                    <a:pt x="83" y="39"/>
                  </a:lnTo>
                  <a:lnTo>
                    <a:pt x="78" y="36"/>
                  </a:lnTo>
                  <a:lnTo>
                    <a:pt x="73" y="32"/>
                  </a:lnTo>
                  <a:lnTo>
                    <a:pt x="70" y="27"/>
                  </a:lnTo>
                  <a:lnTo>
                    <a:pt x="68" y="22"/>
                  </a:lnTo>
                  <a:lnTo>
                    <a:pt x="67" y="17"/>
                  </a:lnTo>
                  <a:lnTo>
                    <a:pt x="67" y="12"/>
                  </a:lnTo>
                  <a:lnTo>
                    <a:pt x="69" y="8"/>
                  </a:lnTo>
                  <a:lnTo>
                    <a:pt x="72" y="4"/>
                  </a:lnTo>
                  <a:lnTo>
                    <a:pt x="74" y="2"/>
                  </a:lnTo>
                  <a:lnTo>
                    <a:pt x="75" y="1"/>
                  </a:lnTo>
                  <a:lnTo>
                    <a:pt x="74" y="0"/>
                  </a:lnTo>
                  <a:lnTo>
                    <a:pt x="7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79" name="Freeform 431"/>
            <p:cNvSpPr>
              <a:spLocks/>
            </p:cNvSpPr>
            <p:nvPr/>
          </p:nvSpPr>
          <p:spPr bwMode="auto">
            <a:xfrm>
              <a:off x="1513" y="1136"/>
              <a:ext cx="106" cy="45"/>
            </a:xfrm>
            <a:custGeom>
              <a:avLst/>
              <a:gdLst>
                <a:gd name="T0" fmla="*/ 145 w 326"/>
                <a:gd name="T1" fmla="*/ 107 h 135"/>
                <a:gd name="T2" fmla="*/ 203 w 326"/>
                <a:gd name="T3" fmla="*/ 97 h 135"/>
                <a:gd name="T4" fmla="*/ 262 w 326"/>
                <a:gd name="T5" fmla="*/ 84 h 135"/>
                <a:gd name="T6" fmla="*/ 300 w 326"/>
                <a:gd name="T7" fmla="*/ 74 h 135"/>
                <a:gd name="T8" fmla="*/ 318 w 326"/>
                <a:gd name="T9" fmla="*/ 66 h 135"/>
                <a:gd name="T10" fmla="*/ 322 w 326"/>
                <a:gd name="T11" fmla="*/ 56 h 135"/>
                <a:gd name="T12" fmla="*/ 312 w 326"/>
                <a:gd name="T13" fmla="*/ 48 h 135"/>
                <a:gd name="T14" fmla="*/ 300 w 326"/>
                <a:gd name="T15" fmla="*/ 41 h 135"/>
                <a:gd name="T16" fmla="*/ 286 w 326"/>
                <a:gd name="T17" fmla="*/ 37 h 135"/>
                <a:gd name="T18" fmla="*/ 263 w 326"/>
                <a:gd name="T19" fmla="*/ 32 h 135"/>
                <a:gd name="T20" fmla="*/ 230 w 326"/>
                <a:gd name="T21" fmla="*/ 30 h 135"/>
                <a:gd name="T22" fmla="*/ 209 w 326"/>
                <a:gd name="T23" fmla="*/ 30 h 135"/>
                <a:gd name="T24" fmla="*/ 202 w 326"/>
                <a:gd name="T25" fmla="*/ 24 h 135"/>
                <a:gd name="T26" fmla="*/ 196 w 326"/>
                <a:gd name="T27" fmla="*/ 17 h 135"/>
                <a:gd name="T28" fmla="*/ 191 w 326"/>
                <a:gd name="T29" fmla="*/ 9 h 135"/>
                <a:gd name="T30" fmla="*/ 180 w 326"/>
                <a:gd name="T31" fmla="*/ 5 h 135"/>
                <a:gd name="T32" fmla="*/ 162 w 326"/>
                <a:gd name="T33" fmla="*/ 1 h 135"/>
                <a:gd name="T34" fmla="*/ 135 w 326"/>
                <a:gd name="T35" fmla="*/ 1 h 135"/>
                <a:gd name="T36" fmla="*/ 87 w 326"/>
                <a:gd name="T37" fmla="*/ 8 h 135"/>
                <a:gd name="T38" fmla="*/ 49 w 326"/>
                <a:gd name="T39" fmla="*/ 17 h 135"/>
                <a:gd name="T40" fmla="*/ 27 w 326"/>
                <a:gd name="T41" fmla="*/ 26 h 135"/>
                <a:gd name="T42" fmla="*/ 11 w 326"/>
                <a:gd name="T43" fmla="*/ 37 h 135"/>
                <a:gd name="T44" fmla="*/ 3 w 326"/>
                <a:gd name="T45" fmla="*/ 46 h 135"/>
                <a:gd name="T46" fmla="*/ 1 w 326"/>
                <a:gd name="T47" fmla="*/ 52 h 135"/>
                <a:gd name="T48" fmla="*/ 34 w 326"/>
                <a:gd name="T49" fmla="*/ 74 h 135"/>
                <a:gd name="T50" fmla="*/ 56 w 326"/>
                <a:gd name="T51" fmla="*/ 81 h 135"/>
                <a:gd name="T52" fmla="*/ 41 w 326"/>
                <a:gd name="T53" fmla="*/ 90 h 135"/>
                <a:gd name="T54" fmla="*/ 38 w 326"/>
                <a:gd name="T55" fmla="*/ 99 h 135"/>
                <a:gd name="T56" fmla="*/ 44 w 326"/>
                <a:gd name="T57" fmla="*/ 114 h 135"/>
                <a:gd name="T58" fmla="*/ 48 w 326"/>
                <a:gd name="T59" fmla="*/ 128 h 135"/>
                <a:gd name="T60" fmla="*/ 55 w 326"/>
                <a:gd name="T61" fmla="*/ 134 h 135"/>
                <a:gd name="T62" fmla="*/ 69 w 326"/>
                <a:gd name="T63" fmla="*/ 135 h 135"/>
                <a:gd name="T64" fmla="*/ 86 w 326"/>
                <a:gd name="T65" fmla="*/ 131 h 135"/>
                <a:gd name="T66" fmla="*/ 101 w 326"/>
                <a:gd name="T67" fmla="*/ 127 h 135"/>
                <a:gd name="T68" fmla="*/ 117 w 326"/>
                <a:gd name="T69" fmla="*/ 124 h 135"/>
                <a:gd name="T70" fmla="*/ 120 w 326"/>
                <a:gd name="T71" fmla="*/ 111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26" h="135">
                  <a:moveTo>
                    <a:pt x="120" y="111"/>
                  </a:moveTo>
                  <a:lnTo>
                    <a:pt x="145" y="107"/>
                  </a:lnTo>
                  <a:lnTo>
                    <a:pt x="172" y="102"/>
                  </a:lnTo>
                  <a:lnTo>
                    <a:pt x="203" y="97"/>
                  </a:lnTo>
                  <a:lnTo>
                    <a:pt x="233" y="90"/>
                  </a:lnTo>
                  <a:lnTo>
                    <a:pt x="262" y="84"/>
                  </a:lnTo>
                  <a:lnTo>
                    <a:pt x="288" y="78"/>
                  </a:lnTo>
                  <a:lnTo>
                    <a:pt x="300" y="74"/>
                  </a:lnTo>
                  <a:lnTo>
                    <a:pt x="310" y="70"/>
                  </a:lnTo>
                  <a:lnTo>
                    <a:pt x="318" y="66"/>
                  </a:lnTo>
                  <a:lnTo>
                    <a:pt x="326" y="62"/>
                  </a:lnTo>
                  <a:lnTo>
                    <a:pt x="322" y="56"/>
                  </a:lnTo>
                  <a:lnTo>
                    <a:pt x="317" y="52"/>
                  </a:lnTo>
                  <a:lnTo>
                    <a:pt x="312" y="48"/>
                  </a:lnTo>
                  <a:lnTo>
                    <a:pt x="306" y="44"/>
                  </a:lnTo>
                  <a:lnTo>
                    <a:pt x="300" y="41"/>
                  </a:lnTo>
                  <a:lnTo>
                    <a:pt x="293" y="39"/>
                  </a:lnTo>
                  <a:lnTo>
                    <a:pt x="286" y="37"/>
                  </a:lnTo>
                  <a:lnTo>
                    <a:pt x="279" y="34"/>
                  </a:lnTo>
                  <a:lnTo>
                    <a:pt x="263" y="32"/>
                  </a:lnTo>
                  <a:lnTo>
                    <a:pt x="247" y="31"/>
                  </a:lnTo>
                  <a:lnTo>
                    <a:pt x="230" y="30"/>
                  </a:lnTo>
                  <a:lnTo>
                    <a:pt x="213" y="30"/>
                  </a:lnTo>
                  <a:lnTo>
                    <a:pt x="209" y="30"/>
                  </a:lnTo>
                  <a:lnTo>
                    <a:pt x="205" y="27"/>
                  </a:lnTo>
                  <a:lnTo>
                    <a:pt x="202" y="24"/>
                  </a:lnTo>
                  <a:lnTo>
                    <a:pt x="200" y="21"/>
                  </a:lnTo>
                  <a:lnTo>
                    <a:pt x="196" y="17"/>
                  </a:lnTo>
                  <a:lnTo>
                    <a:pt x="194" y="13"/>
                  </a:lnTo>
                  <a:lnTo>
                    <a:pt x="191" y="9"/>
                  </a:lnTo>
                  <a:lnTo>
                    <a:pt x="187" y="6"/>
                  </a:lnTo>
                  <a:lnTo>
                    <a:pt x="180" y="5"/>
                  </a:lnTo>
                  <a:lnTo>
                    <a:pt x="172" y="3"/>
                  </a:lnTo>
                  <a:lnTo>
                    <a:pt x="162" y="1"/>
                  </a:lnTo>
                  <a:lnTo>
                    <a:pt x="153" y="0"/>
                  </a:lnTo>
                  <a:lnTo>
                    <a:pt x="135" y="1"/>
                  </a:lnTo>
                  <a:lnTo>
                    <a:pt x="112" y="4"/>
                  </a:lnTo>
                  <a:lnTo>
                    <a:pt x="87" y="8"/>
                  </a:lnTo>
                  <a:lnTo>
                    <a:pt x="61" y="14"/>
                  </a:lnTo>
                  <a:lnTo>
                    <a:pt x="49" y="17"/>
                  </a:lnTo>
                  <a:lnTo>
                    <a:pt x="38" y="21"/>
                  </a:lnTo>
                  <a:lnTo>
                    <a:pt x="27" y="26"/>
                  </a:lnTo>
                  <a:lnTo>
                    <a:pt x="19" y="31"/>
                  </a:lnTo>
                  <a:lnTo>
                    <a:pt x="11" y="37"/>
                  </a:lnTo>
                  <a:lnTo>
                    <a:pt x="5" y="43"/>
                  </a:lnTo>
                  <a:lnTo>
                    <a:pt x="3" y="46"/>
                  </a:lnTo>
                  <a:lnTo>
                    <a:pt x="1" y="49"/>
                  </a:lnTo>
                  <a:lnTo>
                    <a:pt x="1" y="52"/>
                  </a:lnTo>
                  <a:lnTo>
                    <a:pt x="0" y="56"/>
                  </a:lnTo>
                  <a:lnTo>
                    <a:pt x="34" y="74"/>
                  </a:lnTo>
                  <a:lnTo>
                    <a:pt x="73" y="74"/>
                  </a:lnTo>
                  <a:lnTo>
                    <a:pt x="56" y="81"/>
                  </a:lnTo>
                  <a:lnTo>
                    <a:pt x="44" y="87"/>
                  </a:lnTo>
                  <a:lnTo>
                    <a:pt x="41" y="90"/>
                  </a:lnTo>
                  <a:lnTo>
                    <a:pt x="38" y="94"/>
                  </a:lnTo>
                  <a:lnTo>
                    <a:pt x="38" y="99"/>
                  </a:lnTo>
                  <a:lnTo>
                    <a:pt x="41" y="105"/>
                  </a:lnTo>
                  <a:lnTo>
                    <a:pt x="44" y="114"/>
                  </a:lnTo>
                  <a:lnTo>
                    <a:pt x="47" y="123"/>
                  </a:lnTo>
                  <a:lnTo>
                    <a:pt x="48" y="128"/>
                  </a:lnTo>
                  <a:lnTo>
                    <a:pt x="50" y="131"/>
                  </a:lnTo>
                  <a:lnTo>
                    <a:pt x="55" y="134"/>
                  </a:lnTo>
                  <a:lnTo>
                    <a:pt x="60" y="135"/>
                  </a:lnTo>
                  <a:lnTo>
                    <a:pt x="69" y="135"/>
                  </a:lnTo>
                  <a:lnTo>
                    <a:pt x="78" y="133"/>
                  </a:lnTo>
                  <a:lnTo>
                    <a:pt x="86" y="131"/>
                  </a:lnTo>
                  <a:lnTo>
                    <a:pt x="93" y="129"/>
                  </a:lnTo>
                  <a:lnTo>
                    <a:pt x="101" y="127"/>
                  </a:lnTo>
                  <a:lnTo>
                    <a:pt x="109" y="125"/>
                  </a:lnTo>
                  <a:lnTo>
                    <a:pt x="117" y="124"/>
                  </a:lnTo>
                  <a:lnTo>
                    <a:pt x="126" y="123"/>
                  </a:lnTo>
                  <a:lnTo>
                    <a:pt x="12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80" name="Freeform 432"/>
            <p:cNvSpPr>
              <a:spLocks/>
            </p:cNvSpPr>
            <p:nvPr/>
          </p:nvSpPr>
          <p:spPr bwMode="auto">
            <a:xfrm>
              <a:off x="1584" y="1245"/>
              <a:ext cx="51" cy="18"/>
            </a:xfrm>
            <a:custGeom>
              <a:avLst/>
              <a:gdLst>
                <a:gd name="T0" fmla="*/ 46 w 159"/>
                <a:gd name="T1" fmla="*/ 53 h 56"/>
                <a:gd name="T2" fmla="*/ 40 w 159"/>
                <a:gd name="T3" fmla="*/ 52 h 56"/>
                <a:gd name="T4" fmla="*/ 34 w 159"/>
                <a:gd name="T5" fmla="*/ 49 h 56"/>
                <a:gd name="T6" fmla="*/ 26 w 159"/>
                <a:gd name="T7" fmla="*/ 45 h 56"/>
                <a:gd name="T8" fmla="*/ 18 w 159"/>
                <a:gd name="T9" fmla="*/ 38 h 56"/>
                <a:gd name="T10" fmla="*/ 10 w 159"/>
                <a:gd name="T11" fmla="*/ 31 h 56"/>
                <a:gd name="T12" fmla="*/ 5 w 159"/>
                <a:gd name="T13" fmla="*/ 24 h 56"/>
                <a:gd name="T14" fmla="*/ 3 w 159"/>
                <a:gd name="T15" fmla="*/ 21 h 56"/>
                <a:gd name="T16" fmla="*/ 1 w 159"/>
                <a:gd name="T17" fmla="*/ 17 h 56"/>
                <a:gd name="T18" fmla="*/ 0 w 159"/>
                <a:gd name="T19" fmla="*/ 13 h 56"/>
                <a:gd name="T20" fmla="*/ 0 w 159"/>
                <a:gd name="T21" fmla="*/ 10 h 56"/>
                <a:gd name="T22" fmla="*/ 21 w 159"/>
                <a:gd name="T23" fmla="*/ 10 h 56"/>
                <a:gd name="T24" fmla="*/ 39 w 159"/>
                <a:gd name="T25" fmla="*/ 10 h 56"/>
                <a:gd name="T26" fmla="*/ 52 w 159"/>
                <a:gd name="T27" fmla="*/ 10 h 56"/>
                <a:gd name="T28" fmla="*/ 59 w 159"/>
                <a:gd name="T29" fmla="*/ 10 h 56"/>
                <a:gd name="T30" fmla="*/ 83 w 159"/>
                <a:gd name="T31" fmla="*/ 6 h 56"/>
                <a:gd name="T32" fmla="*/ 117 w 159"/>
                <a:gd name="T33" fmla="*/ 0 h 56"/>
                <a:gd name="T34" fmla="*/ 125 w 159"/>
                <a:gd name="T35" fmla="*/ 0 h 56"/>
                <a:gd name="T36" fmla="*/ 132 w 159"/>
                <a:gd name="T37" fmla="*/ 0 h 56"/>
                <a:gd name="T38" fmla="*/ 140 w 159"/>
                <a:gd name="T39" fmla="*/ 0 h 56"/>
                <a:gd name="T40" fmla="*/ 147 w 159"/>
                <a:gd name="T41" fmla="*/ 2 h 56"/>
                <a:gd name="T42" fmla="*/ 151 w 159"/>
                <a:gd name="T43" fmla="*/ 5 h 56"/>
                <a:gd name="T44" fmla="*/ 155 w 159"/>
                <a:gd name="T45" fmla="*/ 9 h 56"/>
                <a:gd name="T46" fmla="*/ 158 w 159"/>
                <a:gd name="T47" fmla="*/ 15 h 56"/>
                <a:gd name="T48" fmla="*/ 159 w 159"/>
                <a:gd name="T49" fmla="*/ 22 h 56"/>
                <a:gd name="T50" fmla="*/ 158 w 159"/>
                <a:gd name="T51" fmla="*/ 30 h 56"/>
                <a:gd name="T52" fmla="*/ 155 w 159"/>
                <a:gd name="T53" fmla="*/ 37 h 56"/>
                <a:gd name="T54" fmla="*/ 151 w 159"/>
                <a:gd name="T55" fmla="*/ 44 h 56"/>
                <a:gd name="T56" fmla="*/ 146 w 159"/>
                <a:gd name="T57" fmla="*/ 48 h 56"/>
                <a:gd name="T58" fmla="*/ 139 w 159"/>
                <a:gd name="T59" fmla="*/ 52 h 56"/>
                <a:gd name="T60" fmla="*/ 132 w 159"/>
                <a:gd name="T61" fmla="*/ 54 h 56"/>
                <a:gd name="T62" fmla="*/ 124 w 159"/>
                <a:gd name="T63" fmla="*/ 55 h 56"/>
                <a:gd name="T64" fmla="*/ 115 w 159"/>
                <a:gd name="T65" fmla="*/ 56 h 56"/>
                <a:gd name="T66" fmla="*/ 77 w 159"/>
                <a:gd name="T67" fmla="*/ 55 h 56"/>
                <a:gd name="T68" fmla="*/ 46 w 159"/>
                <a:gd name="T69" fmla="*/ 53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9" h="56">
                  <a:moveTo>
                    <a:pt x="46" y="53"/>
                  </a:moveTo>
                  <a:lnTo>
                    <a:pt x="40" y="52"/>
                  </a:lnTo>
                  <a:lnTo>
                    <a:pt x="34" y="49"/>
                  </a:lnTo>
                  <a:lnTo>
                    <a:pt x="26" y="45"/>
                  </a:lnTo>
                  <a:lnTo>
                    <a:pt x="18" y="38"/>
                  </a:lnTo>
                  <a:lnTo>
                    <a:pt x="10" y="31"/>
                  </a:lnTo>
                  <a:lnTo>
                    <a:pt x="5" y="24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1" y="10"/>
                  </a:lnTo>
                  <a:lnTo>
                    <a:pt x="39" y="10"/>
                  </a:lnTo>
                  <a:lnTo>
                    <a:pt x="52" y="10"/>
                  </a:lnTo>
                  <a:lnTo>
                    <a:pt x="59" y="10"/>
                  </a:lnTo>
                  <a:lnTo>
                    <a:pt x="83" y="6"/>
                  </a:lnTo>
                  <a:lnTo>
                    <a:pt x="117" y="0"/>
                  </a:lnTo>
                  <a:lnTo>
                    <a:pt x="125" y="0"/>
                  </a:lnTo>
                  <a:lnTo>
                    <a:pt x="132" y="0"/>
                  </a:lnTo>
                  <a:lnTo>
                    <a:pt x="140" y="0"/>
                  </a:lnTo>
                  <a:lnTo>
                    <a:pt x="147" y="2"/>
                  </a:lnTo>
                  <a:lnTo>
                    <a:pt x="151" y="5"/>
                  </a:lnTo>
                  <a:lnTo>
                    <a:pt x="155" y="9"/>
                  </a:lnTo>
                  <a:lnTo>
                    <a:pt x="158" y="15"/>
                  </a:lnTo>
                  <a:lnTo>
                    <a:pt x="159" y="22"/>
                  </a:lnTo>
                  <a:lnTo>
                    <a:pt x="158" y="30"/>
                  </a:lnTo>
                  <a:lnTo>
                    <a:pt x="155" y="37"/>
                  </a:lnTo>
                  <a:lnTo>
                    <a:pt x="151" y="44"/>
                  </a:lnTo>
                  <a:lnTo>
                    <a:pt x="146" y="48"/>
                  </a:lnTo>
                  <a:lnTo>
                    <a:pt x="139" y="52"/>
                  </a:lnTo>
                  <a:lnTo>
                    <a:pt x="132" y="54"/>
                  </a:lnTo>
                  <a:lnTo>
                    <a:pt x="124" y="55"/>
                  </a:lnTo>
                  <a:lnTo>
                    <a:pt x="115" y="56"/>
                  </a:lnTo>
                  <a:lnTo>
                    <a:pt x="77" y="55"/>
                  </a:lnTo>
                  <a:lnTo>
                    <a:pt x="46" y="5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81" name="Freeform 433"/>
            <p:cNvSpPr>
              <a:spLocks/>
            </p:cNvSpPr>
            <p:nvPr/>
          </p:nvSpPr>
          <p:spPr bwMode="auto">
            <a:xfrm>
              <a:off x="534" y="1280"/>
              <a:ext cx="1205" cy="539"/>
            </a:xfrm>
            <a:custGeom>
              <a:avLst/>
              <a:gdLst>
                <a:gd name="T0" fmla="*/ 2931 w 3734"/>
                <a:gd name="T1" fmla="*/ 1362 h 1644"/>
                <a:gd name="T2" fmla="*/ 2556 w 3734"/>
                <a:gd name="T3" fmla="*/ 1522 h 1644"/>
                <a:gd name="T4" fmla="*/ 2312 w 3734"/>
                <a:gd name="T5" fmla="*/ 1592 h 1644"/>
                <a:gd name="T6" fmla="*/ 2294 w 3734"/>
                <a:gd name="T7" fmla="*/ 1634 h 1644"/>
                <a:gd name="T8" fmla="*/ 2177 w 3734"/>
                <a:gd name="T9" fmla="*/ 1607 h 1644"/>
                <a:gd name="T10" fmla="*/ 2279 w 3734"/>
                <a:gd name="T11" fmla="*/ 1512 h 1644"/>
                <a:gd name="T12" fmla="*/ 2166 w 3734"/>
                <a:gd name="T13" fmla="*/ 1416 h 1644"/>
                <a:gd name="T14" fmla="*/ 2094 w 3734"/>
                <a:gd name="T15" fmla="*/ 1295 h 1644"/>
                <a:gd name="T16" fmla="*/ 1947 w 3734"/>
                <a:gd name="T17" fmla="*/ 1317 h 1644"/>
                <a:gd name="T18" fmla="*/ 1771 w 3734"/>
                <a:gd name="T19" fmla="*/ 1281 h 1644"/>
                <a:gd name="T20" fmla="*/ 261 w 3734"/>
                <a:gd name="T21" fmla="*/ 1235 h 1644"/>
                <a:gd name="T22" fmla="*/ 127 w 3734"/>
                <a:gd name="T23" fmla="*/ 1125 h 1644"/>
                <a:gd name="T24" fmla="*/ 151 w 3734"/>
                <a:gd name="T25" fmla="*/ 1040 h 1644"/>
                <a:gd name="T26" fmla="*/ 147 w 3734"/>
                <a:gd name="T27" fmla="*/ 927 h 1644"/>
                <a:gd name="T28" fmla="*/ 259 w 3734"/>
                <a:gd name="T29" fmla="*/ 859 h 1644"/>
                <a:gd name="T30" fmla="*/ 250 w 3734"/>
                <a:gd name="T31" fmla="*/ 747 h 1644"/>
                <a:gd name="T32" fmla="*/ 128 w 3734"/>
                <a:gd name="T33" fmla="*/ 665 h 1644"/>
                <a:gd name="T34" fmla="*/ 602 w 3734"/>
                <a:gd name="T35" fmla="*/ 114 h 1644"/>
                <a:gd name="T36" fmla="*/ 1146 w 3734"/>
                <a:gd name="T37" fmla="*/ 105 h 1644"/>
                <a:gd name="T38" fmla="*/ 1296 w 3734"/>
                <a:gd name="T39" fmla="*/ 117 h 1644"/>
                <a:gd name="T40" fmla="*/ 1641 w 3734"/>
                <a:gd name="T41" fmla="*/ 166 h 1644"/>
                <a:gd name="T42" fmla="*/ 1771 w 3734"/>
                <a:gd name="T43" fmla="*/ 206 h 1644"/>
                <a:gd name="T44" fmla="*/ 2076 w 3734"/>
                <a:gd name="T45" fmla="*/ 193 h 1644"/>
                <a:gd name="T46" fmla="*/ 2286 w 3734"/>
                <a:gd name="T47" fmla="*/ 216 h 1644"/>
                <a:gd name="T48" fmla="*/ 2365 w 3734"/>
                <a:gd name="T49" fmla="*/ 216 h 1644"/>
                <a:gd name="T50" fmla="*/ 2518 w 3734"/>
                <a:gd name="T51" fmla="*/ 123 h 1644"/>
                <a:gd name="T52" fmla="*/ 2587 w 3734"/>
                <a:gd name="T53" fmla="*/ 2 h 1644"/>
                <a:gd name="T54" fmla="*/ 2644 w 3734"/>
                <a:gd name="T55" fmla="*/ 105 h 1644"/>
                <a:gd name="T56" fmla="*/ 2664 w 3734"/>
                <a:gd name="T57" fmla="*/ 166 h 1644"/>
                <a:gd name="T58" fmla="*/ 2716 w 3734"/>
                <a:gd name="T59" fmla="*/ 196 h 1644"/>
                <a:gd name="T60" fmla="*/ 2891 w 3734"/>
                <a:gd name="T61" fmla="*/ 121 h 1644"/>
                <a:gd name="T62" fmla="*/ 3036 w 3734"/>
                <a:gd name="T63" fmla="*/ 135 h 1644"/>
                <a:gd name="T64" fmla="*/ 2883 w 3734"/>
                <a:gd name="T65" fmla="*/ 271 h 1644"/>
                <a:gd name="T66" fmla="*/ 2790 w 3734"/>
                <a:gd name="T67" fmla="*/ 289 h 1644"/>
                <a:gd name="T68" fmla="*/ 2569 w 3734"/>
                <a:gd name="T69" fmla="*/ 304 h 1644"/>
                <a:gd name="T70" fmla="*/ 2501 w 3734"/>
                <a:gd name="T71" fmla="*/ 402 h 1644"/>
                <a:gd name="T72" fmla="*/ 2333 w 3734"/>
                <a:gd name="T73" fmla="*/ 471 h 1644"/>
                <a:gd name="T74" fmla="*/ 2087 w 3734"/>
                <a:gd name="T75" fmla="*/ 625 h 1644"/>
                <a:gd name="T76" fmla="*/ 2106 w 3734"/>
                <a:gd name="T77" fmla="*/ 793 h 1644"/>
                <a:gd name="T78" fmla="*/ 2360 w 3734"/>
                <a:gd name="T79" fmla="*/ 907 h 1644"/>
                <a:gd name="T80" fmla="*/ 2443 w 3734"/>
                <a:gd name="T81" fmla="*/ 1059 h 1644"/>
                <a:gd name="T82" fmla="*/ 2614 w 3734"/>
                <a:gd name="T83" fmla="*/ 987 h 1644"/>
                <a:gd name="T84" fmla="*/ 2848 w 3734"/>
                <a:gd name="T85" fmla="*/ 785 h 1644"/>
                <a:gd name="T86" fmla="*/ 2896 w 3734"/>
                <a:gd name="T87" fmla="*/ 597 h 1644"/>
                <a:gd name="T88" fmla="*/ 3156 w 3734"/>
                <a:gd name="T89" fmla="*/ 500 h 1644"/>
                <a:gd name="T90" fmla="*/ 3276 w 3734"/>
                <a:gd name="T91" fmla="*/ 592 h 1644"/>
                <a:gd name="T92" fmla="*/ 3226 w 3734"/>
                <a:gd name="T93" fmla="*/ 736 h 1644"/>
                <a:gd name="T94" fmla="*/ 3492 w 3734"/>
                <a:gd name="T95" fmla="*/ 613 h 1644"/>
                <a:gd name="T96" fmla="*/ 3545 w 3734"/>
                <a:gd name="T97" fmla="*/ 774 h 1644"/>
                <a:gd name="T98" fmla="*/ 3662 w 3734"/>
                <a:gd name="T99" fmla="*/ 924 h 1644"/>
                <a:gd name="T100" fmla="*/ 3616 w 3734"/>
                <a:gd name="T101" fmla="*/ 961 h 1644"/>
                <a:gd name="T102" fmla="*/ 3694 w 3734"/>
                <a:gd name="T103" fmla="*/ 1028 h 1644"/>
                <a:gd name="T104" fmla="*/ 3556 w 3734"/>
                <a:gd name="T105" fmla="*/ 1108 h 1644"/>
                <a:gd name="T106" fmla="*/ 3151 w 3734"/>
                <a:gd name="T107" fmla="*/ 1168 h 1644"/>
                <a:gd name="T108" fmla="*/ 2853 w 3734"/>
                <a:gd name="T109" fmla="*/ 1335 h 1644"/>
                <a:gd name="T110" fmla="*/ 2905 w 3734"/>
                <a:gd name="T111" fmla="*/ 1337 h 1644"/>
                <a:gd name="T112" fmla="*/ 3216 w 3734"/>
                <a:gd name="T113" fmla="*/ 1256 h 1644"/>
                <a:gd name="T114" fmla="*/ 3066 w 3734"/>
                <a:gd name="T115" fmla="*/ 1298 h 1644"/>
                <a:gd name="T116" fmla="*/ 3138 w 3734"/>
                <a:gd name="T117" fmla="*/ 1391 h 1644"/>
                <a:gd name="T118" fmla="*/ 3248 w 3734"/>
                <a:gd name="T119" fmla="*/ 1473 h 1644"/>
                <a:gd name="T120" fmla="*/ 3018 w 3734"/>
                <a:gd name="T121" fmla="*/ 1564 h 1644"/>
                <a:gd name="T122" fmla="*/ 3189 w 3734"/>
                <a:gd name="T123" fmla="*/ 1466 h 1644"/>
                <a:gd name="T124" fmla="*/ 3016 w 3734"/>
                <a:gd name="T125" fmla="*/ 1484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734" h="1644">
                  <a:moveTo>
                    <a:pt x="3010" y="1478"/>
                  </a:moveTo>
                  <a:lnTo>
                    <a:pt x="3010" y="1410"/>
                  </a:lnTo>
                  <a:lnTo>
                    <a:pt x="3013" y="1407"/>
                  </a:lnTo>
                  <a:lnTo>
                    <a:pt x="3016" y="1400"/>
                  </a:lnTo>
                  <a:lnTo>
                    <a:pt x="3021" y="1391"/>
                  </a:lnTo>
                  <a:lnTo>
                    <a:pt x="3025" y="1382"/>
                  </a:lnTo>
                  <a:lnTo>
                    <a:pt x="3029" y="1370"/>
                  </a:lnTo>
                  <a:lnTo>
                    <a:pt x="3033" y="1360"/>
                  </a:lnTo>
                  <a:lnTo>
                    <a:pt x="3036" y="1351"/>
                  </a:lnTo>
                  <a:lnTo>
                    <a:pt x="3036" y="1343"/>
                  </a:lnTo>
                  <a:lnTo>
                    <a:pt x="3032" y="1345"/>
                  </a:lnTo>
                  <a:lnTo>
                    <a:pt x="3026" y="1345"/>
                  </a:lnTo>
                  <a:lnTo>
                    <a:pt x="3021" y="1346"/>
                  </a:lnTo>
                  <a:lnTo>
                    <a:pt x="3014" y="1345"/>
                  </a:lnTo>
                  <a:lnTo>
                    <a:pt x="2997" y="1344"/>
                  </a:lnTo>
                  <a:lnTo>
                    <a:pt x="2977" y="1343"/>
                  </a:lnTo>
                  <a:lnTo>
                    <a:pt x="2967" y="1343"/>
                  </a:lnTo>
                  <a:lnTo>
                    <a:pt x="2958" y="1345"/>
                  </a:lnTo>
                  <a:lnTo>
                    <a:pt x="2950" y="1348"/>
                  </a:lnTo>
                  <a:lnTo>
                    <a:pt x="2943" y="1352"/>
                  </a:lnTo>
                  <a:lnTo>
                    <a:pt x="2936" y="1356"/>
                  </a:lnTo>
                  <a:lnTo>
                    <a:pt x="2931" y="1362"/>
                  </a:lnTo>
                  <a:lnTo>
                    <a:pt x="2925" y="1368"/>
                  </a:lnTo>
                  <a:lnTo>
                    <a:pt x="2920" y="1374"/>
                  </a:lnTo>
                  <a:lnTo>
                    <a:pt x="2909" y="1388"/>
                  </a:lnTo>
                  <a:lnTo>
                    <a:pt x="2899" y="1403"/>
                  </a:lnTo>
                  <a:lnTo>
                    <a:pt x="2889" y="1416"/>
                  </a:lnTo>
                  <a:lnTo>
                    <a:pt x="2877" y="1429"/>
                  </a:lnTo>
                  <a:lnTo>
                    <a:pt x="2867" y="1438"/>
                  </a:lnTo>
                  <a:lnTo>
                    <a:pt x="2857" y="1445"/>
                  </a:lnTo>
                  <a:lnTo>
                    <a:pt x="2847" y="1451"/>
                  </a:lnTo>
                  <a:lnTo>
                    <a:pt x="2836" y="1456"/>
                  </a:lnTo>
                  <a:lnTo>
                    <a:pt x="2826" y="1460"/>
                  </a:lnTo>
                  <a:lnTo>
                    <a:pt x="2815" y="1463"/>
                  </a:lnTo>
                  <a:lnTo>
                    <a:pt x="2803" y="1465"/>
                  </a:lnTo>
                  <a:lnTo>
                    <a:pt x="2792" y="1467"/>
                  </a:lnTo>
                  <a:lnTo>
                    <a:pt x="2767" y="1470"/>
                  </a:lnTo>
                  <a:lnTo>
                    <a:pt x="2741" y="1472"/>
                  </a:lnTo>
                  <a:lnTo>
                    <a:pt x="2711" y="1474"/>
                  </a:lnTo>
                  <a:lnTo>
                    <a:pt x="2678" y="1478"/>
                  </a:lnTo>
                  <a:lnTo>
                    <a:pt x="2591" y="1478"/>
                  </a:lnTo>
                  <a:lnTo>
                    <a:pt x="2580" y="1494"/>
                  </a:lnTo>
                  <a:lnTo>
                    <a:pt x="2569" y="1508"/>
                  </a:lnTo>
                  <a:lnTo>
                    <a:pt x="2556" y="1522"/>
                  </a:lnTo>
                  <a:lnTo>
                    <a:pt x="2543" y="1534"/>
                  </a:lnTo>
                  <a:lnTo>
                    <a:pt x="2530" y="1547"/>
                  </a:lnTo>
                  <a:lnTo>
                    <a:pt x="2514" y="1558"/>
                  </a:lnTo>
                  <a:lnTo>
                    <a:pt x="2500" y="1568"/>
                  </a:lnTo>
                  <a:lnTo>
                    <a:pt x="2485" y="1577"/>
                  </a:lnTo>
                  <a:lnTo>
                    <a:pt x="2492" y="1571"/>
                  </a:lnTo>
                  <a:lnTo>
                    <a:pt x="2498" y="1565"/>
                  </a:lnTo>
                  <a:lnTo>
                    <a:pt x="2502" y="1559"/>
                  </a:lnTo>
                  <a:lnTo>
                    <a:pt x="2504" y="1553"/>
                  </a:lnTo>
                  <a:lnTo>
                    <a:pt x="2478" y="1546"/>
                  </a:lnTo>
                  <a:lnTo>
                    <a:pt x="2445" y="1559"/>
                  </a:lnTo>
                  <a:lnTo>
                    <a:pt x="2408" y="1562"/>
                  </a:lnTo>
                  <a:lnTo>
                    <a:pt x="2364" y="1565"/>
                  </a:lnTo>
                  <a:lnTo>
                    <a:pt x="2353" y="1567"/>
                  </a:lnTo>
                  <a:lnTo>
                    <a:pt x="2343" y="1569"/>
                  </a:lnTo>
                  <a:lnTo>
                    <a:pt x="2334" y="1572"/>
                  </a:lnTo>
                  <a:lnTo>
                    <a:pt x="2328" y="1575"/>
                  </a:lnTo>
                  <a:lnTo>
                    <a:pt x="2321" y="1579"/>
                  </a:lnTo>
                  <a:lnTo>
                    <a:pt x="2316" y="1583"/>
                  </a:lnTo>
                  <a:lnTo>
                    <a:pt x="2315" y="1586"/>
                  </a:lnTo>
                  <a:lnTo>
                    <a:pt x="2313" y="1589"/>
                  </a:lnTo>
                  <a:lnTo>
                    <a:pt x="2312" y="1592"/>
                  </a:lnTo>
                  <a:lnTo>
                    <a:pt x="2312" y="1595"/>
                  </a:lnTo>
                  <a:lnTo>
                    <a:pt x="2312" y="1598"/>
                  </a:lnTo>
                  <a:lnTo>
                    <a:pt x="2313" y="1602"/>
                  </a:lnTo>
                  <a:lnTo>
                    <a:pt x="2316" y="1604"/>
                  </a:lnTo>
                  <a:lnTo>
                    <a:pt x="2318" y="1605"/>
                  </a:lnTo>
                  <a:lnTo>
                    <a:pt x="2324" y="1608"/>
                  </a:lnTo>
                  <a:lnTo>
                    <a:pt x="2332" y="1609"/>
                  </a:lnTo>
                  <a:lnTo>
                    <a:pt x="2351" y="1609"/>
                  </a:lnTo>
                  <a:lnTo>
                    <a:pt x="2372" y="1608"/>
                  </a:lnTo>
                  <a:lnTo>
                    <a:pt x="2388" y="1607"/>
                  </a:lnTo>
                  <a:lnTo>
                    <a:pt x="2405" y="1605"/>
                  </a:lnTo>
                  <a:lnTo>
                    <a:pt x="2421" y="1602"/>
                  </a:lnTo>
                  <a:lnTo>
                    <a:pt x="2438" y="1597"/>
                  </a:lnTo>
                  <a:lnTo>
                    <a:pt x="2425" y="1602"/>
                  </a:lnTo>
                  <a:lnTo>
                    <a:pt x="2414" y="1605"/>
                  </a:lnTo>
                  <a:lnTo>
                    <a:pt x="2402" y="1607"/>
                  </a:lnTo>
                  <a:lnTo>
                    <a:pt x="2391" y="1608"/>
                  </a:lnTo>
                  <a:lnTo>
                    <a:pt x="2319" y="1626"/>
                  </a:lnTo>
                  <a:lnTo>
                    <a:pt x="2313" y="1629"/>
                  </a:lnTo>
                  <a:lnTo>
                    <a:pt x="2307" y="1631"/>
                  </a:lnTo>
                  <a:lnTo>
                    <a:pt x="2300" y="1633"/>
                  </a:lnTo>
                  <a:lnTo>
                    <a:pt x="2294" y="1634"/>
                  </a:lnTo>
                  <a:lnTo>
                    <a:pt x="2296" y="1633"/>
                  </a:lnTo>
                  <a:lnTo>
                    <a:pt x="2299" y="1632"/>
                  </a:lnTo>
                  <a:lnTo>
                    <a:pt x="2290" y="1625"/>
                  </a:lnTo>
                  <a:lnTo>
                    <a:pt x="2283" y="1620"/>
                  </a:lnTo>
                  <a:lnTo>
                    <a:pt x="2273" y="1617"/>
                  </a:lnTo>
                  <a:lnTo>
                    <a:pt x="2263" y="1614"/>
                  </a:lnTo>
                  <a:lnTo>
                    <a:pt x="2253" y="1613"/>
                  </a:lnTo>
                  <a:lnTo>
                    <a:pt x="2243" y="1614"/>
                  </a:lnTo>
                  <a:lnTo>
                    <a:pt x="2233" y="1615"/>
                  </a:lnTo>
                  <a:lnTo>
                    <a:pt x="2224" y="1616"/>
                  </a:lnTo>
                  <a:lnTo>
                    <a:pt x="2207" y="1621"/>
                  </a:lnTo>
                  <a:lnTo>
                    <a:pt x="2193" y="1626"/>
                  </a:lnTo>
                  <a:lnTo>
                    <a:pt x="2183" y="1630"/>
                  </a:lnTo>
                  <a:lnTo>
                    <a:pt x="2179" y="1632"/>
                  </a:lnTo>
                  <a:lnTo>
                    <a:pt x="2172" y="1634"/>
                  </a:lnTo>
                  <a:lnTo>
                    <a:pt x="2162" y="1637"/>
                  </a:lnTo>
                  <a:lnTo>
                    <a:pt x="2150" y="1641"/>
                  </a:lnTo>
                  <a:lnTo>
                    <a:pt x="2137" y="1644"/>
                  </a:lnTo>
                  <a:lnTo>
                    <a:pt x="2147" y="1632"/>
                  </a:lnTo>
                  <a:lnTo>
                    <a:pt x="2156" y="1623"/>
                  </a:lnTo>
                  <a:lnTo>
                    <a:pt x="2167" y="1614"/>
                  </a:lnTo>
                  <a:lnTo>
                    <a:pt x="2177" y="1607"/>
                  </a:lnTo>
                  <a:lnTo>
                    <a:pt x="2187" y="1599"/>
                  </a:lnTo>
                  <a:lnTo>
                    <a:pt x="2196" y="1592"/>
                  </a:lnTo>
                  <a:lnTo>
                    <a:pt x="2200" y="1587"/>
                  </a:lnTo>
                  <a:lnTo>
                    <a:pt x="2205" y="1582"/>
                  </a:lnTo>
                  <a:lnTo>
                    <a:pt x="2209" y="1577"/>
                  </a:lnTo>
                  <a:lnTo>
                    <a:pt x="2212" y="1571"/>
                  </a:lnTo>
                  <a:lnTo>
                    <a:pt x="2219" y="1558"/>
                  </a:lnTo>
                  <a:lnTo>
                    <a:pt x="2222" y="1544"/>
                  </a:lnTo>
                  <a:lnTo>
                    <a:pt x="2224" y="1533"/>
                  </a:lnTo>
                  <a:lnTo>
                    <a:pt x="2228" y="1522"/>
                  </a:lnTo>
                  <a:lnTo>
                    <a:pt x="2230" y="1511"/>
                  </a:lnTo>
                  <a:lnTo>
                    <a:pt x="2234" y="1501"/>
                  </a:lnTo>
                  <a:lnTo>
                    <a:pt x="2238" y="1495"/>
                  </a:lnTo>
                  <a:lnTo>
                    <a:pt x="2242" y="1490"/>
                  </a:lnTo>
                  <a:lnTo>
                    <a:pt x="2246" y="1484"/>
                  </a:lnTo>
                  <a:lnTo>
                    <a:pt x="2252" y="1478"/>
                  </a:lnTo>
                  <a:lnTo>
                    <a:pt x="2265" y="1478"/>
                  </a:lnTo>
                  <a:lnTo>
                    <a:pt x="2266" y="1485"/>
                  </a:lnTo>
                  <a:lnTo>
                    <a:pt x="2267" y="1492"/>
                  </a:lnTo>
                  <a:lnTo>
                    <a:pt x="2271" y="1497"/>
                  </a:lnTo>
                  <a:lnTo>
                    <a:pt x="2273" y="1502"/>
                  </a:lnTo>
                  <a:lnTo>
                    <a:pt x="2279" y="1512"/>
                  </a:lnTo>
                  <a:lnTo>
                    <a:pt x="2286" y="1521"/>
                  </a:lnTo>
                  <a:lnTo>
                    <a:pt x="2298" y="1517"/>
                  </a:lnTo>
                  <a:lnTo>
                    <a:pt x="2310" y="1512"/>
                  </a:lnTo>
                  <a:lnTo>
                    <a:pt x="2324" y="1508"/>
                  </a:lnTo>
                  <a:lnTo>
                    <a:pt x="2345" y="1503"/>
                  </a:lnTo>
                  <a:lnTo>
                    <a:pt x="2345" y="1478"/>
                  </a:lnTo>
                  <a:lnTo>
                    <a:pt x="2331" y="1462"/>
                  </a:lnTo>
                  <a:lnTo>
                    <a:pt x="2317" y="1444"/>
                  </a:lnTo>
                  <a:lnTo>
                    <a:pt x="2309" y="1436"/>
                  </a:lnTo>
                  <a:lnTo>
                    <a:pt x="2300" y="1428"/>
                  </a:lnTo>
                  <a:lnTo>
                    <a:pt x="2296" y="1426"/>
                  </a:lnTo>
                  <a:lnTo>
                    <a:pt x="2290" y="1424"/>
                  </a:lnTo>
                  <a:lnTo>
                    <a:pt x="2285" y="1423"/>
                  </a:lnTo>
                  <a:lnTo>
                    <a:pt x="2279" y="1422"/>
                  </a:lnTo>
                  <a:lnTo>
                    <a:pt x="2249" y="1423"/>
                  </a:lnTo>
                  <a:lnTo>
                    <a:pt x="2215" y="1424"/>
                  </a:lnTo>
                  <a:lnTo>
                    <a:pt x="2199" y="1424"/>
                  </a:lnTo>
                  <a:lnTo>
                    <a:pt x="2185" y="1423"/>
                  </a:lnTo>
                  <a:lnTo>
                    <a:pt x="2178" y="1422"/>
                  </a:lnTo>
                  <a:lnTo>
                    <a:pt x="2173" y="1420"/>
                  </a:lnTo>
                  <a:lnTo>
                    <a:pt x="2168" y="1419"/>
                  </a:lnTo>
                  <a:lnTo>
                    <a:pt x="2166" y="1416"/>
                  </a:lnTo>
                  <a:lnTo>
                    <a:pt x="2163" y="1413"/>
                  </a:lnTo>
                  <a:lnTo>
                    <a:pt x="2161" y="1409"/>
                  </a:lnTo>
                  <a:lnTo>
                    <a:pt x="2159" y="1405"/>
                  </a:lnTo>
                  <a:lnTo>
                    <a:pt x="2159" y="1401"/>
                  </a:lnTo>
                  <a:lnTo>
                    <a:pt x="2159" y="1392"/>
                  </a:lnTo>
                  <a:lnTo>
                    <a:pt x="2160" y="1382"/>
                  </a:lnTo>
                  <a:lnTo>
                    <a:pt x="2161" y="1372"/>
                  </a:lnTo>
                  <a:lnTo>
                    <a:pt x="2161" y="1362"/>
                  </a:lnTo>
                  <a:lnTo>
                    <a:pt x="2160" y="1357"/>
                  </a:lnTo>
                  <a:lnTo>
                    <a:pt x="2159" y="1352"/>
                  </a:lnTo>
                  <a:lnTo>
                    <a:pt x="2155" y="1347"/>
                  </a:lnTo>
                  <a:lnTo>
                    <a:pt x="2153" y="1343"/>
                  </a:lnTo>
                  <a:lnTo>
                    <a:pt x="2149" y="1339"/>
                  </a:lnTo>
                  <a:lnTo>
                    <a:pt x="2144" y="1335"/>
                  </a:lnTo>
                  <a:lnTo>
                    <a:pt x="2139" y="1332"/>
                  </a:lnTo>
                  <a:lnTo>
                    <a:pt x="2133" y="1329"/>
                  </a:lnTo>
                  <a:lnTo>
                    <a:pt x="2122" y="1323"/>
                  </a:lnTo>
                  <a:lnTo>
                    <a:pt x="2111" y="1315"/>
                  </a:lnTo>
                  <a:lnTo>
                    <a:pt x="2107" y="1311"/>
                  </a:lnTo>
                  <a:lnTo>
                    <a:pt x="2102" y="1307"/>
                  </a:lnTo>
                  <a:lnTo>
                    <a:pt x="2097" y="1301"/>
                  </a:lnTo>
                  <a:lnTo>
                    <a:pt x="2094" y="1295"/>
                  </a:lnTo>
                  <a:lnTo>
                    <a:pt x="2091" y="1288"/>
                  </a:lnTo>
                  <a:lnTo>
                    <a:pt x="2088" y="1279"/>
                  </a:lnTo>
                  <a:lnTo>
                    <a:pt x="2087" y="1269"/>
                  </a:lnTo>
                  <a:lnTo>
                    <a:pt x="2086" y="1256"/>
                  </a:lnTo>
                  <a:lnTo>
                    <a:pt x="2060" y="1256"/>
                  </a:lnTo>
                  <a:lnTo>
                    <a:pt x="2046" y="1259"/>
                  </a:lnTo>
                  <a:lnTo>
                    <a:pt x="2027" y="1261"/>
                  </a:lnTo>
                  <a:lnTo>
                    <a:pt x="2017" y="1262"/>
                  </a:lnTo>
                  <a:lnTo>
                    <a:pt x="2007" y="1265"/>
                  </a:lnTo>
                  <a:lnTo>
                    <a:pt x="2003" y="1267"/>
                  </a:lnTo>
                  <a:lnTo>
                    <a:pt x="1999" y="1270"/>
                  </a:lnTo>
                  <a:lnTo>
                    <a:pt x="1996" y="1272"/>
                  </a:lnTo>
                  <a:lnTo>
                    <a:pt x="1993" y="1275"/>
                  </a:lnTo>
                  <a:lnTo>
                    <a:pt x="1985" y="1287"/>
                  </a:lnTo>
                  <a:lnTo>
                    <a:pt x="1976" y="1301"/>
                  </a:lnTo>
                  <a:lnTo>
                    <a:pt x="1974" y="1304"/>
                  </a:lnTo>
                  <a:lnTo>
                    <a:pt x="1971" y="1307"/>
                  </a:lnTo>
                  <a:lnTo>
                    <a:pt x="1968" y="1310"/>
                  </a:lnTo>
                  <a:lnTo>
                    <a:pt x="1963" y="1313"/>
                  </a:lnTo>
                  <a:lnTo>
                    <a:pt x="1959" y="1315"/>
                  </a:lnTo>
                  <a:lnTo>
                    <a:pt x="1953" y="1316"/>
                  </a:lnTo>
                  <a:lnTo>
                    <a:pt x="1947" y="1317"/>
                  </a:lnTo>
                  <a:lnTo>
                    <a:pt x="1940" y="1318"/>
                  </a:lnTo>
                  <a:lnTo>
                    <a:pt x="1930" y="1317"/>
                  </a:lnTo>
                  <a:lnTo>
                    <a:pt x="1920" y="1315"/>
                  </a:lnTo>
                  <a:lnTo>
                    <a:pt x="1910" y="1313"/>
                  </a:lnTo>
                  <a:lnTo>
                    <a:pt x="1901" y="1309"/>
                  </a:lnTo>
                  <a:lnTo>
                    <a:pt x="1892" y="1305"/>
                  </a:lnTo>
                  <a:lnTo>
                    <a:pt x="1883" y="1300"/>
                  </a:lnTo>
                  <a:lnTo>
                    <a:pt x="1874" y="1294"/>
                  </a:lnTo>
                  <a:lnTo>
                    <a:pt x="1867" y="1287"/>
                  </a:lnTo>
                  <a:lnTo>
                    <a:pt x="1864" y="1289"/>
                  </a:lnTo>
                  <a:lnTo>
                    <a:pt x="1860" y="1293"/>
                  </a:lnTo>
                  <a:lnTo>
                    <a:pt x="1853" y="1298"/>
                  </a:lnTo>
                  <a:lnTo>
                    <a:pt x="1847" y="1299"/>
                  </a:lnTo>
                  <a:lnTo>
                    <a:pt x="1840" y="1299"/>
                  </a:lnTo>
                  <a:lnTo>
                    <a:pt x="1833" y="1297"/>
                  </a:lnTo>
                  <a:lnTo>
                    <a:pt x="1826" y="1294"/>
                  </a:lnTo>
                  <a:lnTo>
                    <a:pt x="1819" y="1290"/>
                  </a:lnTo>
                  <a:lnTo>
                    <a:pt x="1813" y="1287"/>
                  </a:lnTo>
                  <a:lnTo>
                    <a:pt x="1805" y="1284"/>
                  </a:lnTo>
                  <a:lnTo>
                    <a:pt x="1796" y="1282"/>
                  </a:lnTo>
                  <a:lnTo>
                    <a:pt x="1787" y="1281"/>
                  </a:lnTo>
                  <a:lnTo>
                    <a:pt x="1771" y="1281"/>
                  </a:lnTo>
                  <a:lnTo>
                    <a:pt x="1761" y="1281"/>
                  </a:lnTo>
                  <a:lnTo>
                    <a:pt x="1756" y="1281"/>
                  </a:lnTo>
                  <a:lnTo>
                    <a:pt x="1751" y="1280"/>
                  </a:lnTo>
                  <a:lnTo>
                    <a:pt x="1747" y="1279"/>
                  </a:lnTo>
                  <a:lnTo>
                    <a:pt x="1742" y="1277"/>
                  </a:lnTo>
                  <a:lnTo>
                    <a:pt x="1734" y="1272"/>
                  </a:lnTo>
                  <a:lnTo>
                    <a:pt x="1727" y="1264"/>
                  </a:lnTo>
                  <a:lnTo>
                    <a:pt x="1722" y="1256"/>
                  </a:lnTo>
                  <a:lnTo>
                    <a:pt x="1717" y="1247"/>
                  </a:lnTo>
                  <a:lnTo>
                    <a:pt x="1715" y="1237"/>
                  </a:lnTo>
                  <a:lnTo>
                    <a:pt x="1714" y="1226"/>
                  </a:lnTo>
                  <a:lnTo>
                    <a:pt x="1681" y="1226"/>
                  </a:lnTo>
                  <a:lnTo>
                    <a:pt x="1682" y="1231"/>
                  </a:lnTo>
                  <a:lnTo>
                    <a:pt x="1684" y="1239"/>
                  </a:lnTo>
                  <a:lnTo>
                    <a:pt x="1686" y="1247"/>
                  </a:lnTo>
                  <a:lnTo>
                    <a:pt x="1688" y="1256"/>
                  </a:lnTo>
                  <a:lnTo>
                    <a:pt x="259" y="1256"/>
                  </a:lnTo>
                  <a:lnTo>
                    <a:pt x="263" y="1245"/>
                  </a:lnTo>
                  <a:lnTo>
                    <a:pt x="265" y="1239"/>
                  </a:lnTo>
                  <a:lnTo>
                    <a:pt x="265" y="1237"/>
                  </a:lnTo>
                  <a:lnTo>
                    <a:pt x="263" y="1236"/>
                  </a:lnTo>
                  <a:lnTo>
                    <a:pt x="261" y="1235"/>
                  </a:lnTo>
                  <a:lnTo>
                    <a:pt x="258" y="1233"/>
                  </a:lnTo>
                  <a:lnTo>
                    <a:pt x="256" y="1229"/>
                  </a:lnTo>
                  <a:lnTo>
                    <a:pt x="252" y="1220"/>
                  </a:lnTo>
                  <a:lnTo>
                    <a:pt x="247" y="1214"/>
                  </a:lnTo>
                  <a:lnTo>
                    <a:pt x="240" y="1207"/>
                  </a:lnTo>
                  <a:lnTo>
                    <a:pt x="235" y="1200"/>
                  </a:lnTo>
                  <a:lnTo>
                    <a:pt x="233" y="1195"/>
                  </a:lnTo>
                  <a:lnTo>
                    <a:pt x="226" y="1194"/>
                  </a:lnTo>
                  <a:lnTo>
                    <a:pt x="217" y="1190"/>
                  </a:lnTo>
                  <a:lnTo>
                    <a:pt x="213" y="1188"/>
                  </a:lnTo>
                  <a:lnTo>
                    <a:pt x="210" y="1184"/>
                  </a:lnTo>
                  <a:lnTo>
                    <a:pt x="206" y="1181"/>
                  </a:lnTo>
                  <a:lnTo>
                    <a:pt x="206" y="1176"/>
                  </a:lnTo>
                  <a:lnTo>
                    <a:pt x="195" y="1173"/>
                  </a:lnTo>
                  <a:lnTo>
                    <a:pt x="182" y="1168"/>
                  </a:lnTo>
                  <a:lnTo>
                    <a:pt x="169" y="1161"/>
                  </a:lnTo>
                  <a:lnTo>
                    <a:pt x="156" y="1153"/>
                  </a:lnTo>
                  <a:lnTo>
                    <a:pt x="145" y="1145"/>
                  </a:lnTo>
                  <a:lnTo>
                    <a:pt x="135" y="1136"/>
                  </a:lnTo>
                  <a:lnTo>
                    <a:pt x="132" y="1132"/>
                  </a:lnTo>
                  <a:lnTo>
                    <a:pt x="128" y="1128"/>
                  </a:lnTo>
                  <a:lnTo>
                    <a:pt x="127" y="1125"/>
                  </a:lnTo>
                  <a:lnTo>
                    <a:pt x="126" y="1121"/>
                  </a:lnTo>
                  <a:lnTo>
                    <a:pt x="127" y="1116"/>
                  </a:lnTo>
                  <a:lnTo>
                    <a:pt x="128" y="1111"/>
                  </a:lnTo>
                  <a:lnTo>
                    <a:pt x="132" y="1106"/>
                  </a:lnTo>
                  <a:lnTo>
                    <a:pt x="136" y="1102"/>
                  </a:lnTo>
                  <a:lnTo>
                    <a:pt x="146" y="1094"/>
                  </a:lnTo>
                  <a:lnTo>
                    <a:pt x="157" y="1088"/>
                  </a:lnTo>
                  <a:lnTo>
                    <a:pt x="169" y="1083"/>
                  </a:lnTo>
                  <a:lnTo>
                    <a:pt x="180" y="1077"/>
                  </a:lnTo>
                  <a:lnTo>
                    <a:pt x="184" y="1075"/>
                  </a:lnTo>
                  <a:lnTo>
                    <a:pt x="188" y="1072"/>
                  </a:lnTo>
                  <a:lnTo>
                    <a:pt x="191" y="1069"/>
                  </a:lnTo>
                  <a:lnTo>
                    <a:pt x="193" y="1066"/>
                  </a:lnTo>
                  <a:lnTo>
                    <a:pt x="183" y="1065"/>
                  </a:lnTo>
                  <a:lnTo>
                    <a:pt x="170" y="1064"/>
                  </a:lnTo>
                  <a:lnTo>
                    <a:pt x="164" y="1063"/>
                  </a:lnTo>
                  <a:lnTo>
                    <a:pt x="158" y="1060"/>
                  </a:lnTo>
                  <a:lnTo>
                    <a:pt x="156" y="1059"/>
                  </a:lnTo>
                  <a:lnTo>
                    <a:pt x="155" y="1057"/>
                  </a:lnTo>
                  <a:lnTo>
                    <a:pt x="154" y="1056"/>
                  </a:lnTo>
                  <a:lnTo>
                    <a:pt x="153" y="1053"/>
                  </a:lnTo>
                  <a:lnTo>
                    <a:pt x="151" y="1040"/>
                  </a:lnTo>
                  <a:lnTo>
                    <a:pt x="148" y="1029"/>
                  </a:lnTo>
                  <a:lnTo>
                    <a:pt x="147" y="1024"/>
                  </a:lnTo>
                  <a:lnTo>
                    <a:pt x="147" y="1019"/>
                  </a:lnTo>
                  <a:lnTo>
                    <a:pt x="149" y="1015"/>
                  </a:lnTo>
                  <a:lnTo>
                    <a:pt x="153" y="1010"/>
                  </a:lnTo>
                  <a:lnTo>
                    <a:pt x="126" y="1010"/>
                  </a:lnTo>
                  <a:lnTo>
                    <a:pt x="133" y="992"/>
                  </a:lnTo>
                  <a:lnTo>
                    <a:pt x="120" y="989"/>
                  </a:lnTo>
                  <a:lnTo>
                    <a:pt x="106" y="985"/>
                  </a:lnTo>
                  <a:lnTo>
                    <a:pt x="108" y="979"/>
                  </a:lnTo>
                  <a:lnTo>
                    <a:pt x="110" y="973"/>
                  </a:lnTo>
                  <a:lnTo>
                    <a:pt x="112" y="969"/>
                  </a:lnTo>
                  <a:lnTo>
                    <a:pt x="114" y="965"/>
                  </a:lnTo>
                  <a:lnTo>
                    <a:pt x="121" y="958"/>
                  </a:lnTo>
                  <a:lnTo>
                    <a:pt x="127" y="954"/>
                  </a:lnTo>
                  <a:lnTo>
                    <a:pt x="134" y="950"/>
                  </a:lnTo>
                  <a:lnTo>
                    <a:pt x="140" y="947"/>
                  </a:lnTo>
                  <a:lnTo>
                    <a:pt x="147" y="942"/>
                  </a:lnTo>
                  <a:lnTo>
                    <a:pt x="153" y="936"/>
                  </a:lnTo>
                  <a:lnTo>
                    <a:pt x="149" y="932"/>
                  </a:lnTo>
                  <a:lnTo>
                    <a:pt x="148" y="929"/>
                  </a:lnTo>
                  <a:lnTo>
                    <a:pt x="147" y="927"/>
                  </a:lnTo>
                  <a:lnTo>
                    <a:pt x="147" y="925"/>
                  </a:lnTo>
                  <a:lnTo>
                    <a:pt x="148" y="923"/>
                  </a:lnTo>
                  <a:lnTo>
                    <a:pt x="149" y="921"/>
                  </a:lnTo>
                  <a:lnTo>
                    <a:pt x="151" y="919"/>
                  </a:lnTo>
                  <a:lnTo>
                    <a:pt x="155" y="917"/>
                  </a:lnTo>
                  <a:lnTo>
                    <a:pt x="161" y="914"/>
                  </a:lnTo>
                  <a:lnTo>
                    <a:pt x="170" y="910"/>
                  </a:lnTo>
                  <a:lnTo>
                    <a:pt x="178" y="905"/>
                  </a:lnTo>
                  <a:lnTo>
                    <a:pt x="187" y="899"/>
                  </a:lnTo>
                  <a:lnTo>
                    <a:pt x="191" y="901"/>
                  </a:lnTo>
                  <a:lnTo>
                    <a:pt x="196" y="902"/>
                  </a:lnTo>
                  <a:lnTo>
                    <a:pt x="203" y="901"/>
                  </a:lnTo>
                  <a:lnTo>
                    <a:pt x="209" y="900"/>
                  </a:lnTo>
                  <a:lnTo>
                    <a:pt x="215" y="898"/>
                  </a:lnTo>
                  <a:lnTo>
                    <a:pt x="221" y="896"/>
                  </a:lnTo>
                  <a:lnTo>
                    <a:pt x="227" y="893"/>
                  </a:lnTo>
                  <a:lnTo>
                    <a:pt x="233" y="889"/>
                  </a:lnTo>
                  <a:lnTo>
                    <a:pt x="243" y="881"/>
                  </a:lnTo>
                  <a:lnTo>
                    <a:pt x="251" y="872"/>
                  </a:lnTo>
                  <a:lnTo>
                    <a:pt x="255" y="868"/>
                  </a:lnTo>
                  <a:lnTo>
                    <a:pt x="257" y="863"/>
                  </a:lnTo>
                  <a:lnTo>
                    <a:pt x="259" y="859"/>
                  </a:lnTo>
                  <a:lnTo>
                    <a:pt x="259" y="856"/>
                  </a:lnTo>
                  <a:lnTo>
                    <a:pt x="259" y="851"/>
                  </a:lnTo>
                  <a:lnTo>
                    <a:pt x="258" y="847"/>
                  </a:lnTo>
                  <a:lnTo>
                    <a:pt x="256" y="843"/>
                  </a:lnTo>
                  <a:lnTo>
                    <a:pt x="254" y="840"/>
                  </a:lnTo>
                  <a:lnTo>
                    <a:pt x="248" y="832"/>
                  </a:lnTo>
                  <a:lnTo>
                    <a:pt x="243" y="826"/>
                  </a:lnTo>
                  <a:lnTo>
                    <a:pt x="236" y="818"/>
                  </a:lnTo>
                  <a:lnTo>
                    <a:pt x="232" y="811"/>
                  </a:lnTo>
                  <a:lnTo>
                    <a:pt x="229" y="807"/>
                  </a:lnTo>
                  <a:lnTo>
                    <a:pt x="227" y="803"/>
                  </a:lnTo>
                  <a:lnTo>
                    <a:pt x="226" y="799"/>
                  </a:lnTo>
                  <a:lnTo>
                    <a:pt x="226" y="794"/>
                  </a:lnTo>
                  <a:lnTo>
                    <a:pt x="226" y="789"/>
                  </a:lnTo>
                  <a:lnTo>
                    <a:pt x="227" y="784"/>
                  </a:lnTo>
                  <a:lnTo>
                    <a:pt x="228" y="780"/>
                  </a:lnTo>
                  <a:lnTo>
                    <a:pt x="231" y="776"/>
                  </a:lnTo>
                  <a:lnTo>
                    <a:pt x="234" y="770"/>
                  </a:lnTo>
                  <a:lnTo>
                    <a:pt x="239" y="763"/>
                  </a:lnTo>
                  <a:lnTo>
                    <a:pt x="244" y="757"/>
                  </a:lnTo>
                  <a:lnTo>
                    <a:pt x="248" y="751"/>
                  </a:lnTo>
                  <a:lnTo>
                    <a:pt x="250" y="747"/>
                  </a:lnTo>
                  <a:lnTo>
                    <a:pt x="251" y="743"/>
                  </a:lnTo>
                  <a:lnTo>
                    <a:pt x="252" y="738"/>
                  </a:lnTo>
                  <a:lnTo>
                    <a:pt x="252" y="733"/>
                  </a:lnTo>
                  <a:lnTo>
                    <a:pt x="252" y="724"/>
                  </a:lnTo>
                  <a:lnTo>
                    <a:pt x="251" y="716"/>
                  </a:lnTo>
                  <a:lnTo>
                    <a:pt x="249" y="707"/>
                  </a:lnTo>
                  <a:lnTo>
                    <a:pt x="247" y="700"/>
                  </a:lnTo>
                  <a:lnTo>
                    <a:pt x="242" y="686"/>
                  </a:lnTo>
                  <a:lnTo>
                    <a:pt x="234" y="674"/>
                  </a:lnTo>
                  <a:lnTo>
                    <a:pt x="218" y="653"/>
                  </a:lnTo>
                  <a:lnTo>
                    <a:pt x="206" y="634"/>
                  </a:lnTo>
                  <a:lnTo>
                    <a:pt x="200" y="634"/>
                  </a:lnTo>
                  <a:lnTo>
                    <a:pt x="194" y="635"/>
                  </a:lnTo>
                  <a:lnTo>
                    <a:pt x="190" y="637"/>
                  </a:lnTo>
                  <a:lnTo>
                    <a:pt x="186" y="639"/>
                  </a:lnTo>
                  <a:lnTo>
                    <a:pt x="177" y="644"/>
                  </a:lnTo>
                  <a:lnTo>
                    <a:pt x="168" y="649"/>
                  </a:lnTo>
                  <a:lnTo>
                    <a:pt x="159" y="656"/>
                  </a:lnTo>
                  <a:lnTo>
                    <a:pt x="148" y="661"/>
                  </a:lnTo>
                  <a:lnTo>
                    <a:pt x="142" y="662"/>
                  </a:lnTo>
                  <a:lnTo>
                    <a:pt x="135" y="664"/>
                  </a:lnTo>
                  <a:lnTo>
                    <a:pt x="128" y="665"/>
                  </a:lnTo>
                  <a:lnTo>
                    <a:pt x="120" y="665"/>
                  </a:lnTo>
                  <a:lnTo>
                    <a:pt x="113" y="663"/>
                  </a:lnTo>
                  <a:lnTo>
                    <a:pt x="104" y="658"/>
                  </a:lnTo>
                  <a:lnTo>
                    <a:pt x="100" y="656"/>
                  </a:lnTo>
                  <a:lnTo>
                    <a:pt x="97" y="652"/>
                  </a:lnTo>
                  <a:lnTo>
                    <a:pt x="94" y="649"/>
                  </a:lnTo>
                  <a:lnTo>
                    <a:pt x="93" y="646"/>
                  </a:lnTo>
                  <a:lnTo>
                    <a:pt x="93" y="640"/>
                  </a:lnTo>
                  <a:lnTo>
                    <a:pt x="95" y="633"/>
                  </a:lnTo>
                  <a:lnTo>
                    <a:pt x="98" y="628"/>
                  </a:lnTo>
                  <a:lnTo>
                    <a:pt x="100" y="622"/>
                  </a:lnTo>
                  <a:lnTo>
                    <a:pt x="102" y="616"/>
                  </a:lnTo>
                  <a:lnTo>
                    <a:pt x="104" y="610"/>
                  </a:lnTo>
                  <a:lnTo>
                    <a:pt x="105" y="604"/>
                  </a:lnTo>
                  <a:lnTo>
                    <a:pt x="106" y="597"/>
                  </a:lnTo>
                  <a:lnTo>
                    <a:pt x="86" y="597"/>
                  </a:lnTo>
                  <a:lnTo>
                    <a:pt x="64" y="597"/>
                  </a:lnTo>
                  <a:lnTo>
                    <a:pt x="35" y="597"/>
                  </a:lnTo>
                  <a:lnTo>
                    <a:pt x="0" y="597"/>
                  </a:lnTo>
                  <a:lnTo>
                    <a:pt x="585" y="117"/>
                  </a:lnTo>
                  <a:lnTo>
                    <a:pt x="594" y="116"/>
                  </a:lnTo>
                  <a:lnTo>
                    <a:pt x="602" y="114"/>
                  </a:lnTo>
                  <a:lnTo>
                    <a:pt x="612" y="112"/>
                  </a:lnTo>
                  <a:lnTo>
                    <a:pt x="625" y="111"/>
                  </a:lnTo>
                  <a:lnTo>
                    <a:pt x="635" y="111"/>
                  </a:lnTo>
                  <a:lnTo>
                    <a:pt x="643" y="113"/>
                  </a:lnTo>
                  <a:lnTo>
                    <a:pt x="651" y="116"/>
                  </a:lnTo>
                  <a:lnTo>
                    <a:pt x="659" y="119"/>
                  </a:lnTo>
                  <a:lnTo>
                    <a:pt x="674" y="128"/>
                  </a:lnTo>
                  <a:lnTo>
                    <a:pt x="687" y="138"/>
                  </a:lnTo>
                  <a:lnTo>
                    <a:pt x="702" y="148"/>
                  </a:lnTo>
                  <a:lnTo>
                    <a:pt x="716" y="158"/>
                  </a:lnTo>
                  <a:lnTo>
                    <a:pt x="724" y="161"/>
                  </a:lnTo>
                  <a:lnTo>
                    <a:pt x="732" y="164"/>
                  </a:lnTo>
                  <a:lnTo>
                    <a:pt x="741" y="166"/>
                  </a:lnTo>
                  <a:lnTo>
                    <a:pt x="751" y="166"/>
                  </a:lnTo>
                  <a:lnTo>
                    <a:pt x="943" y="111"/>
                  </a:lnTo>
                  <a:lnTo>
                    <a:pt x="1096" y="111"/>
                  </a:lnTo>
                  <a:lnTo>
                    <a:pt x="1103" y="112"/>
                  </a:lnTo>
                  <a:lnTo>
                    <a:pt x="1110" y="113"/>
                  </a:lnTo>
                  <a:lnTo>
                    <a:pt x="1117" y="113"/>
                  </a:lnTo>
                  <a:lnTo>
                    <a:pt x="1123" y="113"/>
                  </a:lnTo>
                  <a:lnTo>
                    <a:pt x="1135" y="110"/>
                  </a:lnTo>
                  <a:lnTo>
                    <a:pt x="1146" y="105"/>
                  </a:lnTo>
                  <a:lnTo>
                    <a:pt x="1157" y="100"/>
                  </a:lnTo>
                  <a:lnTo>
                    <a:pt x="1169" y="93"/>
                  </a:lnTo>
                  <a:lnTo>
                    <a:pt x="1181" y="89"/>
                  </a:lnTo>
                  <a:lnTo>
                    <a:pt x="1196" y="85"/>
                  </a:lnTo>
                  <a:lnTo>
                    <a:pt x="1195" y="90"/>
                  </a:lnTo>
                  <a:lnTo>
                    <a:pt x="1195" y="94"/>
                  </a:lnTo>
                  <a:lnTo>
                    <a:pt x="1195" y="100"/>
                  </a:lnTo>
                  <a:lnTo>
                    <a:pt x="1196" y="104"/>
                  </a:lnTo>
                  <a:lnTo>
                    <a:pt x="1198" y="112"/>
                  </a:lnTo>
                  <a:lnTo>
                    <a:pt x="1202" y="120"/>
                  </a:lnTo>
                  <a:lnTo>
                    <a:pt x="1208" y="126"/>
                  </a:lnTo>
                  <a:lnTo>
                    <a:pt x="1214" y="131"/>
                  </a:lnTo>
                  <a:lnTo>
                    <a:pt x="1218" y="132"/>
                  </a:lnTo>
                  <a:lnTo>
                    <a:pt x="1222" y="134"/>
                  </a:lnTo>
                  <a:lnTo>
                    <a:pt x="1225" y="135"/>
                  </a:lnTo>
                  <a:lnTo>
                    <a:pt x="1230" y="135"/>
                  </a:lnTo>
                  <a:lnTo>
                    <a:pt x="1238" y="134"/>
                  </a:lnTo>
                  <a:lnTo>
                    <a:pt x="1247" y="133"/>
                  </a:lnTo>
                  <a:lnTo>
                    <a:pt x="1255" y="131"/>
                  </a:lnTo>
                  <a:lnTo>
                    <a:pt x="1263" y="128"/>
                  </a:lnTo>
                  <a:lnTo>
                    <a:pt x="1278" y="122"/>
                  </a:lnTo>
                  <a:lnTo>
                    <a:pt x="1296" y="117"/>
                  </a:lnTo>
                  <a:lnTo>
                    <a:pt x="1298" y="119"/>
                  </a:lnTo>
                  <a:lnTo>
                    <a:pt x="1300" y="120"/>
                  </a:lnTo>
                  <a:lnTo>
                    <a:pt x="1303" y="122"/>
                  </a:lnTo>
                  <a:lnTo>
                    <a:pt x="1308" y="123"/>
                  </a:lnTo>
                  <a:lnTo>
                    <a:pt x="1319" y="124"/>
                  </a:lnTo>
                  <a:lnTo>
                    <a:pt x="1331" y="124"/>
                  </a:lnTo>
                  <a:lnTo>
                    <a:pt x="1343" y="123"/>
                  </a:lnTo>
                  <a:lnTo>
                    <a:pt x="1355" y="121"/>
                  </a:lnTo>
                  <a:lnTo>
                    <a:pt x="1367" y="119"/>
                  </a:lnTo>
                  <a:lnTo>
                    <a:pt x="1376" y="117"/>
                  </a:lnTo>
                  <a:lnTo>
                    <a:pt x="1386" y="116"/>
                  </a:lnTo>
                  <a:lnTo>
                    <a:pt x="1397" y="114"/>
                  </a:lnTo>
                  <a:lnTo>
                    <a:pt x="1405" y="112"/>
                  </a:lnTo>
                  <a:lnTo>
                    <a:pt x="1409" y="111"/>
                  </a:lnTo>
                  <a:lnTo>
                    <a:pt x="1424" y="112"/>
                  </a:lnTo>
                  <a:lnTo>
                    <a:pt x="1450" y="117"/>
                  </a:lnTo>
                  <a:lnTo>
                    <a:pt x="1483" y="123"/>
                  </a:lnTo>
                  <a:lnTo>
                    <a:pt x="1520" y="131"/>
                  </a:lnTo>
                  <a:lnTo>
                    <a:pt x="1557" y="140"/>
                  </a:lnTo>
                  <a:lnTo>
                    <a:pt x="1592" y="149"/>
                  </a:lnTo>
                  <a:lnTo>
                    <a:pt x="1621" y="159"/>
                  </a:lnTo>
                  <a:lnTo>
                    <a:pt x="1641" y="166"/>
                  </a:lnTo>
                  <a:lnTo>
                    <a:pt x="1632" y="174"/>
                  </a:lnTo>
                  <a:lnTo>
                    <a:pt x="1623" y="179"/>
                  </a:lnTo>
                  <a:lnTo>
                    <a:pt x="1615" y="183"/>
                  </a:lnTo>
                  <a:lnTo>
                    <a:pt x="1607" y="187"/>
                  </a:lnTo>
                  <a:lnTo>
                    <a:pt x="1601" y="189"/>
                  </a:lnTo>
                  <a:lnTo>
                    <a:pt x="1592" y="193"/>
                  </a:lnTo>
                  <a:lnTo>
                    <a:pt x="1584" y="197"/>
                  </a:lnTo>
                  <a:lnTo>
                    <a:pt x="1574" y="202"/>
                  </a:lnTo>
                  <a:lnTo>
                    <a:pt x="1591" y="209"/>
                  </a:lnTo>
                  <a:lnTo>
                    <a:pt x="1606" y="215"/>
                  </a:lnTo>
                  <a:lnTo>
                    <a:pt x="1621" y="219"/>
                  </a:lnTo>
                  <a:lnTo>
                    <a:pt x="1635" y="222"/>
                  </a:lnTo>
                  <a:lnTo>
                    <a:pt x="1648" y="225"/>
                  </a:lnTo>
                  <a:lnTo>
                    <a:pt x="1662" y="226"/>
                  </a:lnTo>
                  <a:lnTo>
                    <a:pt x="1678" y="227"/>
                  </a:lnTo>
                  <a:lnTo>
                    <a:pt x="1694" y="228"/>
                  </a:lnTo>
                  <a:lnTo>
                    <a:pt x="1711" y="227"/>
                  </a:lnTo>
                  <a:lnTo>
                    <a:pt x="1725" y="224"/>
                  </a:lnTo>
                  <a:lnTo>
                    <a:pt x="1737" y="220"/>
                  </a:lnTo>
                  <a:lnTo>
                    <a:pt x="1749" y="216"/>
                  </a:lnTo>
                  <a:lnTo>
                    <a:pt x="1760" y="211"/>
                  </a:lnTo>
                  <a:lnTo>
                    <a:pt x="1771" y="206"/>
                  </a:lnTo>
                  <a:lnTo>
                    <a:pt x="1782" y="203"/>
                  </a:lnTo>
                  <a:lnTo>
                    <a:pt x="1794" y="202"/>
                  </a:lnTo>
                  <a:lnTo>
                    <a:pt x="1800" y="203"/>
                  </a:lnTo>
                  <a:lnTo>
                    <a:pt x="1805" y="204"/>
                  </a:lnTo>
                  <a:lnTo>
                    <a:pt x="1811" y="206"/>
                  </a:lnTo>
                  <a:lnTo>
                    <a:pt x="1816" y="209"/>
                  </a:lnTo>
                  <a:lnTo>
                    <a:pt x="1825" y="217"/>
                  </a:lnTo>
                  <a:lnTo>
                    <a:pt x="1833" y="225"/>
                  </a:lnTo>
                  <a:lnTo>
                    <a:pt x="1841" y="232"/>
                  </a:lnTo>
                  <a:lnTo>
                    <a:pt x="1849" y="239"/>
                  </a:lnTo>
                  <a:lnTo>
                    <a:pt x="1853" y="242"/>
                  </a:lnTo>
                  <a:lnTo>
                    <a:pt x="1858" y="244"/>
                  </a:lnTo>
                  <a:lnTo>
                    <a:pt x="1862" y="245"/>
                  </a:lnTo>
                  <a:lnTo>
                    <a:pt x="1867" y="246"/>
                  </a:lnTo>
                  <a:lnTo>
                    <a:pt x="1880" y="202"/>
                  </a:lnTo>
                  <a:lnTo>
                    <a:pt x="2006" y="178"/>
                  </a:lnTo>
                  <a:lnTo>
                    <a:pt x="2016" y="179"/>
                  </a:lnTo>
                  <a:lnTo>
                    <a:pt x="2026" y="180"/>
                  </a:lnTo>
                  <a:lnTo>
                    <a:pt x="2035" y="181"/>
                  </a:lnTo>
                  <a:lnTo>
                    <a:pt x="2043" y="183"/>
                  </a:lnTo>
                  <a:lnTo>
                    <a:pt x="2060" y="188"/>
                  </a:lnTo>
                  <a:lnTo>
                    <a:pt x="2076" y="193"/>
                  </a:lnTo>
                  <a:lnTo>
                    <a:pt x="2093" y="199"/>
                  </a:lnTo>
                  <a:lnTo>
                    <a:pt x="2109" y="204"/>
                  </a:lnTo>
                  <a:lnTo>
                    <a:pt x="2118" y="206"/>
                  </a:lnTo>
                  <a:lnTo>
                    <a:pt x="2127" y="207"/>
                  </a:lnTo>
                  <a:lnTo>
                    <a:pt x="2137" y="208"/>
                  </a:lnTo>
                  <a:lnTo>
                    <a:pt x="2147" y="208"/>
                  </a:lnTo>
                  <a:lnTo>
                    <a:pt x="2162" y="208"/>
                  </a:lnTo>
                  <a:lnTo>
                    <a:pt x="2173" y="207"/>
                  </a:lnTo>
                  <a:lnTo>
                    <a:pt x="2183" y="205"/>
                  </a:lnTo>
                  <a:lnTo>
                    <a:pt x="2190" y="202"/>
                  </a:lnTo>
                  <a:lnTo>
                    <a:pt x="2198" y="200"/>
                  </a:lnTo>
                  <a:lnTo>
                    <a:pt x="2206" y="198"/>
                  </a:lnTo>
                  <a:lnTo>
                    <a:pt x="2215" y="197"/>
                  </a:lnTo>
                  <a:lnTo>
                    <a:pt x="2226" y="196"/>
                  </a:lnTo>
                  <a:lnTo>
                    <a:pt x="2235" y="197"/>
                  </a:lnTo>
                  <a:lnTo>
                    <a:pt x="2244" y="199"/>
                  </a:lnTo>
                  <a:lnTo>
                    <a:pt x="2253" y="202"/>
                  </a:lnTo>
                  <a:lnTo>
                    <a:pt x="2261" y="205"/>
                  </a:lnTo>
                  <a:lnTo>
                    <a:pt x="2267" y="209"/>
                  </a:lnTo>
                  <a:lnTo>
                    <a:pt x="2274" y="213"/>
                  </a:lnTo>
                  <a:lnTo>
                    <a:pt x="2280" y="215"/>
                  </a:lnTo>
                  <a:lnTo>
                    <a:pt x="2286" y="216"/>
                  </a:lnTo>
                  <a:lnTo>
                    <a:pt x="2290" y="215"/>
                  </a:lnTo>
                  <a:lnTo>
                    <a:pt x="2296" y="213"/>
                  </a:lnTo>
                  <a:lnTo>
                    <a:pt x="2300" y="211"/>
                  </a:lnTo>
                  <a:lnTo>
                    <a:pt x="2305" y="206"/>
                  </a:lnTo>
                  <a:lnTo>
                    <a:pt x="2309" y="202"/>
                  </a:lnTo>
                  <a:lnTo>
                    <a:pt x="2312" y="197"/>
                  </a:lnTo>
                  <a:lnTo>
                    <a:pt x="2316" y="191"/>
                  </a:lnTo>
                  <a:lnTo>
                    <a:pt x="2319" y="184"/>
                  </a:lnTo>
                  <a:lnTo>
                    <a:pt x="2326" y="183"/>
                  </a:lnTo>
                  <a:lnTo>
                    <a:pt x="2334" y="180"/>
                  </a:lnTo>
                  <a:lnTo>
                    <a:pt x="2339" y="179"/>
                  </a:lnTo>
                  <a:lnTo>
                    <a:pt x="2342" y="177"/>
                  </a:lnTo>
                  <a:lnTo>
                    <a:pt x="2344" y="174"/>
                  </a:lnTo>
                  <a:lnTo>
                    <a:pt x="2345" y="172"/>
                  </a:lnTo>
                  <a:lnTo>
                    <a:pt x="2378" y="172"/>
                  </a:lnTo>
                  <a:lnTo>
                    <a:pt x="2376" y="178"/>
                  </a:lnTo>
                  <a:lnTo>
                    <a:pt x="2372" y="185"/>
                  </a:lnTo>
                  <a:lnTo>
                    <a:pt x="2369" y="189"/>
                  </a:lnTo>
                  <a:lnTo>
                    <a:pt x="2367" y="193"/>
                  </a:lnTo>
                  <a:lnTo>
                    <a:pt x="2366" y="198"/>
                  </a:lnTo>
                  <a:lnTo>
                    <a:pt x="2365" y="202"/>
                  </a:lnTo>
                  <a:lnTo>
                    <a:pt x="2365" y="216"/>
                  </a:lnTo>
                  <a:lnTo>
                    <a:pt x="2365" y="228"/>
                  </a:lnTo>
                  <a:lnTo>
                    <a:pt x="2405" y="228"/>
                  </a:lnTo>
                  <a:lnTo>
                    <a:pt x="2401" y="213"/>
                  </a:lnTo>
                  <a:lnTo>
                    <a:pt x="2400" y="203"/>
                  </a:lnTo>
                  <a:lnTo>
                    <a:pt x="2401" y="195"/>
                  </a:lnTo>
                  <a:lnTo>
                    <a:pt x="2405" y="184"/>
                  </a:lnTo>
                  <a:lnTo>
                    <a:pt x="2430" y="184"/>
                  </a:lnTo>
                  <a:lnTo>
                    <a:pt x="2454" y="182"/>
                  </a:lnTo>
                  <a:lnTo>
                    <a:pt x="2465" y="180"/>
                  </a:lnTo>
                  <a:lnTo>
                    <a:pt x="2476" y="178"/>
                  </a:lnTo>
                  <a:lnTo>
                    <a:pt x="2487" y="175"/>
                  </a:lnTo>
                  <a:lnTo>
                    <a:pt x="2497" y="172"/>
                  </a:lnTo>
                  <a:lnTo>
                    <a:pt x="2506" y="168"/>
                  </a:lnTo>
                  <a:lnTo>
                    <a:pt x="2513" y="164"/>
                  </a:lnTo>
                  <a:lnTo>
                    <a:pt x="2521" y="159"/>
                  </a:lnTo>
                  <a:lnTo>
                    <a:pt x="2526" y="153"/>
                  </a:lnTo>
                  <a:lnTo>
                    <a:pt x="2532" y="146"/>
                  </a:lnTo>
                  <a:lnTo>
                    <a:pt x="2535" y="139"/>
                  </a:lnTo>
                  <a:lnTo>
                    <a:pt x="2537" y="131"/>
                  </a:lnTo>
                  <a:lnTo>
                    <a:pt x="2539" y="123"/>
                  </a:lnTo>
                  <a:lnTo>
                    <a:pt x="2532" y="123"/>
                  </a:lnTo>
                  <a:lnTo>
                    <a:pt x="2518" y="123"/>
                  </a:lnTo>
                  <a:lnTo>
                    <a:pt x="2501" y="123"/>
                  </a:lnTo>
                  <a:lnTo>
                    <a:pt x="2491" y="123"/>
                  </a:lnTo>
                  <a:lnTo>
                    <a:pt x="2487" y="120"/>
                  </a:lnTo>
                  <a:lnTo>
                    <a:pt x="2483" y="115"/>
                  </a:lnTo>
                  <a:lnTo>
                    <a:pt x="2479" y="110"/>
                  </a:lnTo>
                  <a:lnTo>
                    <a:pt x="2477" y="105"/>
                  </a:lnTo>
                  <a:lnTo>
                    <a:pt x="2473" y="93"/>
                  </a:lnTo>
                  <a:lnTo>
                    <a:pt x="2472" y="85"/>
                  </a:lnTo>
                  <a:lnTo>
                    <a:pt x="2473" y="81"/>
                  </a:lnTo>
                  <a:lnTo>
                    <a:pt x="2476" y="75"/>
                  </a:lnTo>
                  <a:lnTo>
                    <a:pt x="2480" y="69"/>
                  </a:lnTo>
                  <a:lnTo>
                    <a:pt x="2487" y="62"/>
                  </a:lnTo>
                  <a:lnTo>
                    <a:pt x="2495" y="55"/>
                  </a:lnTo>
                  <a:lnTo>
                    <a:pt x="2503" y="48"/>
                  </a:lnTo>
                  <a:lnTo>
                    <a:pt x="2512" y="40"/>
                  </a:lnTo>
                  <a:lnTo>
                    <a:pt x="2523" y="33"/>
                  </a:lnTo>
                  <a:lnTo>
                    <a:pt x="2534" y="26"/>
                  </a:lnTo>
                  <a:lnTo>
                    <a:pt x="2545" y="20"/>
                  </a:lnTo>
                  <a:lnTo>
                    <a:pt x="2556" y="15"/>
                  </a:lnTo>
                  <a:lnTo>
                    <a:pt x="2567" y="10"/>
                  </a:lnTo>
                  <a:lnTo>
                    <a:pt x="2577" y="6"/>
                  </a:lnTo>
                  <a:lnTo>
                    <a:pt x="2587" y="2"/>
                  </a:lnTo>
                  <a:lnTo>
                    <a:pt x="2597" y="0"/>
                  </a:lnTo>
                  <a:lnTo>
                    <a:pt x="2604" y="0"/>
                  </a:lnTo>
                  <a:lnTo>
                    <a:pt x="2611" y="0"/>
                  </a:lnTo>
                  <a:lnTo>
                    <a:pt x="2621" y="0"/>
                  </a:lnTo>
                  <a:lnTo>
                    <a:pt x="2631" y="0"/>
                  </a:lnTo>
                  <a:lnTo>
                    <a:pt x="2637" y="0"/>
                  </a:lnTo>
                  <a:lnTo>
                    <a:pt x="2638" y="8"/>
                  </a:lnTo>
                  <a:lnTo>
                    <a:pt x="2638" y="16"/>
                  </a:lnTo>
                  <a:lnTo>
                    <a:pt x="2640" y="24"/>
                  </a:lnTo>
                  <a:lnTo>
                    <a:pt x="2642" y="30"/>
                  </a:lnTo>
                  <a:lnTo>
                    <a:pt x="2646" y="42"/>
                  </a:lnTo>
                  <a:lnTo>
                    <a:pt x="2651" y="53"/>
                  </a:lnTo>
                  <a:lnTo>
                    <a:pt x="2656" y="62"/>
                  </a:lnTo>
                  <a:lnTo>
                    <a:pt x="2660" y="71"/>
                  </a:lnTo>
                  <a:lnTo>
                    <a:pt x="2663" y="81"/>
                  </a:lnTo>
                  <a:lnTo>
                    <a:pt x="2664" y="91"/>
                  </a:lnTo>
                  <a:lnTo>
                    <a:pt x="2664" y="95"/>
                  </a:lnTo>
                  <a:lnTo>
                    <a:pt x="2663" y="97"/>
                  </a:lnTo>
                  <a:lnTo>
                    <a:pt x="2660" y="100"/>
                  </a:lnTo>
                  <a:lnTo>
                    <a:pt x="2658" y="101"/>
                  </a:lnTo>
                  <a:lnTo>
                    <a:pt x="2652" y="103"/>
                  </a:lnTo>
                  <a:lnTo>
                    <a:pt x="2644" y="105"/>
                  </a:lnTo>
                  <a:lnTo>
                    <a:pt x="2635" y="106"/>
                  </a:lnTo>
                  <a:lnTo>
                    <a:pt x="2627" y="108"/>
                  </a:lnTo>
                  <a:lnTo>
                    <a:pt x="2624" y="109"/>
                  </a:lnTo>
                  <a:lnTo>
                    <a:pt x="2622" y="111"/>
                  </a:lnTo>
                  <a:lnTo>
                    <a:pt x="2620" y="114"/>
                  </a:lnTo>
                  <a:lnTo>
                    <a:pt x="2618" y="117"/>
                  </a:lnTo>
                  <a:lnTo>
                    <a:pt x="2627" y="118"/>
                  </a:lnTo>
                  <a:lnTo>
                    <a:pt x="2637" y="120"/>
                  </a:lnTo>
                  <a:lnTo>
                    <a:pt x="2647" y="122"/>
                  </a:lnTo>
                  <a:lnTo>
                    <a:pt x="2657" y="123"/>
                  </a:lnTo>
                  <a:lnTo>
                    <a:pt x="2653" y="127"/>
                  </a:lnTo>
                  <a:lnTo>
                    <a:pt x="2649" y="132"/>
                  </a:lnTo>
                  <a:lnTo>
                    <a:pt x="2647" y="137"/>
                  </a:lnTo>
                  <a:lnTo>
                    <a:pt x="2646" y="142"/>
                  </a:lnTo>
                  <a:lnTo>
                    <a:pt x="2644" y="153"/>
                  </a:lnTo>
                  <a:lnTo>
                    <a:pt x="2644" y="166"/>
                  </a:lnTo>
                  <a:lnTo>
                    <a:pt x="2645" y="168"/>
                  </a:lnTo>
                  <a:lnTo>
                    <a:pt x="2646" y="169"/>
                  </a:lnTo>
                  <a:lnTo>
                    <a:pt x="2648" y="169"/>
                  </a:lnTo>
                  <a:lnTo>
                    <a:pt x="2652" y="168"/>
                  </a:lnTo>
                  <a:lnTo>
                    <a:pt x="2658" y="167"/>
                  </a:lnTo>
                  <a:lnTo>
                    <a:pt x="2664" y="166"/>
                  </a:lnTo>
                  <a:lnTo>
                    <a:pt x="2664" y="160"/>
                  </a:lnTo>
                  <a:lnTo>
                    <a:pt x="2664" y="153"/>
                  </a:lnTo>
                  <a:lnTo>
                    <a:pt x="2672" y="151"/>
                  </a:lnTo>
                  <a:lnTo>
                    <a:pt x="2680" y="148"/>
                  </a:lnTo>
                  <a:lnTo>
                    <a:pt x="2685" y="145"/>
                  </a:lnTo>
                  <a:lnTo>
                    <a:pt x="2689" y="142"/>
                  </a:lnTo>
                  <a:lnTo>
                    <a:pt x="2692" y="139"/>
                  </a:lnTo>
                  <a:lnTo>
                    <a:pt x="2696" y="137"/>
                  </a:lnTo>
                  <a:lnTo>
                    <a:pt x="2700" y="135"/>
                  </a:lnTo>
                  <a:lnTo>
                    <a:pt x="2704" y="135"/>
                  </a:lnTo>
                  <a:lnTo>
                    <a:pt x="2709" y="137"/>
                  </a:lnTo>
                  <a:lnTo>
                    <a:pt x="2715" y="138"/>
                  </a:lnTo>
                  <a:lnTo>
                    <a:pt x="2724" y="139"/>
                  </a:lnTo>
                  <a:lnTo>
                    <a:pt x="2733" y="140"/>
                  </a:lnTo>
                  <a:lnTo>
                    <a:pt x="2749" y="141"/>
                  </a:lnTo>
                  <a:lnTo>
                    <a:pt x="2757" y="141"/>
                  </a:lnTo>
                  <a:lnTo>
                    <a:pt x="2752" y="153"/>
                  </a:lnTo>
                  <a:lnTo>
                    <a:pt x="2745" y="164"/>
                  </a:lnTo>
                  <a:lnTo>
                    <a:pt x="2738" y="173"/>
                  </a:lnTo>
                  <a:lnTo>
                    <a:pt x="2731" y="180"/>
                  </a:lnTo>
                  <a:lnTo>
                    <a:pt x="2723" y="188"/>
                  </a:lnTo>
                  <a:lnTo>
                    <a:pt x="2716" y="196"/>
                  </a:lnTo>
                  <a:lnTo>
                    <a:pt x="2710" y="204"/>
                  </a:lnTo>
                  <a:lnTo>
                    <a:pt x="2704" y="216"/>
                  </a:lnTo>
                  <a:lnTo>
                    <a:pt x="2712" y="217"/>
                  </a:lnTo>
                  <a:lnTo>
                    <a:pt x="2719" y="218"/>
                  </a:lnTo>
                  <a:lnTo>
                    <a:pt x="2725" y="218"/>
                  </a:lnTo>
                  <a:lnTo>
                    <a:pt x="2732" y="218"/>
                  </a:lnTo>
                  <a:lnTo>
                    <a:pt x="2744" y="216"/>
                  </a:lnTo>
                  <a:lnTo>
                    <a:pt x="2750" y="216"/>
                  </a:lnTo>
                  <a:lnTo>
                    <a:pt x="2780" y="194"/>
                  </a:lnTo>
                  <a:lnTo>
                    <a:pt x="2810" y="172"/>
                  </a:lnTo>
                  <a:lnTo>
                    <a:pt x="2817" y="167"/>
                  </a:lnTo>
                  <a:lnTo>
                    <a:pt x="2825" y="163"/>
                  </a:lnTo>
                  <a:lnTo>
                    <a:pt x="2834" y="159"/>
                  </a:lnTo>
                  <a:lnTo>
                    <a:pt x="2843" y="155"/>
                  </a:lnTo>
                  <a:lnTo>
                    <a:pt x="2853" y="151"/>
                  </a:lnTo>
                  <a:lnTo>
                    <a:pt x="2862" y="149"/>
                  </a:lnTo>
                  <a:lnTo>
                    <a:pt x="2872" y="147"/>
                  </a:lnTo>
                  <a:lnTo>
                    <a:pt x="2883" y="147"/>
                  </a:lnTo>
                  <a:lnTo>
                    <a:pt x="2884" y="139"/>
                  </a:lnTo>
                  <a:lnTo>
                    <a:pt x="2885" y="132"/>
                  </a:lnTo>
                  <a:lnTo>
                    <a:pt x="2888" y="126"/>
                  </a:lnTo>
                  <a:lnTo>
                    <a:pt x="2891" y="121"/>
                  </a:lnTo>
                  <a:lnTo>
                    <a:pt x="2895" y="116"/>
                  </a:lnTo>
                  <a:lnTo>
                    <a:pt x="2900" y="111"/>
                  </a:lnTo>
                  <a:lnTo>
                    <a:pt x="2905" y="107"/>
                  </a:lnTo>
                  <a:lnTo>
                    <a:pt x="2912" y="104"/>
                  </a:lnTo>
                  <a:lnTo>
                    <a:pt x="2918" y="101"/>
                  </a:lnTo>
                  <a:lnTo>
                    <a:pt x="2925" y="98"/>
                  </a:lnTo>
                  <a:lnTo>
                    <a:pt x="2932" y="96"/>
                  </a:lnTo>
                  <a:lnTo>
                    <a:pt x="2939" y="94"/>
                  </a:lnTo>
                  <a:lnTo>
                    <a:pt x="2955" y="92"/>
                  </a:lnTo>
                  <a:lnTo>
                    <a:pt x="2970" y="91"/>
                  </a:lnTo>
                  <a:lnTo>
                    <a:pt x="2978" y="92"/>
                  </a:lnTo>
                  <a:lnTo>
                    <a:pt x="2984" y="93"/>
                  </a:lnTo>
                  <a:lnTo>
                    <a:pt x="2993" y="95"/>
                  </a:lnTo>
                  <a:lnTo>
                    <a:pt x="3001" y="98"/>
                  </a:lnTo>
                  <a:lnTo>
                    <a:pt x="3008" y="101"/>
                  </a:lnTo>
                  <a:lnTo>
                    <a:pt x="3017" y="103"/>
                  </a:lnTo>
                  <a:lnTo>
                    <a:pt x="3026" y="104"/>
                  </a:lnTo>
                  <a:lnTo>
                    <a:pt x="3036" y="105"/>
                  </a:lnTo>
                  <a:lnTo>
                    <a:pt x="3036" y="110"/>
                  </a:lnTo>
                  <a:lnTo>
                    <a:pt x="3036" y="117"/>
                  </a:lnTo>
                  <a:lnTo>
                    <a:pt x="3036" y="126"/>
                  </a:lnTo>
                  <a:lnTo>
                    <a:pt x="3036" y="135"/>
                  </a:lnTo>
                  <a:lnTo>
                    <a:pt x="3036" y="139"/>
                  </a:lnTo>
                  <a:lnTo>
                    <a:pt x="3035" y="143"/>
                  </a:lnTo>
                  <a:lnTo>
                    <a:pt x="3033" y="147"/>
                  </a:lnTo>
                  <a:lnTo>
                    <a:pt x="3030" y="150"/>
                  </a:lnTo>
                  <a:lnTo>
                    <a:pt x="3025" y="157"/>
                  </a:lnTo>
                  <a:lnTo>
                    <a:pt x="3018" y="162"/>
                  </a:lnTo>
                  <a:lnTo>
                    <a:pt x="3003" y="170"/>
                  </a:lnTo>
                  <a:lnTo>
                    <a:pt x="2990" y="178"/>
                  </a:lnTo>
                  <a:lnTo>
                    <a:pt x="2982" y="196"/>
                  </a:lnTo>
                  <a:lnTo>
                    <a:pt x="2973" y="214"/>
                  </a:lnTo>
                  <a:lnTo>
                    <a:pt x="2968" y="222"/>
                  </a:lnTo>
                  <a:lnTo>
                    <a:pt x="2963" y="229"/>
                  </a:lnTo>
                  <a:lnTo>
                    <a:pt x="2958" y="236"/>
                  </a:lnTo>
                  <a:lnTo>
                    <a:pt x="2951" y="243"/>
                  </a:lnTo>
                  <a:lnTo>
                    <a:pt x="2945" y="249"/>
                  </a:lnTo>
                  <a:lnTo>
                    <a:pt x="2938" y="254"/>
                  </a:lnTo>
                  <a:lnTo>
                    <a:pt x="2931" y="259"/>
                  </a:lnTo>
                  <a:lnTo>
                    <a:pt x="2923" y="263"/>
                  </a:lnTo>
                  <a:lnTo>
                    <a:pt x="2914" y="267"/>
                  </a:lnTo>
                  <a:lnTo>
                    <a:pt x="2904" y="269"/>
                  </a:lnTo>
                  <a:lnTo>
                    <a:pt x="2894" y="271"/>
                  </a:lnTo>
                  <a:lnTo>
                    <a:pt x="2883" y="271"/>
                  </a:lnTo>
                  <a:lnTo>
                    <a:pt x="2878" y="271"/>
                  </a:lnTo>
                  <a:lnTo>
                    <a:pt x="2872" y="270"/>
                  </a:lnTo>
                  <a:lnTo>
                    <a:pt x="2867" y="268"/>
                  </a:lnTo>
                  <a:lnTo>
                    <a:pt x="2861" y="266"/>
                  </a:lnTo>
                  <a:lnTo>
                    <a:pt x="2856" y="263"/>
                  </a:lnTo>
                  <a:lnTo>
                    <a:pt x="2850" y="260"/>
                  </a:lnTo>
                  <a:lnTo>
                    <a:pt x="2847" y="256"/>
                  </a:lnTo>
                  <a:lnTo>
                    <a:pt x="2844" y="252"/>
                  </a:lnTo>
                  <a:lnTo>
                    <a:pt x="2838" y="257"/>
                  </a:lnTo>
                  <a:lnTo>
                    <a:pt x="2835" y="264"/>
                  </a:lnTo>
                  <a:lnTo>
                    <a:pt x="2834" y="268"/>
                  </a:lnTo>
                  <a:lnTo>
                    <a:pt x="2834" y="272"/>
                  </a:lnTo>
                  <a:lnTo>
                    <a:pt x="2835" y="275"/>
                  </a:lnTo>
                  <a:lnTo>
                    <a:pt x="2837" y="277"/>
                  </a:lnTo>
                  <a:lnTo>
                    <a:pt x="2829" y="278"/>
                  </a:lnTo>
                  <a:lnTo>
                    <a:pt x="2823" y="279"/>
                  </a:lnTo>
                  <a:lnTo>
                    <a:pt x="2817" y="281"/>
                  </a:lnTo>
                  <a:lnTo>
                    <a:pt x="2811" y="283"/>
                  </a:lnTo>
                  <a:lnTo>
                    <a:pt x="2805" y="285"/>
                  </a:lnTo>
                  <a:lnTo>
                    <a:pt x="2801" y="287"/>
                  </a:lnTo>
                  <a:lnTo>
                    <a:pt x="2795" y="289"/>
                  </a:lnTo>
                  <a:lnTo>
                    <a:pt x="2790" y="289"/>
                  </a:lnTo>
                  <a:lnTo>
                    <a:pt x="2783" y="288"/>
                  </a:lnTo>
                  <a:lnTo>
                    <a:pt x="2777" y="286"/>
                  </a:lnTo>
                  <a:lnTo>
                    <a:pt x="2770" y="283"/>
                  </a:lnTo>
                  <a:lnTo>
                    <a:pt x="2765" y="279"/>
                  </a:lnTo>
                  <a:lnTo>
                    <a:pt x="2754" y="271"/>
                  </a:lnTo>
                  <a:lnTo>
                    <a:pt x="2744" y="264"/>
                  </a:lnTo>
                  <a:lnTo>
                    <a:pt x="2730" y="272"/>
                  </a:lnTo>
                  <a:lnTo>
                    <a:pt x="2717" y="281"/>
                  </a:lnTo>
                  <a:lnTo>
                    <a:pt x="2707" y="290"/>
                  </a:lnTo>
                  <a:lnTo>
                    <a:pt x="2696" y="299"/>
                  </a:lnTo>
                  <a:lnTo>
                    <a:pt x="2685" y="307"/>
                  </a:lnTo>
                  <a:lnTo>
                    <a:pt x="2671" y="313"/>
                  </a:lnTo>
                  <a:lnTo>
                    <a:pt x="2664" y="316"/>
                  </a:lnTo>
                  <a:lnTo>
                    <a:pt x="2656" y="318"/>
                  </a:lnTo>
                  <a:lnTo>
                    <a:pt x="2647" y="319"/>
                  </a:lnTo>
                  <a:lnTo>
                    <a:pt x="2637" y="319"/>
                  </a:lnTo>
                  <a:lnTo>
                    <a:pt x="2626" y="319"/>
                  </a:lnTo>
                  <a:lnTo>
                    <a:pt x="2615" y="317"/>
                  </a:lnTo>
                  <a:lnTo>
                    <a:pt x="2602" y="315"/>
                  </a:lnTo>
                  <a:lnTo>
                    <a:pt x="2590" y="312"/>
                  </a:lnTo>
                  <a:lnTo>
                    <a:pt x="2579" y="308"/>
                  </a:lnTo>
                  <a:lnTo>
                    <a:pt x="2569" y="304"/>
                  </a:lnTo>
                  <a:lnTo>
                    <a:pt x="2562" y="300"/>
                  </a:lnTo>
                  <a:lnTo>
                    <a:pt x="2558" y="295"/>
                  </a:lnTo>
                  <a:lnTo>
                    <a:pt x="2518" y="295"/>
                  </a:lnTo>
                  <a:lnTo>
                    <a:pt x="2521" y="303"/>
                  </a:lnTo>
                  <a:lnTo>
                    <a:pt x="2525" y="309"/>
                  </a:lnTo>
                  <a:lnTo>
                    <a:pt x="2530" y="314"/>
                  </a:lnTo>
                  <a:lnTo>
                    <a:pt x="2536" y="318"/>
                  </a:lnTo>
                  <a:lnTo>
                    <a:pt x="2542" y="322"/>
                  </a:lnTo>
                  <a:lnTo>
                    <a:pt x="2550" y="324"/>
                  </a:lnTo>
                  <a:lnTo>
                    <a:pt x="2557" y="326"/>
                  </a:lnTo>
                  <a:lnTo>
                    <a:pt x="2565" y="327"/>
                  </a:lnTo>
                  <a:lnTo>
                    <a:pt x="2601" y="328"/>
                  </a:lnTo>
                  <a:lnTo>
                    <a:pt x="2637" y="326"/>
                  </a:lnTo>
                  <a:lnTo>
                    <a:pt x="2637" y="335"/>
                  </a:lnTo>
                  <a:lnTo>
                    <a:pt x="2638" y="342"/>
                  </a:lnTo>
                  <a:lnTo>
                    <a:pt x="2641" y="349"/>
                  </a:lnTo>
                  <a:lnTo>
                    <a:pt x="2644" y="357"/>
                  </a:lnTo>
                  <a:lnTo>
                    <a:pt x="2619" y="363"/>
                  </a:lnTo>
                  <a:lnTo>
                    <a:pt x="2590" y="371"/>
                  </a:lnTo>
                  <a:lnTo>
                    <a:pt x="2562" y="382"/>
                  </a:lnTo>
                  <a:lnTo>
                    <a:pt x="2531" y="392"/>
                  </a:lnTo>
                  <a:lnTo>
                    <a:pt x="2501" y="402"/>
                  </a:lnTo>
                  <a:lnTo>
                    <a:pt x="2473" y="410"/>
                  </a:lnTo>
                  <a:lnTo>
                    <a:pt x="2458" y="414"/>
                  </a:lnTo>
                  <a:lnTo>
                    <a:pt x="2444" y="416"/>
                  </a:lnTo>
                  <a:lnTo>
                    <a:pt x="2431" y="418"/>
                  </a:lnTo>
                  <a:lnTo>
                    <a:pt x="2419" y="418"/>
                  </a:lnTo>
                  <a:lnTo>
                    <a:pt x="2339" y="400"/>
                  </a:lnTo>
                  <a:lnTo>
                    <a:pt x="2319" y="400"/>
                  </a:lnTo>
                  <a:lnTo>
                    <a:pt x="2340" y="408"/>
                  </a:lnTo>
                  <a:lnTo>
                    <a:pt x="2361" y="416"/>
                  </a:lnTo>
                  <a:lnTo>
                    <a:pt x="2372" y="420"/>
                  </a:lnTo>
                  <a:lnTo>
                    <a:pt x="2382" y="425"/>
                  </a:lnTo>
                  <a:lnTo>
                    <a:pt x="2390" y="430"/>
                  </a:lnTo>
                  <a:lnTo>
                    <a:pt x="2398" y="437"/>
                  </a:lnTo>
                  <a:lnTo>
                    <a:pt x="2394" y="444"/>
                  </a:lnTo>
                  <a:lnTo>
                    <a:pt x="2388" y="449"/>
                  </a:lnTo>
                  <a:lnTo>
                    <a:pt x="2384" y="454"/>
                  </a:lnTo>
                  <a:lnTo>
                    <a:pt x="2378" y="457"/>
                  </a:lnTo>
                  <a:lnTo>
                    <a:pt x="2373" y="461"/>
                  </a:lnTo>
                  <a:lnTo>
                    <a:pt x="2368" y="463"/>
                  </a:lnTo>
                  <a:lnTo>
                    <a:pt x="2363" y="465"/>
                  </a:lnTo>
                  <a:lnTo>
                    <a:pt x="2357" y="467"/>
                  </a:lnTo>
                  <a:lnTo>
                    <a:pt x="2333" y="471"/>
                  </a:lnTo>
                  <a:lnTo>
                    <a:pt x="2306" y="474"/>
                  </a:lnTo>
                  <a:lnTo>
                    <a:pt x="2296" y="477"/>
                  </a:lnTo>
                  <a:lnTo>
                    <a:pt x="2286" y="481"/>
                  </a:lnTo>
                  <a:lnTo>
                    <a:pt x="2277" y="486"/>
                  </a:lnTo>
                  <a:lnTo>
                    <a:pt x="2268" y="492"/>
                  </a:lnTo>
                  <a:lnTo>
                    <a:pt x="2260" y="497"/>
                  </a:lnTo>
                  <a:lnTo>
                    <a:pt x="2251" y="501"/>
                  </a:lnTo>
                  <a:lnTo>
                    <a:pt x="2242" y="504"/>
                  </a:lnTo>
                  <a:lnTo>
                    <a:pt x="2232" y="505"/>
                  </a:lnTo>
                  <a:lnTo>
                    <a:pt x="2232" y="517"/>
                  </a:lnTo>
                  <a:lnTo>
                    <a:pt x="2232" y="529"/>
                  </a:lnTo>
                  <a:lnTo>
                    <a:pt x="2220" y="532"/>
                  </a:lnTo>
                  <a:lnTo>
                    <a:pt x="2208" y="537"/>
                  </a:lnTo>
                  <a:lnTo>
                    <a:pt x="2194" y="542"/>
                  </a:lnTo>
                  <a:lnTo>
                    <a:pt x="2181" y="550"/>
                  </a:lnTo>
                  <a:lnTo>
                    <a:pt x="2166" y="559"/>
                  </a:lnTo>
                  <a:lnTo>
                    <a:pt x="2151" y="568"/>
                  </a:lnTo>
                  <a:lnTo>
                    <a:pt x="2138" y="578"/>
                  </a:lnTo>
                  <a:lnTo>
                    <a:pt x="2123" y="588"/>
                  </a:lnTo>
                  <a:lnTo>
                    <a:pt x="2110" y="601"/>
                  </a:lnTo>
                  <a:lnTo>
                    <a:pt x="2098" y="613"/>
                  </a:lnTo>
                  <a:lnTo>
                    <a:pt x="2087" y="625"/>
                  </a:lnTo>
                  <a:lnTo>
                    <a:pt x="2078" y="637"/>
                  </a:lnTo>
                  <a:lnTo>
                    <a:pt x="2071" y="650"/>
                  </a:lnTo>
                  <a:lnTo>
                    <a:pt x="2064" y="664"/>
                  </a:lnTo>
                  <a:lnTo>
                    <a:pt x="2062" y="670"/>
                  </a:lnTo>
                  <a:lnTo>
                    <a:pt x="2061" y="677"/>
                  </a:lnTo>
                  <a:lnTo>
                    <a:pt x="2060" y="683"/>
                  </a:lnTo>
                  <a:lnTo>
                    <a:pt x="2060" y="689"/>
                  </a:lnTo>
                  <a:lnTo>
                    <a:pt x="2106" y="689"/>
                  </a:lnTo>
                  <a:lnTo>
                    <a:pt x="2104" y="714"/>
                  </a:lnTo>
                  <a:lnTo>
                    <a:pt x="2102" y="736"/>
                  </a:lnTo>
                  <a:lnTo>
                    <a:pt x="2100" y="745"/>
                  </a:lnTo>
                  <a:lnTo>
                    <a:pt x="2100" y="753"/>
                  </a:lnTo>
                  <a:lnTo>
                    <a:pt x="2102" y="757"/>
                  </a:lnTo>
                  <a:lnTo>
                    <a:pt x="2103" y="759"/>
                  </a:lnTo>
                  <a:lnTo>
                    <a:pt x="2104" y="762"/>
                  </a:lnTo>
                  <a:lnTo>
                    <a:pt x="2106" y="763"/>
                  </a:lnTo>
                  <a:lnTo>
                    <a:pt x="2086" y="776"/>
                  </a:lnTo>
                  <a:lnTo>
                    <a:pt x="2087" y="780"/>
                  </a:lnTo>
                  <a:lnTo>
                    <a:pt x="2089" y="784"/>
                  </a:lnTo>
                  <a:lnTo>
                    <a:pt x="2093" y="787"/>
                  </a:lnTo>
                  <a:lnTo>
                    <a:pt x="2097" y="790"/>
                  </a:lnTo>
                  <a:lnTo>
                    <a:pt x="2106" y="793"/>
                  </a:lnTo>
                  <a:lnTo>
                    <a:pt x="2112" y="794"/>
                  </a:lnTo>
                  <a:lnTo>
                    <a:pt x="2193" y="776"/>
                  </a:lnTo>
                  <a:lnTo>
                    <a:pt x="2204" y="782"/>
                  </a:lnTo>
                  <a:lnTo>
                    <a:pt x="2214" y="789"/>
                  </a:lnTo>
                  <a:lnTo>
                    <a:pt x="2223" y="796"/>
                  </a:lnTo>
                  <a:lnTo>
                    <a:pt x="2232" y="803"/>
                  </a:lnTo>
                  <a:lnTo>
                    <a:pt x="2250" y="819"/>
                  </a:lnTo>
                  <a:lnTo>
                    <a:pt x="2266" y="836"/>
                  </a:lnTo>
                  <a:lnTo>
                    <a:pt x="2284" y="852"/>
                  </a:lnTo>
                  <a:lnTo>
                    <a:pt x="2301" y="866"/>
                  </a:lnTo>
                  <a:lnTo>
                    <a:pt x="2311" y="872"/>
                  </a:lnTo>
                  <a:lnTo>
                    <a:pt x="2322" y="878"/>
                  </a:lnTo>
                  <a:lnTo>
                    <a:pt x="2333" y="883"/>
                  </a:lnTo>
                  <a:lnTo>
                    <a:pt x="2345" y="887"/>
                  </a:lnTo>
                  <a:lnTo>
                    <a:pt x="2345" y="891"/>
                  </a:lnTo>
                  <a:lnTo>
                    <a:pt x="2346" y="895"/>
                  </a:lnTo>
                  <a:lnTo>
                    <a:pt x="2347" y="898"/>
                  </a:lnTo>
                  <a:lnTo>
                    <a:pt x="2350" y="901"/>
                  </a:lnTo>
                  <a:lnTo>
                    <a:pt x="2352" y="903"/>
                  </a:lnTo>
                  <a:lnTo>
                    <a:pt x="2354" y="905"/>
                  </a:lnTo>
                  <a:lnTo>
                    <a:pt x="2356" y="906"/>
                  </a:lnTo>
                  <a:lnTo>
                    <a:pt x="2360" y="907"/>
                  </a:lnTo>
                  <a:lnTo>
                    <a:pt x="2367" y="909"/>
                  </a:lnTo>
                  <a:lnTo>
                    <a:pt x="2375" y="908"/>
                  </a:lnTo>
                  <a:lnTo>
                    <a:pt x="2383" y="907"/>
                  </a:lnTo>
                  <a:lnTo>
                    <a:pt x="2391" y="905"/>
                  </a:lnTo>
                  <a:lnTo>
                    <a:pt x="2409" y="900"/>
                  </a:lnTo>
                  <a:lnTo>
                    <a:pt x="2423" y="894"/>
                  </a:lnTo>
                  <a:lnTo>
                    <a:pt x="2434" y="889"/>
                  </a:lnTo>
                  <a:lnTo>
                    <a:pt x="2439" y="887"/>
                  </a:lnTo>
                  <a:lnTo>
                    <a:pt x="2485" y="905"/>
                  </a:lnTo>
                  <a:lnTo>
                    <a:pt x="2479" y="917"/>
                  </a:lnTo>
                  <a:lnTo>
                    <a:pt x="2474" y="925"/>
                  </a:lnTo>
                  <a:lnTo>
                    <a:pt x="2467" y="931"/>
                  </a:lnTo>
                  <a:lnTo>
                    <a:pt x="2458" y="936"/>
                  </a:lnTo>
                  <a:lnTo>
                    <a:pt x="2472" y="949"/>
                  </a:lnTo>
                  <a:lnTo>
                    <a:pt x="2461" y="971"/>
                  </a:lnTo>
                  <a:lnTo>
                    <a:pt x="2450" y="995"/>
                  </a:lnTo>
                  <a:lnTo>
                    <a:pt x="2445" y="1006"/>
                  </a:lnTo>
                  <a:lnTo>
                    <a:pt x="2442" y="1018"/>
                  </a:lnTo>
                  <a:lnTo>
                    <a:pt x="2440" y="1029"/>
                  </a:lnTo>
                  <a:lnTo>
                    <a:pt x="2439" y="1040"/>
                  </a:lnTo>
                  <a:lnTo>
                    <a:pt x="2440" y="1049"/>
                  </a:lnTo>
                  <a:lnTo>
                    <a:pt x="2443" y="1059"/>
                  </a:lnTo>
                  <a:lnTo>
                    <a:pt x="2447" y="1070"/>
                  </a:lnTo>
                  <a:lnTo>
                    <a:pt x="2454" y="1081"/>
                  </a:lnTo>
                  <a:lnTo>
                    <a:pt x="2462" y="1092"/>
                  </a:lnTo>
                  <a:lnTo>
                    <a:pt x="2469" y="1101"/>
                  </a:lnTo>
                  <a:lnTo>
                    <a:pt x="2473" y="1104"/>
                  </a:lnTo>
                  <a:lnTo>
                    <a:pt x="2477" y="1107"/>
                  </a:lnTo>
                  <a:lnTo>
                    <a:pt x="2481" y="1108"/>
                  </a:lnTo>
                  <a:lnTo>
                    <a:pt x="2485" y="1109"/>
                  </a:lnTo>
                  <a:lnTo>
                    <a:pt x="2487" y="1114"/>
                  </a:lnTo>
                  <a:lnTo>
                    <a:pt x="2492" y="1121"/>
                  </a:lnTo>
                  <a:lnTo>
                    <a:pt x="2499" y="1128"/>
                  </a:lnTo>
                  <a:lnTo>
                    <a:pt x="2504" y="1133"/>
                  </a:lnTo>
                  <a:lnTo>
                    <a:pt x="2528" y="1113"/>
                  </a:lnTo>
                  <a:lnTo>
                    <a:pt x="2548" y="1091"/>
                  </a:lnTo>
                  <a:lnTo>
                    <a:pt x="2559" y="1080"/>
                  </a:lnTo>
                  <a:lnTo>
                    <a:pt x="2569" y="1068"/>
                  </a:lnTo>
                  <a:lnTo>
                    <a:pt x="2578" y="1057"/>
                  </a:lnTo>
                  <a:lnTo>
                    <a:pt x="2587" y="1043"/>
                  </a:lnTo>
                  <a:lnTo>
                    <a:pt x="2595" y="1031"/>
                  </a:lnTo>
                  <a:lnTo>
                    <a:pt x="2602" y="1017"/>
                  </a:lnTo>
                  <a:lnTo>
                    <a:pt x="2609" y="1003"/>
                  </a:lnTo>
                  <a:lnTo>
                    <a:pt x="2614" y="987"/>
                  </a:lnTo>
                  <a:lnTo>
                    <a:pt x="2619" y="971"/>
                  </a:lnTo>
                  <a:lnTo>
                    <a:pt x="2622" y="955"/>
                  </a:lnTo>
                  <a:lnTo>
                    <a:pt x="2624" y="937"/>
                  </a:lnTo>
                  <a:lnTo>
                    <a:pt x="2624" y="917"/>
                  </a:lnTo>
                  <a:lnTo>
                    <a:pt x="2638" y="917"/>
                  </a:lnTo>
                  <a:lnTo>
                    <a:pt x="2655" y="914"/>
                  </a:lnTo>
                  <a:lnTo>
                    <a:pt x="2672" y="911"/>
                  </a:lnTo>
                  <a:lnTo>
                    <a:pt x="2690" y="906"/>
                  </a:lnTo>
                  <a:lnTo>
                    <a:pt x="2709" y="900"/>
                  </a:lnTo>
                  <a:lnTo>
                    <a:pt x="2727" y="892"/>
                  </a:lnTo>
                  <a:lnTo>
                    <a:pt x="2746" y="884"/>
                  </a:lnTo>
                  <a:lnTo>
                    <a:pt x="2765" y="873"/>
                  </a:lnTo>
                  <a:lnTo>
                    <a:pt x="2782" y="863"/>
                  </a:lnTo>
                  <a:lnTo>
                    <a:pt x="2798" y="852"/>
                  </a:lnTo>
                  <a:lnTo>
                    <a:pt x="2813" y="840"/>
                  </a:lnTo>
                  <a:lnTo>
                    <a:pt x="2825" y="827"/>
                  </a:lnTo>
                  <a:lnTo>
                    <a:pt x="2831" y="819"/>
                  </a:lnTo>
                  <a:lnTo>
                    <a:pt x="2836" y="813"/>
                  </a:lnTo>
                  <a:lnTo>
                    <a:pt x="2839" y="806"/>
                  </a:lnTo>
                  <a:lnTo>
                    <a:pt x="2844" y="799"/>
                  </a:lnTo>
                  <a:lnTo>
                    <a:pt x="2846" y="792"/>
                  </a:lnTo>
                  <a:lnTo>
                    <a:pt x="2848" y="785"/>
                  </a:lnTo>
                  <a:lnTo>
                    <a:pt x="2849" y="777"/>
                  </a:lnTo>
                  <a:lnTo>
                    <a:pt x="2850" y="770"/>
                  </a:lnTo>
                  <a:lnTo>
                    <a:pt x="2849" y="763"/>
                  </a:lnTo>
                  <a:lnTo>
                    <a:pt x="2848" y="757"/>
                  </a:lnTo>
                  <a:lnTo>
                    <a:pt x="2846" y="752"/>
                  </a:lnTo>
                  <a:lnTo>
                    <a:pt x="2843" y="747"/>
                  </a:lnTo>
                  <a:lnTo>
                    <a:pt x="2835" y="738"/>
                  </a:lnTo>
                  <a:lnTo>
                    <a:pt x="2827" y="731"/>
                  </a:lnTo>
                  <a:lnTo>
                    <a:pt x="2819" y="725"/>
                  </a:lnTo>
                  <a:lnTo>
                    <a:pt x="2811" y="718"/>
                  </a:lnTo>
                  <a:lnTo>
                    <a:pt x="2808" y="715"/>
                  </a:lnTo>
                  <a:lnTo>
                    <a:pt x="2805" y="711"/>
                  </a:lnTo>
                  <a:lnTo>
                    <a:pt x="2804" y="706"/>
                  </a:lnTo>
                  <a:lnTo>
                    <a:pt x="2804" y="702"/>
                  </a:lnTo>
                  <a:lnTo>
                    <a:pt x="2804" y="698"/>
                  </a:lnTo>
                  <a:lnTo>
                    <a:pt x="2808" y="694"/>
                  </a:lnTo>
                  <a:lnTo>
                    <a:pt x="2812" y="688"/>
                  </a:lnTo>
                  <a:lnTo>
                    <a:pt x="2819" y="680"/>
                  </a:lnTo>
                  <a:lnTo>
                    <a:pt x="2833" y="664"/>
                  </a:lnTo>
                  <a:lnTo>
                    <a:pt x="2850" y="645"/>
                  </a:lnTo>
                  <a:lnTo>
                    <a:pt x="2882" y="612"/>
                  </a:lnTo>
                  <a:lnTo>
                    <a:pt x="2896" y="597"/>
                  </a:lnTo>
                  <a:lnTo>
                    <a:pt x="2894" y="593"/>
                  </a:lnTo>
                  <a:lnTo>
                    <a:pt x="2892" y="589"/>
                  </a:lnTo>
                  <a:lnTo>
                    <a:pt x="2891" y="585"/>
                  </a:lnTo>
                  <a:lnTo>
                    <a:pt x="2890" y="581"/>
                  </a:lnTo>
                  <a:lnTo>
                    <a:pt x="2890" y="573"/>
                  </a:lnTo>
                  <a:lnTo>
                    <a:pt x="2892" y="566"/>
                  </a:lnTo>
                  <a:lnTo>
                    <a:pt x="2896" y="558"/>
                  </a:lnTo>
                  <a:lnTo>
                    <a:pt x="2902" y="551"/>
                  </a:lnTo>
                  <a:lnTo>
                    <a:pt x="2909" y="544"/>
                  </a:lnTo>
                  <a:lnTo>
                    <a:pt x="2916" y="535"/>
                  </a:lnTo>
                  <a:lnTo>
                    <a:pt x="2934" y="520"/>
                  </a:lnTo>
                  <a:lnTo>
                    <a:pt x="2951" y="505"/>
                  </a:lnTo>
                  <a:lnTo>
                    <a:pt x="2959" y="498"/>
                  </a:lnTo>
                  <a:lnTo>
                    <a:pt x="2966" y="490"/>
                  </a:lnTo>
                  <a:lnTo>
                    <a:pt x="2972" y="482"/>
                  </a:lnTo>
                  <a:lnTo>
                    <a:pt x="2977" y="474"/>
                  </a:lnTo>
                  <a:lnTo>
                    <a:pt x="3149" y="480"/>
                  </a:lnTo>
                  <a:lnTo>
                    <a:pt x="3149" y="485"/>
                  </a:lnTo>
                  <a:lnTo>
                    <a:pt x="3150" y="490"/>
                  </a:lnTo>
                  <a:lnTo>
                    <a:pt x="3151" y="494"/>
                  </a:lnTo>
                  <a:lnTo>
                    <a:pt x="3153" y="497"/>
                  </a:lnTo>
                  <a:lnTo>
                    <a:pt x="3156" y="500"/>
                  </a:lnTo>
                  <a:lnTo>
                    <a:pt x="3159" y="502"/>
                  </a:lnTo>
                  <a:lnTo>
                    <a:pt x="3161" y="503"/>
                  </a:lnTo>
                  <a:lnTo>
                    <a:pt x="3165" y="504"/>
                  </a:lnTo>
                  <a:lnTo>
                    <a:pt x="3180" y="505"/>
                  </a:lnTo>
                  <a:lnTo>
                    <a:pt x="3196" y="505"/>
                  </a:lnTo>
                  <a:lnTo>
                    <a:pt x="3201" y="509"/>
                  </a:lnTo>
                  <a:lnTo>
                    <a:pt x="3204" y="514"/>
                  </a:lnTo>
                  <a:lnTo>
                    <a:pt x="3208" y="521"/>
                  </a:lnTo>
                  <a:lnTo>
                    <a:pt x="3210" y="529"/>
                  </a:lnTo>
                  <a:lnTo>
                    <a:pt x="3215" y="545"/>
                  </a:lnTo>
                  <a:lnTo>
                    <a:pt x="3216" y="554"/>
                  </a:lnTo>
                  <a:lnTo>
                    <a:pt x="3221" y="556"/>
                  </a:lnTo>
                  <a:lnTo>
                    <a:pt x="3229" y="557"/>
                  </a:lnTo>
                  <a:lnTo>
                    <a:pt x="3238" y="557"/>
                  </a:lnTo>
                  <a:lnTo>
                    <a:pt x="3247" y="557"/>
                  </a:lnTo>
                  <a:lnTo>
                    <a:pt x="3268" y="555"/>
                  </a:lnTo>
                  <a:lnTo>
                    <a:pt x="3288" y="554"/>
                  </a:lnTo>
                  <a:lnTo>
                    <a:pt x="3292" y="566"/>
                  </a:lnTo>
                  <a:lnTo>
                    <a:pt x="3295" y="572"/>
                  </a:lnTo>
                  <a:lnTo>
                    <a:pt x="3288" y="579"/>
                  </a:lnTo>
                  <a:lnTo>
                    <a:pt x="3282" y="585"/>
                  </a:lnTo>
                  <a:lnTo>
                    <a:pt x="3276" y="592"/>
                  </a:lnTo>
                  <a:lnTo>
                    <a:pt x="3272" y="601"/>
                  </a:lnTo>
                  <a:lnTo>
                    <a:pt x="3264" y="616"/>
                  </a:lnTo>
                  <a:lnTo>
                    <a:pt x="3257" y="632"/>
                  </a:lnTo>
                  <a:lnTo>
                    <a:pt x="3251" y="646"/>
                  </a:lnTo>
                  <a:lnTo>
                    <a:pt x="3245" y="660"/>
                  </a:lnTo>
                  <a:lnTo>
                    <a:pt x="3241" y="666"/>
                  </a:lnTo>
                  <a:lnTo>
                    <a:pt x="3238" y="671"/>
                  </a:lnTo>
                  <a:lnTo>
                    <a:pt x="3234" y="675"/>
                  </a:lnTo>
                  <a:lnTo>
                    <a:pt x="3229" y="677"/>
                  </a:lnTo>
                  <a:lnTo>
                    <a:pt x="3238" y="677"/>
                  </a:lnTo>
                  <a:lnTo>
                    <a:pt x="3246" y="677"/>
                  </a:lnTo>
                  <a:lnTo>
                    <a:pt x="3253" y="677"/>
                  </a:lnTo>
                  <a:lnTo>
                    <a:pt x="3262" y="677"/>
                  </a:lnTo>
                  <a:lnTo>
                    <a:pt x="3262" y="683"/>
                  </a:lnTo>
                  <a:lnTo>
                    <a:pt x="3261" y="688"/>
                  </a:lnTo>
                  <a:lnTo>
                    <a:pt x="3259" y="693"/>
                  </a:lnTo>
                  <a:lnTo>
                    <a:pt x="3257" y="697"/>
                  </a:lnTo>
                  <a:lnTo>
                    <a:pt x="3251" y="705"/>
                  </a:lnTo>
                  <a:lnTo>
                    <a:pt x="3245" y="714"/>
                  </a:lnTo>
                  <a:lnTo>
                    <a:pt x="3238" y="721"/>
                  </a:lnTo>
                  <a:lnTo>
                    <a:pt x="3231" y="729"/>
                  </a:lnTo>
                  <a:lnTo>
                    <a:pt x="3226" y="736"/>
                  </a:lnTo>
                  <a:lnTo>
                    <a:pt x="3223" y="745"/>
                  </a:lnTo>
                  <a:lnTo>
                    <a:pt x="3229" y="742"/>
                  </a:lnTo>
                  <a:lnTo>
                    <a:pt x="3237" y="738"/>
                  </a:lnTo>
                  <a:lnTo>
                    <a:pt x="3245" y="734"/>
                  </a:lnTo>
                  <a:lnTo>
                    <a:pt x="3251" y="730"/>
                  </a:lnTo>
                  <a:lnTo>
                    <a:pt x="3264" y="721"/>
                  </a:lnTo>
                  <a:lnTo>
                    <a:pt x="3275" y="715"/>
                  </a:lnTo>
                  <a:lnTo>
                    <a:pt x="3280" y="717"/>
                  </a:lnTo>
                  <a:lnTo>
                    <a:pt x="3284" y="718"/>
                  </a:lnTo>
                  <a:lnTo>
                    <a:pt x="3290" y="718"/>
                  </a:lnTo>
                  <a:lnTo>
                    <a:pt x="3295" y="718"/>
                  </a:lnTo>
                  <a:lnTo>
                    <a:pt x="3307" y="715"/>
                  </a:lnTo>
                  <a:lnTo>
                    <a:pt x="3320" y="709"/>
                  </a:lnTo>
                  <a:lnTo>
                    <a:pt x="3336" y="703"/>
                  </a:lnTo>
                  <a:lnTo>
                    <a:pt x="3351" y="695"/>
                  </a:lnTo>
                  <a:lnTo>
                    <a:pt x="3368" y="685"/>
                  </a:lnTo>
                  <a:lnTo>
                    <a:pt x="3384" y="675"/>
                  </a:lnTo>
                  <a:lnTo>
                    <a:pt x="3417" y="653"/>
                  </a:lnTo>
                  <a:lnTo>
                    <a:pt x="3447" y="632"/>
                  </a:lnTo>
                  <a:lnTo>
                    <a:pt x="3471" y="615"/>
                  </a:lnTo>
                  <a:lnTo>
                    <a:pt x="3488" y="604"/>
                  </a:lnTo>
                  <a:lnTo>
                    <a:pt x="3492" y="613"/>
                  </a:lnTo>
                  <a:lnTo>
                    <a:pt x="3495" y="621"/>
                  </a:lnTo>
                  <a:lnTo>
                    <a:pt x="3496" y="629"/>
                  </a:lnTo>
                  <a:lnTo>
                    <a:pt x="3496" y="637"/>
                  </a:lnTo>
                  <a:lnTo>
                    <a:pt x="3496" y="653"/>
                  </a:lnTo>
                  <a:lnTo>
                    <a:pt x="3495" y="671"/>
                  </a:lnTo>
                  <a:lnTo>
                    <a:pt x="3521" y="671"/>
                  </a:lnTo>
                  <a:lnTo>
                    <a:pt x="3522" y="680"/>
                  </a:lnTo>
                  <a:lnTo>
                    <a:pt x="3523" y="687"/>
                  </a:lnTo>
                  <a:lnTo>
                    <a:pt x="3521" y="692"/>
                  </a:lnTo>
                  <a:lnTo>
                    <a:pt x="3519" y="698"/>
                  </a:lnTo>
                  <a:lnTo>
                    <a:pt x="3514" y="708"/>
                  </a:lnTo>
                  <a:lnTo>
                    <a:pt x="3508" y="721"/>
                  </a:lnTo>
                  <a:lnTo>
                    <a:pt x="3521" y="721"/>
                  </a:lnTo>
                  <a:lnTo>
                    <a:pt x="3534" y="721"/>
                  </a:lnTo>
                  <a:lnTo>
                    <a:pt x="3534" y="732"/>
                  </a:lnTo>
                  <a:lnTo>
                    <a:pt x="3534" y="741"/>
                  </a:lnTo>
                  <a:lnTo>
                    <a:pt x="3534" y="749"/>
                  </a:lnTo>
                  <a:lnTo>
                    <a:pt x="3534" y="757"/>
                  </a:lnTo>
                  <a:lnTo>
                    <a:pt x="3536" y="762"/>
                  </a:lnTo>
                  <a:lnTo>
                    <a:pt x="3540" y="769"/>
                  </a:lnTo>
                  <a:lnTo>
                    <a:pt x="3542" y="772"/>
                  </a:lnTo>
                  <a:lnTo>
                    <a:pt x="3545" y="774"/>
                  </a:lnTo>
                  <a:lnTo>
                    <a:pt x="3550" y="776"/>
                  </a:lnTo>
                  <a:lnTo>
                    <a:pt x="3554" y="776"/>
                  </a:lnTo>
                  <a:lnTo>
                    <a:pt x="3551" y="786"/>
                  </a:lnTo>
                  <a:lnTo>
                    <a:pt x="3548" y="794"/>
                  </a:lnTo>
                  <a:lnTo>
                    <a:pt x="3542" y="800"/>
                  </a:lnTo>
                  <a:lnTo>
                    <a:pt x="3537" y="804"/>
                  </a:lnTo>
                  <a:lnTo>
                    <a:pt x="3526" y="811"/>
                  </a:lnTo>
                  <a:lnTo>
                    <a:pt x="3515" y="818"/>
                  </a:lnTo>
                  <a:lnTo>
                    <a:pt x="3522" y="828"/>
                  </a:lnTo>
                  <a:lnTo>
                    <a:pt x="3530" y="836"/>
                  </a:lnTo>
                  <a:lnTo>
                    <a:pt x="3539" y="844"/>
                  </a:lnTo>
                  <a:lnTo>
                    <a:pt x="3546" y="851"/>
                  </a:lnTo>
                  <a:lnTo>
                    <a:pt x="3556" y="857"/>
                  </a:lnTo>
                  <a:lnTo>
                    <a:pt x="3565" y="863"/>
                  </a:lnTo>
                  <a:lnTo>
                    <a:pt x="3575" y="869"/>
                  </a:lnTo>
                  <a:lnTo>
                    <a:pt x="3584" y="874"/>
                  </a:lnTo>
                  <a:lnTo>
                    <a:pt x="3605" y="885"/>
                  </a:lnTo>
                  <a:lnTo>
                    <a:pt x="3627" y="894"/>
                  </a:lnTo>
                  <a:lnTo>
                    <a:pt x="3650" y="902"/>
                  </a:lnTo>
                  <a:lnTo>
                    <a:pt x="3674" y="911"/>
                  </a:lnTo>
                  <a:lnTo>
                    <a:pt x="3668" y="918"/>
                  </a:lnTo>
                  <a:lnTo>
                    <a:pt x="3662" y="924"/>
                  </a:lnTo>
                  <a:lnTo>
                    <a:pt x="3652" y="930"/>
                  </a:lnTo>
                  <a:lnTo>
                    <a:pt x="3640" y="936"/>
                  </a:lnTo>
                  <a:lnTo>
                    <a:pt x="3615" y="946"/>
                  </a:lnTo>
                  <a:lnTo>
                    <a:pt x="3588" y="954"/>
                  </a:lnTo>
                  <a:lnTo>
                    <a:pt x="3563" y="961"/>
                  </a:lnTo>
                  <a:lnTo>
                    <a:pt x="3545" y="966"/>
                  </a:lnTo>
                  <a:lnTo>
                    <a:pt x="3540" y="968"/>
                  </a:lnTo>
                  <a:lnTo>
                    <a:pt x="3537" y="970"/>
                  </a:lnTo>
                  <a:lnTo>
                    <a:pt x="3537" y="971"/>
                  </a:lnTo>
                  <a:lnTo>
                    <a:pt x="3537" y="972"/>
                  </a:lnTo>
                  <a:lnTo>
                    <a:pt x="3539" y="972"/>
                  </a:lnTo>
                  <a:lnTo>
                    <a:pt x="3541" y="973"/>
                  </a:lnTo>
                  <a:lnTo>
                    <a:pt x="3548" y="974"/>
                  </a:lnTo>
                  <a:lnTo>
                    <a:pt x="3554" y="974"/>
                  </a:lnTo>
                  <a:lnTo>
                    <a:pt x="3560" y="974"/>
                  </a:lnTo>
                  <a:lnTo>
                    <a:pt x="3564" y="972"/>
                  </a:lnTo>
                  <a:lnTo>
                    <a:pt x="3570" y="970"/>
                  </a:lnTo>
                  <a:lnTo>
                    <a:pt x="3575" y="969"/>
                  </a:lnTo>
                  <a:lnTo>
                    <a:pt x="3581" y="967"/>
                  </a:lnTo>
                  <a:lnTo>
                    <a:pt x="3588" y="967"/>
                  </a:lnTo>
                  <a:lnTo>
                    <a:pt x="3598" y="965"/>
                  </a:lnTo>
                  <a:lnTo>
                    <a:pt x="3616" y="961"/>
                  </a:lnTo>
                  <a:lnTo>
                    <a:pt x="3637" y="957"/>
                  </a:lnTo>
                  <a:lnTo>
                    <a:pt x="3654" y="955"/>
                  </a:lnTo>
                  <a:lnTo>
                    <a:pt x="3673" y="955"/>
                  </a:lnTo>
                  <a:lnTo>
                    <a:pt x="3686" y="956"/>
                  </a:lnTo>
                  <a:lnTo>
                    <a:pt x="3695" y="958"/>
                  </a:lnTo>
                  <a:lnTo>
                    <a:pt x="3701" y="959"/>
                  </a:lnTo>
                  <a:lnTo>
                    <a:pt x="3707" y="960"/>
                  </a:lnTo>
                  <a:lnTo>
                    <a:pt x="3713" y="960"/>
                  </a:lnTo>
                  <a:lnTo>
                    <a:pt x="3721" y="958"/>
                  </a:lnTo>
                  <a:lnTo>
                    <a:pt x="3734" y="955"/>
                  </a:lnTo>
                  <a:lnTo>
                    <a:pt x="3734" y="964"/>
                  </a:lnTo>
                  <a:lnTo>
                    <a:pt x="3734" y="972"/>
                  </a:lnTo>
                  <a:lnTo>
                    <a:pt x="3734" y="979"/>
                  </a:lnTo>
                  <a:lnTo>
                    <a:pt x="3734" y="985"/>
                  </a:lnTo>
                  <a:lnTo>
                    <a:pt x="3734" y="998"/>
                  </a:lnTo>
                  <a:lnTo>
                    <a:pt x="3733" y="1007"/>
                  </a:lnTo>
                  <a:lnTo>
                    <a:pt x="3732" y="1014"/>
                  </a:lnTo>
                  <a:lnTo>
                    <a:pt x="3729" y="1018"/>
                  </a:lnTo>
                  <a:lnTo>
                    <a:pt x="3724" y="1022"/>
                  </a:lnTo>
                  <a:lnTo>
                    <a:pt x="3717" y="1024"/>
                  </a:lnTo>
                  <a:lnTo>
                    <a:pt x="3707" y="1026"/>
                  </a:lnTo>
                  <a:lnTo>
                    <a:pt x="3694" y="1028"/>
                  </a:lnTo>
                  <a:lnTo>
                    <a:pt x="3699" y="1037"/>
                  </a:lnTo>
                  <a:lnTo>
                    <a:pt x="3704" y="1047"/>
                  </a:lnTo>
                  <a:lnTo>
                    <a:pt x="3709" y="1054"/>
                  </a:lnTo>
                  <a:lnTo>
                    <a:pt x="3713" y="1059"/>
                  </a:lnTo>
                  <a:lnTo>
                    <a:pt x="3706" y="1068"/>
                  </a:lnTo>
                  <a:lnTo>
                    <a:pt x="3697" y="1076"/>
                  </a:lnTo>
                  <a:lnTo>
                    <a:pt x="3687" y="1083"/>
                  </a:lnTo>
                  <a:lnTo>
                    <a:pt x="3676" y="1087"/>
                  </a:lnTo>
                  <a:lnTo>
                    <a:pt x="3672" y="1089"/>
                  </a:lnTo>
                  <a:lnTo>
                    <a:pt x="3666" y="1090"/>
                  </a:lnTo>
                  <a:lnTo>
                    <a:pt x="3661" y="1091"/>
                  </a:lnTo>
                  <a:lnTo>
                    <a:pt x="3655" y="1091"/>
                  </a:lnTo>
                  <a:lnTo>
                    <a:pt x="3650" y="1090"/>
                  </a:lnTo>
                  <a:lnTo>
                    <a:pt x="3644" y="1089"/>
                  </a:lnTo>
                  <a:lnTo>
                    <a:pt x="3639" y="1087"/>
                  </a:lnTo>
                  <a:lnTo>
                    <a:pt x="3634" y="1084"/>
                  </a:lnTo>
                  <a:lnTo>
                    <a:pt x="3627" y="1089"/>
                  </a:lnTo>
                  <a:lnTo>
                    <a:pt x="3617" y="1093"/>
                  </a:lnTo>
                  <a:lnTo>
                    <a:pt x="3608" y="1096"/>
                  </a:lnTo>
                  <a:lnTo>
                    <a:pt x="3598" y="1099"/>
                  </a:lnTo>
                  <a:lnTo>
                    <a:pt x="3577" y="1104"/>
                  </a:lnTo>
                  <a:lnTo>
                    <a:pt x="3556" y="1108"/>
                  </a:lnTo>
                  <a:lnTo>
                    <a:pt x="3546" y="1110"/>
                  </a:lnTo>
                  <a:lnTo>
                    <a:pt x="3538" y="1113"/>
                  </a:lnTo>
                  <a:lnTo>
                    <a:pt x="3529" y="1116"/>
                  </a:lnTo>
                  <a:lnTo>
                    <a:pt x="3522" y="1120"/>
                  </a:lnTo>
                  <a:lnTo>
                    <a:pt x="3516" y="1124"/>
                  </a:lnTo>
                  <a:lnTo>
                    <a:pt x="3511" y="1130"/>
                  </a:lnTo>
                  <a:lnTo>
                    <a:pt x="3509" y="1137"/>
                  </a:lnTo>
                  <a:lnTo>
                    <a:pt x="3508" y="1145"/>
                  </a:lnTo>
                  <a:lnTo>
                    <a:pt x="3501" y="1145"/>
                  </a:lnTo>
                  <a:lnTo>
                    <a:pt x="3489" y="1159"/>
                  </a:lnTo>
                  <a:lnTo>
                    <a:pt x="3480" y="1168"/>
                  </a:lnTo>
                  <a:lnTo>
                    <a:pt x="3474" y="1172"/>
                  </a:lnTo>
                  <a:lnTo>
                    <a:pt x="3467" y="1174"/>
                  </a:lnTo>
                  <a:lnTo>
                    <a:pt x="3459" y="1176"/>
                  </a:lnTo>
                  <a:lnTo>
                    <a:pt x="3448" y="1176"/>
                  </a:lnTo>
                  <a:lnTo>
                    <a:pt x="3336" y="1164"/>
                  </a:lnTo>
                  <a:lnTo>
                    <a:pt x="3301" y="1164"/>
                  </a:lnTo>
                  <a:lnTo>
                    <a:pt x="3264" y="1164"/>
                  </a:lnTo>
                  <a:lnTo>
                    <a:pt x="3228" y="1164"/>
                  </a:lnTo>
                  <a:lnTo>
                    <a:pt x="3189" y="1164"/>
                  </a:lnTo>
                  <a:lnTo>
                    <a:pt x="3169" y="1165"/>
                  </a:lnTo>
                  <a:lnTo>
                    <a:pt x="3151" y="1168"/>
                  </a:lnTo>
                  <a:lnTo>
                    <a:pt x="3135" y="1172"/>
                  </a:lnTo>
                  <a:lnTo>
                    <a:pt x="3119" y="1177"/>
                  </a:lnTo>
                  <a:lnTo>
                    <a:pt x="3105" y="1183"/>
                  </a:lnTo>
                  <a:lnTo>
                    <a:pt x="3093" y="1191"/>
                  </a:lnTo>
                  <a:lnTo>
                    <a:pt x="3081" y="1198"/>
                  </a:lnTo>
                  <a:lnTo>
                    <a:pt x="3070" y="1207"/>
                  </a:lnTo>
                  <a:lnTo>
                    <a:pt x="3047" y="1225"/>
                  </a:lnTo>
                  <a:lnTo>
                    <a:pt x="3025" y="1242"/>
                  </a:lnTo>
                  <a:lnTo>
                    <a:pt x="3013" y="1250"/>
                  </a:lnTo>
                  <a:lnTo>
                    <a:pt x="3000" y="1257"/>
                  </a:lnTo>
                  <a:lnTo>
                    <a:pt x="2985" y="1263"/>
                  </a:lnTo>
                  <a:lnTo>
                    <a:pt x="2970" y="1269"/>
                  </a:lnTo>
                  <a:lnTo>
                    <a:pt x="2959" y="1272"/>
                  </a:lnTo>
                  <a:lnTo>
                    <a:pt x="2948" y="1276"/>
                  </a:lnTo>
                  <a:lnTo>
                    <a:pt x="2936" y="1281"/>
                  </a:lnTo>
                  <a:lnTo>
                    <a:pt x="2924" y="1286"/>
                  </a:lnTo>
                  <a:lnTo>
                    <a:pt x="2912" y="1293"/>
                  </a:lnTo>
                  <a:lnTo>
                    <a:pt x="2900" y="1300"/>
                  </a:lnTo>
                  <a:lnTo>
                    <a:pt x="2887" y="1308"/>
                  </a:lnTo>
                  <a:lnTo>
                    <a:pt x="2876" y="1316"/>
                  </a:lnTo>
                  <a:lnTo>
                    <a:pt x="2864" y="1326"/>
                  </a:lnTo>
                  <a:lnTo>
                    <a:pt x="2853" y="1335"/>
                  </a:lnTo>
                  <a:lnTo>
                    <a:pt x="2843" y="1344"/>
                  </a:lnTo>
                  <a:lnTo>
                    <a:pt x="2834" y="1354"/>
                  </a:lnTo>
                  <a:lnTo>
                    <a:pt x="2825" y="1363"/>
                  </a:lnTo>
                  <a:lnTo>
                    <a:pt x="2819" y="1373"/>
                  </a:lnTo>
                  <a:lnTo>
                    <a:pt x="2814" y="1383"/>
                  </a:lnTo>
                  <a:lnTo>
                    <a:pt x="2811" y="1392"/>
                  </a:lnTo>
                  <a:lnTo>
                    <a:pt x="2819" y="1392"/>
                  </a:lnTo>
                  <a:lnTo>
                    <a:pt x="2825" y="1391"/>
                  </a:lnTo>
                  <a:lnTo>
                    <a:pt x="2832" y="1389"/>
                  </a:lnTo>
                  <a:lnTo>
                    <a:pt x="2836" y="1387"/>
                  </a:lnTo>
                  <a:lnTo>
                    <a:pt x="2840" y="1385"/>
                  </a:lnTo>
                  <a:lnTo>
                    <a:pt x="2845" y="1382"/>
                  </a:lnTo>
                  <a:lnTo>
                    <a:pt x="2847" y="1379"/>
                  </a:lnTo>
                  <a:lnTo>
                    <a:pt x="2850" y="1375"/>
                  </a:lnTo>
                  <a:lnTo>
                    <a:pt x="2855" y="1369"/>
                  </a:lnTo>
                  <a:lnTo>
                    <a:pt x="2859" y="1363"/>
                  </a:lnTo>
                  <a:lnTo>
                    <a:pt x="2861" y="1361"/>
                  </a:lnTo>
                  <a:lnTo>
                    <a:pt x="2864" y="1358"/>
                  </a:lnTo>
                  <a:lnTo>
                    <a:pt x="2867" y="1356"/>
                  </a:lnTo>
                  <a:lnTo>
                    <a:pt x="2870" y="1355"/>
                  </a:lnTo>
                  <a:lnTo>
                    <a:pt x="2888" y="1346"/>
                  </a:lnTo>
                  <a:lnTo>
                    <a:pt x="2905" y="1337"/>
                  </a:lnTo>
                  <a:lnTo>
                    <a:pt x="2923" y="1327"/>
                  </a:lnTo>
                  <a:lnTo>
                    <a:pt x="2940" y="1315"/>
                  </a:lnTo>
                  <a:lnTo>
                    <a:pt x="2976" y="1293"/>
                  </a:lnTo>
                  <a:lnTo>
                    <a:pt x="3012" y="1271"/>
                  </a:lnTo>
                  <a:lnTo>
                    <a:pt x="3029" y="1260"/>
                  </a:lnTo>
                  <a:lnTo>
                    <a:pt x="3048" y="1251"/>
                  </a:lnTo>
                  <a:lnTo>
                    <a:pt x="3067" y="1242"/>
                  </a:lnTo>
                  <a:lnTo>
                    <a:pt x="3085" y="1235"/>
                  </a:lnTo>
                  <a:lnTo>
                    <a:pt x="3104" y="1228"/>
                  </a:lnTo>
                  <a:lnTo>
                    <a:pt x="3123" y="1224"/>
                  </a:lnTo>
                  <a:lnTo>
                    <a:pt x="3142" y="1221"/>
                  </a:lnTo>
                  <a:lnTo>
                    <a:pt x="3162" y="1220"/>
                  </a:lnTo>
                  <a:lnTo>
                    <a:pt x="3171" y="1220"/>
                  </a:lnTo>
                  <a:lnTo>
                    <a:pt x="3179" y="1222"/>
                  </a:lnTo>
                  <a:lnTo>
                    <a:pt x="3189" y="1225"/>
                  </a:lnTo>
                  <a:lnTo>
                    <a:pt x="3196" y="1229"/>
                  </a:lnTo>
                  <a:lnTo>
                    <a:pt x="3204" y="1234"/>
                  </a:lnTo>
                  <a:lnTo>
                    <a:pt x="3210" y="1240"/>
                  </a:lnTo>
                  <a:lnTo>
                    <a:pt x="3213" y="1244"/>
                  </a:lnTo>
                  <a:lnTo>
                    <a:pt x="3214" y="1248"/>
                  </a:lnTo>
                  <a:lnTo>
                    <a:pt x="3215" y="1252"/>
                  </a:lnTo>
                  <a:lnTo>
                    <a:pt x="3216" y="1256"/>
                  </a:lnTo>
                  <a:lnTo>
                    <a:pt x="3215" y="1265"/>
                  </a:lnTo>
                  <a:lnTo>
                    <a:pt x="3213" y="1274"/>
                  </a:lnTo>
                  <a:lnTo>
                    <a:pt x="3208" y="1281"/>
                  </a:lnTo>
                  <a:lnTo>
                    <a:pt x="3203" y="1287"/>
                  </a:lnTo>
                  <a:lnTo>
                    <a:pt x="3197" y="1293"/>
                  </a:lnTo>
                  <a:lnTo>
                    <a:pt x="3191" y="1296"/>
                  </a:lnTo>
                  <a:lnTo>
                    <a:pt x="3183" y="1299"/>
                  </a:lnTo>
                  <a:lnTo>
                    <a:pt x="3175" y="1299"/>
                  </a:lnTo>
                  <a:lnTo>
                    <a:pt x="3165" y="1299"/>
                  </a:lnTo>
                  <a:lnTo>
                    <a:pt x="3156" y="1298"/>
                  </a:lnTo>
                  <a:lnTo>
                    <a:pt x="3146" y="1296"/>
                  </a:lnTo>
                  <a:lnTo>
                    <a:pt x="3136" y="1293"/>
                  </a:lnTo>
                  <a:lnTo>
                    <a:pt x="3126" y="1291"/>
                  </a:lnTo>
                  <a:lnTo>
                    <a:pt x="3116" y="1289"/>
                  </a:lnTo>
                  <a:lnTo>
                    <a:pt x="3106" y="1288"/>
                  </a:lnTo>
                  <a:lnTo>
                    <a:pt x="3096" y="1287"/>
                  </a:lnTo>
                  <a:lnTo>
                    <a:pt x="3089" y="1288"/>
                  </a:lnTo>
                  <a:lnTo>
                    <a:pt x="3082" y="1289"/>
                  </a:lnTo>
                  <a:lnTo>
                    <a:pt x="3077" y="1290"/>
                  </a:lnTo>
                  <a:lnTo>
                    <a:pt x="3072" y="1292"/>
                  </a:lnTo>
                  <a:lnTo>
                    <a:pt x="3068" y="1294"/>
                  </a:lnTo>
                  <a:lnTo>
                    <a:pt x="3066" y="1298"/>
                  </a:lnTo>
                  <a:lnTo>
                    <a:pt x="3063" y="1301"/>
                  </a:lnTo>
                  <a:lnTo>
                    <a:pt x="3063" y="1306"/>
                  </a:lnTo>
                  <a:lnTo>
                    <a:pt x="3129" y="1331"/>
                  </a:lnTo>
                  <a:lnTo>
                    <a:pt x="3140" y="1329"/>
                  </a:lnTo>
                  <a:lnTo>
                    <a:pt x="3152" y="1325"/>
                  </a:lnTo>
                  <a:lnTo>
                    <a:pt x="3159" y="1324"/>
                  </a:lnTo>
                  <a:lnTo>
                    <a:pt x="3164" y="1323"/>
                  </a:lnTo>
                  <a:lnTo>
                    <a:pt x="3171" y="1323"/>
                  </a:lnTo>
                  <a:lnTo>
                    <a:pt x="3175" y="1325"/>
                  </a:lnTo>
                  <a:lnTo>
                    <a:pt x="3170" y="1333"/>
                  </a:lnTo>
                  <a:lnTo>
                    <a:pt x="3164" y="1340"/>
                  </a:lnTo>
                  <a:lnTo>
                    <a:pt x="3158" y="1346"/>
                  </a:lnTo>
                  <a:lnTo>
                    <a:pt x="3151" y="1351"/>
                  </a:lnTo>
                  <a:lnTo>
                    <a:pt x="3145" y="1356"/>
                  </a:lnTo>
                  <a:lnTo>
                    <a:pt x="3140" y="1361"/>
                  </a:lnTo>
                  <a:lnTo>
                    <a:pt x="3138" y="1364"/>
                  </a:lnTo>
                  <a:lnTo>
                    <a:pt x="3137" y="1367"/>
                  </a:lnTo>
                  <a:lnTo>
                    <a:pt x="3136" y="1370"/>
                  </a:lnTo>
                  <a:lnTo>
                    <a:pt x="3136" y="1373"/>
                  </a:lnTo>
                  <a:lnTo>
                    <a:pt x="3136" y="1380"/>
                  </a:lnTo>
                  <a:lnTo>
                    <a:pt x="3137" y="1386"/>
                  </a:lnTo>
                  <a:lnTo>
                    <a:pt x="3138" y="1391"/>
                  </a:lnTo>
                  <a:lnTo>
                    <a:pt x="3140" y="1396"/>
                  </a:lnTo>
                  <a:lnTo>
                    <a:pt x="3144" y="1401"/>
                  </a:lnTo>
                  <a:lnTo>
                    <a:pt x="3146" y="1405"/>
                  </a:lnTo>
                  <a:lnTo>
                    <a:pt x="3149" y="1410"/>
                  </a:lnTo>
                  <a:lnTo>
                    <a:pt x="3153" y="1413"/>
                  </a:lnTo>
                  <a:lnTo>
                    <a:pt x="3162" y="1420"/>
                  </a:lnTo>
                  <a:lnTo>
                    <a:pt x="3173" y="1426"/>
                  </a:lnTo>
                  <a:lnTo>
                    <a:pt x="3184" y="1431"/>
                  </a:lnTo>
                  <a:lnTo>
                    <a:pt x="3196" y="1436"/>
                  </a:lnTo>
                  <a:lnTo>
                    <a:pt x="3209" y="1439"/>
                  </a:lnTo>
                  <a:lnTo>
                    <a:pt x="3224" y="1441"/>
                  </a:lnTo>
                  <a:lnTo>
                    <a:pt x="3237" y="1442"/>
                  </a:lnTo>
                  <a:lnTo>
                    <a:pt x="3251" y="1443"/>
                  </a:lnTo>
                  <a:lnTo>
                    <a:pt x="3277" y="1443"/>
                  </a:lnTo>
                  <a:lnTo>
                    <a:pt x="3302" y="1442"/>
                  </a:lnTo>
                  <a:lnTo>
                    <a:pt x="3302" y="1466"/>
                  </a:lnTo>
                  <a:lnTo>
                    <a:pt x="3292" y="1469"/>
                  </a:lnTo>
                  <a:lnTo>
                    <a:pt x="3283" y="1471"/>
                  </a:lnTo>
                  <a:lnTo>
                    <a:pt x="3274" y="1472"/>
                  </a:lnTo>
                  <a:lnTo>
                    <a:pt x="3265" y="1472"/>
                  </a:lnTo>
                  <a:lnTo>
                    <a:pt x="3257" y="1472"/>
                  </a:lnTo>
                  <a:lnTo>
                    <a:pt x="3248" y="1473"/>
                  </a:lnTo>
                  <a:lnTo>
                    <a:pt x="3239" y="1474"/>
                  </a:lnTo>
                  <a:lnTo>
                    <a:pt x="3229" y="1478"/>
                  </a:lnTo>
                  <a:lnTo>
                    <a:pt x="3213" y="1485"/>
                  </a:lnTo>
                  <a:lnTo>
                    <a:pt x="3198" y="1494"/>
                  </a:lnTo>
                  <a:lnTo>
                    <a:pt x="3184" y="1502"/>
                  </a:lnTo>
                  <a:lnTo>
                    <a:pt x="3172" y="1510"/>
                  </a:lnTo>
                  <a:lnTo>
                    <a:pt x="3158" y="1519"/>
                  </a:lnTo>
                  <a:lnTo>
                    <a:pt x="3144" y="1527"/>
                  </a:lnTo>
                  <a:lnTo>
                    <a:pt x="3128" y="1536"/>
                  </a:lnTo>
                  <a:lnTo>
                    <a:pt x="3109" y="1546"/>
                  </a:lnTo>
                  <a:lnTo>
                    <a:pt x="3099" y="1550"/>
                  </a:lnTo>
                  <a:lnTo>
                    <a:pt x="3088" y="1553"/>
                  </a:lnTo>
                  <a:lnTo>
                    <a:pt x="3077" y="1555"/>
                  </a:lnTo>
                  <a:lnTo>
                    <a:pt x="3066" y="1556"/>
                  </a:lnTo>
                  <a:lnTo>
                    <a:pt x="3056" y="1558"/>
                  </a:lnTo>
                  <a:lnTo>
                    <a:pt x="3047" y="1561"/>
                  </a:lnTo>
                  <a:lnTo>
                    <a:pt x="3044" y="1563"/>
                  </a:lnTo>
                  <a:lnTo>
                    <a:pt x="3040" y="1565"/>
                  </a:lnTo>
                  <a:lnTo>
                    <a:pt x="3038" y="1568"/>
                  </a:lnTo>
                  <a:lnTo>
                    <a:pt x="3036" y="1571"/>
                  </a:lnTo>
                  <a:lnTo>
                    <a:pt x="3026" y="1567"/>
                  </a:lnTo>
                  <a:lnTo>
                    <a:pt x="3018" y="1564"/>
                  </a:lnTo>
                  <a:lnTo>
                    <a:pt x="3015" y="1562"/>
                  </a:lnTo>
                  <a:lnTo>
                    <a:pt x="3012" y="1560"/>
                  </a:lnTo>
                  <a:lnTo>
                    <a:pt x="3011" y="1557"/>
                  </a:lnTo>
                  <a:lnTo>
                    <a:pt x="3010" y="1553"/>
                  </a:lnTo>
                  <a:lnTo>
                    <a:pt x="3010" y="1546"/>
                  </a:lnTo>
                  <a:lnTo>
                    <a:pt x="3012" y="1539"/>
                  </a:lnTo>
                  <a:lnTo>
                    <a:pt x="3013" y="1533"/>
                  </a:lnTo>
                  <a:lnTo>
                    <a:pt x="3016" y="1528"/>
                  </a:lnTo>
                  <a:lnTo>
                    <a:pt x="3019" y="1524"/>
                  </a:lnTo>
                  <a:lnTo>
                    <a:pt x="3024" y="1519"/>
                  </a:lnTo>
                  <a:lnTo>
                    <a:pt x="3028" y="1516"/>
                  </a:lnTo>
                  <a:lnTo>
                    <a:pt x="3033" y="1512"/>
                  </a:lnTo>
                  <a:lnTo>
                    <a:pt x="3045" y="1506"/>
                  </a:lnTo>
                  <a:lnTo>
                    <a:pt x="3058" y="1501"/>
                  </a:lnTo>
                  <a:lnTo>
                    <a:pt x="3072" y="1497"/>
                  </a:lnTo>
                  <a:lnTo>
                    <a:pt x="3086" y="1493"/>
                  </a:lnTo>
                  <a:lnTo>
                    <a:pt x="3117" y="1487"/>
                  </a:lnTo>
                  <a:lnTo>
                    <a:pt x="3147" y="1482"/>
                  </a:lnTo>
                  <a:lnTo>
                    <a:pt x="3160" y="1479"/>
                  </a:lnTo>
                  <a:lnTo>
                    <a:pt x="3172" y="1475"/>
                  </a:lnTo>
                  <a:lnTo>
                    <a:pt x="3182" y="1471"/>
                  </a:lnTo>
                  <a:lnTo>
                    <a:pt x="3189" y="1466"/>
                  </a:lnTo>
                  <a:lnTo>
                    <a:pt x="3178" y="1463"/>
                  </a:lnTo>
                  <a:lnTo>
                    <a:pt x="3169" y="1460"/>
                  </a:lnTo>
                  <a:lnTo>
                    <a:pt x="3160" y="1456"/>
                  </a:lnTo>
                  <a:lnTo>
                    <a:pt x="3153" y="1451"/>
                  </a:lnTo>
                  <a:lnTo>
                    <a:pt x="3147" y="1448"/>
                  </a:lnTo>
                  <a:lnTo>
                    <a:pt x="3139" y="1445"/>
                  </a:lnTo>
                  <a:lnTo>
                    <a:pt x="3131" y="1442"/>
                  </a:lnTo>
                  <a:lnTo>
                    <a:pt x="3123" y="1442"/>
                  </a:lnTo>
                  <a:lnTo>
                    <a:pt x="3117" y="1442"/>
                  </a:lnTo>
                  <a:lnTo>
                    <a:pt x="3113" y="1443"/>
                  </a:lnTo>
                  <a:lnTo>
                    <a:pt x="3107" y="1445"/>
                  </a:lnTo>
                  <a:lnTo>
                    <a:pt x="3103" y="1446"/>
                  </a:lnTo>
                  <a:lnTo>
                    <a:pt x="3093" y="1452"/>
                  </a:lnTo>
                  <a:lnTo>
                    <a:pt x="3083" y="1458"/>
                  </a:lnTo>
                  <a:lnTo>
                    <a:pt x="3074" y="1464"/>
                  </a:lnTo>
                  <a:lnTo>
                    <a:pt x="3066" y="1470"/>
                  </a:lnTo>
                  <a:lnTo>
                    <a:pt x="3057" y="1475"/>
                  </a:lnTo>
                  <a:lnTo>
                    <a:pt x="3049" y="1478"/>
                  </a:lnTo>
                  <a:lnTo>
                    <a:pt x="3044" y="1479"/>
                  </a:lnTo>
                  <a:lnTo>
                    <a:pt x="3036" y="1481"/>
                  </a:lnTo>
                  <a:lnTo>
                    <a:pt x="3026" y="1483"/>
                  </a:lnTo>
                  <a:lnTo>
                    <a:pt x="3016" y="1484"/>
                  </a:lnTo>
                  <a:lnTo>
                    <a:pt x="3010" y="147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2482" name="Freeform 434"/>
          <p:cNvSpPr>
            <a:spLocks/>
          </p:cNvSpPr>
          <p:nvPr>
            <p:custDataLst>
              <p:tags r:id="rId275"/>
            </p:custDataLst>
          </p:nvPr>
        </p:nvSpPr>
        <p:spPr bwMode="auto">
          <a:xfrm>
            <a:off x="6281738" y="3541713"/>
            <a:ext cx="127000" cy="158750"/>
          </a:xfrm>
          <a:custGeom>
            <a:avLst/>
            <a:gdLst>
              <a:gd name="T0" fmla="*/ 265 w 292"/>
              <a:gd name="T1" fmla="*/ 10 h 308"/>
              <a:gd name="T2" fmla="*/ 276 w 292"/>
              <a:gd name="T3" fmla="*/ 37 h 308"/>
              <a:gd name="T4" fmla="*/ 286 w 292"/>
              <a:gd name="T5" fmla="*/ 91 h 308"/>
              <a:gd name="T6" fmla="*/ 292 w 292"/>
              <a:gd name="T7" fmla="*/ 144 h 308"/>
              <a:gd name="T8" fmla="*/ 291 w 292"/>
              <a:gd name="T9" fmla="*/ 161 h 308"/>
              <a:gd name="T10" fmla="*/ 286 w 292"/>
              <a:gd name="T11" fmla="*/ 179 h 308"/>
              <a:gd name="T12" fmla="*/ 269 w 292"/>
              <a:gd name="T13" fmla="*/ 206 h 308"/>
              <a:gd name="T14" fmla="*/ 231 w 292"/>
              <a:gd name="T15" fmla="*/ 185 h 308"/>
              <a:gd name="T16" fmla="*/ 165 w 292"/>
              <a:gd name="T17" fmla="*/ 258 h 308"/>
              <a:gd name="T18" fmla="*/ 132 w 292"/>
              <a:gd name="T19" fmla="*/ 278 h 308"/>
              <a:gd name="T20" fmla="*/ 59 w 292"/>
              <a:gd name="T21" fmla="*/ 296 h 308"/>
              <a:gd name="T22" fmla="*/ 32 w 292"/>
              <a:gd name="T23" fmla="*/ 308 h 308"/>
              <a:gd name="T24" fmla="*/ 6 w 292"/>
              <a:gd name="T25" fmla="*/ 308 h 308"/>
              <a:gd name="T26" fmla="*/ 9 w 292"/>
              <a:gd name="T27" fmla="*/ 297 h 308"/>
              <a:gd name="T28" fmla="*/ 11 w 292"/>
              <a:gd name="T29" fmla="*/ 286 h 308"/>
              <a:gd name="T30" fmla="*/ 7 w 292"/>
              <a:gd name="T31" fmla="*/ 265 h 308"/>
              <a:gd name="T32" fmla="*/ 2 w 292"/>
              <a:gd name="T33" fmla="*/ 246 h 308"/>
              <a:gd name="T34" fmla="*/ 0 w 292"/>
              <a:gd name="T35" fmla="*/ 228 h 308"/>
              <a:gd name="T36" fmla="*/ 3 w 292"/>
              <a:gd name="T37" fmla="*/ 205 h 308"/>
              <a:gd name="T38" fmla="*/ 12 w 292"/>
              <a:gd name="T39" fmla="*/ 188 h 308"/>
              <a:gd name="T40" fmla="*/ 26 w 292"/>
              <a:gd name="T41" fmla="*/ 174 h 308"/>
              <a:gd name="T42" fmla="*/ 42 w 292"/>
              <a:gd name="T43" fmla="*/ 161 h 308"/>
              <a:gd name="T44" fmla="*/ 77 w 292"/>
              <a:gd name="T45" fmla="*/ 135 h 308"/>
              <a:gd name="T46" fmla="*/ 93 w 292"/>
              <a:gd name="T47" fmla="*/ 119 h 308"/>
              <a:gd name="T48" fmla="*/ 105 w 292"/>
              <a:gd name="T49" fmla="*/ 98 h 308"/>
              <a:gd name="T50" fmla="*/ 98 w 292"/>
              <a:gd name="T51" fmla="*/ 96 h 308"/>
              <a:gd name="T52" fmla="*/ 92 w 292"/>
              <a:gd name="T53" fmla="*/ 91 h 308"/>
              <a:gd name="T54" fmla="*/ 82 w 292"/>
              <a:gd name="T55" fmla="*/ 73 h 308"/>
              <a:gd name="T56" fmla="*/ 74 w 292"/>
              <a:gd name="T57" fmla="*/ 50 h 308"/>
              <a:gd name="T58" fmla="*/ 72 w 292"/>
              <a:gd name="T59" fmla="*/ 24 h 308"/>
              <a:gd name="T60" fmla="*/ 90 w 292"/>
              <a:gd name="T61" fmla="*/ 19 h 308"/>
              <a:gd name="T62" fmla="*/ 105 w 292"/>
              <a:gd name="T63" fmla="*/ 20 h 308"/>
              <a:gd name="T64" fmla="*/ 132 w 292"/>
              <a:gd name="T65" fmla="*/ 24 h 308"/>
              <a:gd name="T66" fmla="*/ 169 w 292"/>
              <a:gd name="T67" fmla="*/ 21 h 308"/>
              <a:gd name="T68" fmla="*/ 210 w 292"/>
              <a:gd name="T69" fmla="*/ 12 h 308"/>
              <a:gd name="T70" fmla="*/ 259 w 292"/>
              <a:gd name="T71" fmla="*/ 0 h 3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92" h="308">
                <a:moveTo>
                  <a:pt x="259" y="0"/>
                </a:moveTo>
                <a:lnTo>
                  <a:pt x="265" y="10"/>
                </a:lnTo>
                <a:lnTo>
                  <a:pt x="271" y="23"/>
                </a:lnTo>
                <a:lnTo>
                  <a:pt x="276" y="37"/>
                </a:lnTo>
                <a:lnTo>
                  <a:pt x="280" y="54"/>
                </a:lnTo>
                <a:lnTo>
                  <a:pt x="286" y="91"/>
                </a:lnTo>
                <a:lnTo>
                  <a:pt x="292" y="135"/>
                </a:lnTo>
                <a:lnTo>
                  <a:pt x="292" y="144"/>
                </a:lnTo>
                <a:lnTo>
                  <a:pt x="292" y="153"/>
                </a:lnTo>
                <a:lnTo>
                  <a:pt x="291" y="161"/>
                </a:lnTo>
                <a:lnTo>
                  <a:pt x="289" y="168"/>
                </a:lnTo>
                <a:lnTo>
                  <a:pt x="286" y="179"/>
                </a:lnTo>
                <a:lnTo>
                  <a:pt x="281" y="189"/>
                </a:lnTo>
                <a:lnTo>
                  <a:pt x="269" y="206"/>
                </a:lnTo>
                <a:lnTo>
                  <a:pt x="258" y="225"/>
                </a:lnTo>
                <a:lnTo>
                  <a:pt x="231" y="185"/>
                </a:lnTo>
                <a:lnTo>
                  <a:pt x="192" y="222"/>
                </a:lnTo>
                <a:lnTo>
                  <a:pt x="165" y="258"/>
                </a:lnTo>
                <a:lnTo>
                  <a:pt x="152" y="246"/>
                </a:lnTo>
                <a:lnTo>
                  <a:pt x="132" y="278"/>
                </a:lnTo>
                <a:lnTo>
                  <a:pt x="132" y="296"/>
                </a:lnTo>
                <a:lnTo>
                  <a:pt x="59" y="296"/>
                </a:lnTo>
                <a:lnTo>
                  <a:pt x="46" y="302"/>
                </a:lnTo>
                <a:lnTo>
                  <a:pt x="32" y="308"/>
                </a:lnTo>
                <a:lnTo>
                  <a:pt x="19" y="308"/>
                </a:lnTo>
                <a:lnTo>
                  <a:pt x="6" y="308"/>
                </a:lnTo>
                <a:lnTo>
                  <a:pt x="8" y="302"/>
                </a:lnTo>
                <a:lnTo>
                  <a:pt x="9" y="297"/>
                </a:lnTo>
                <a:lnTo>
                  <a:pt x="11" y="291"/>
                </a:lnTo>
                <a:lnTo>
                  <a:pt x="11" y="286"/>
                </a:lnTo>
                <a:lnTo>
                  <a:pt x="9" y="276"/>
                </a:lnTo>
                <a:lnTo>
                  <a:pt x="7" y="265"/>
                </a:lnTo>
                <a:lnTo>
                  <a:pt x="5" y="256"/>
                </a:lnTo>
                <a:lnTo>
                  <a:pt x="2" y="246"/>
                </a:lnTo>
                <a:lnTo>
                  <a:pt x="0" y="237"/>
                </a:lnTo>
                <a:lnTo>
                  <a:pt x="0" y="228"/>
                </a:lnTo>
                <a:lnTo>
                  <a:pt x="0" y="216"/>
                </a:lnTo>
                <a:lnTo>
                  <a:pt x="3" y="205"/>
                </a:lnTo>
                <a:lnTo>
                  <a:pt x="6" y="196"/>
                </a:lnTo>
                <a:lnTo>
                  <a:pt x="12" y="188"/>
                </a:lnTo>
                <a:lnTo>
                  <a:pt x="18" y="180"/>
                </a:lnTo>
                <a:lnTo>
                  <a:pt x="26" y="174"/>
                </a:lnTo>
                <a:lnTo>
                  <a:pt x="34" y="167"/>
                </a:lnTo>
                <a:lnTo>
                  <a:pt x="42" y="161"/>
                </a:lnTo>
                <a:lnTo>
                  <a:pt x="60" y="148"/>
                </a:lnTo>
                <a:lnTo>
                  <a:pt x="77" y="135"/>
                </a:lnTo>
                <a:lnTo>
                  <a:pt x="85" y="128"/>
                </a:lnTo>
                <a:lnTo>
                  <a:pt x="93" y="119"/>
                </a:lnTo>
                <a:lnTo>
                  <a:pt x="99" y="110"/>
                </a:lnTo>
                <a:lnTo>
                  <a:pt x="105" y="98"/>
                </a:lnTo>
                <a:lnTo>
                  <a:pt x="102" y="98"/>
                </a:lnTo>
                <a:lnTo>
                  <a:pt x="98" y="96"/>
                </a:lnTo>
                <a:lnTo>
                  <a:pt x="95" y="94"/>
                </a:lnTo>
                <a:lnTo>
                  <a:pt x="92" y="91"/>
                </a:lnTo>
                <a:lnTo>
                  <a:pt x="86" y="83"/>
                </a:lnTo>
                <a:lnTo>
                  <a:pt x="82" y="73"/>
                </a:lnTo>
                <a:lnTo>
                  <a:pt x="77" y="62"/>
                </a:lnTo>
                <a:lnTo>
                  <a:pt x="74" y="50"/>
                </a:lnTo>
                <a:lnTo>
                  <a:pt x="73" y="36"/>
                </a:lnTo>
                <a:lnTo>
                  <a:pt x="72" y="24"/>
                </a:lnTo>
                <a:lnTo>
                  <a:pt x="82" y="21"/>
                </a:lnTo>
                <a:lnTo>
                  <a:pt x="90" y="19"/>
                </a:lnTo>
                <a:lnTo>
                  <a:pt x="97" y="19"/>
                </a:lnTo>
                <a:lnTo>
                  <a:pt x="105" y="20"/>
                </a:lnTo>
                <a:lnTo>
                  <a:pt x="118" y="23"/>
                </a:lnTo>
                <a:lnTo>
                  <a:pt x="132" y="24"/>
                </a:lnTo>
                <a:lnTo>
                  <a:pt x="149" y="23"/>
                </a:lnTo>
                <a:lnTo>
                  <a:pt x="169" y="21"/>
                </a:lnTo>
                <a:lnTo>
                  <a:pt x="189" y="17"/>
                </a:lnTo>
                <a:lnTo>
                  <a:pt x="210" y="12"/>
                </a:lnTo>
                <a:lnTo>
                  <a:pt x="244" y="4"/>
                </a:lnTo>
                <a:lnTo>
                  <a:pt x="259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483" name="Freeform 435"/>
          <p:cNvSpPr>
            <a:spLocks/>
          </p:cNvSpPr>
          <p:nvPr>
            <p:custDataLst>
              <p:tags r:id="rId276"/>
            </p:custDataLst>
          </p:nvPr>
        </p:nvSpPr>
        <p:spPr bwMode="auto">
          <a:xfrm>
            <a:off x="6388100" y="3692525"/>
            <a:ext cx="6350" cy="57150"/>
          </a:xfrm>
          <a:custGeom>
            <a:avLst/>
            <a:gdLst>
              <a:gd name="T0" fmla="*/ 11 w 14"/>
              <a:gd name="T1" fmla="*/ 0 h 7"/>
              <a:gd name="T2" fmla="*/ 13 w 14"/>
              <a:gd name="T3" fmla="*/ 3 h 7"/>
              <a:gd name="T4" fmla="*/ 14 w 14"/>
              <a:gd name="T5" fmla="*/ 7 h 7"/>
              <a:gd name="T6" fmla="*/ 0 w 14"/>
              <a:gd name="T7" fmla="*/ 7 h 7"/>
              <a:gd name="T8" fmla="*/ 11 w 14"/>
              <a:gd name="T9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" h="7">
                <a:moveTo>
                  <a:pt x="11" y="0"/>
                </a:moveTo>
                <a:lnTo>
                  <a:pt x="13" y="3"/>
                </a:lnTo>
                <a:lnTo>
                  <a:pt x="14" y="7"/>
                </a:lnTo>
                <a:lnTo>
                  <a:pt x="0" y="7"/>
                </a:lnTo>
                <a:lnTo>
                  <a:pt x="11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484" name="Freeform 436"/>
          <p:cNvSpPr>
            <a:spLocks/>
          </p:cNvSpPr>
          <p:nvPr>
            <p:custDataLst>
              <p:tags r:id="rId277"/>
            </p:custDataLst>
          </p:nvPr>
        </p:nvSpPr>
        <p:spPr bwMode="auto">
          <a:xfrm>
            <a:off x="5878514" y="2928938"/>
            <a:ext cx="249237" cy="500062"/>
          </a:xfrm>
          <a:custGeom>
            <a:avLst/>
            <a:gdLst>
              <a:gd name="T0" fmla="*/ 81 w 581"/>
              <a:gd name="T1" fmla="*/ 115 h 955"/>
              <a:gd name="T2" fmla="*/ 104 w 581"/>
              <a:gd name="T3" fmla="*/ 152 h 955"/>
              <a:gd name="T4" fmla="*/ 111 w 581"/>
              <a:gd name="T5" fmla="*/ 180 h 955"/>
              <a:gd name="T6" fmla="*/ 95 w 581"/>
              <a:gd name="T7" fmla="*/ 234 h 955"/>
              <a:gd name="T8" fmla="*/ 96 w 581"/>
              <a:gd name="T9" fmla="*/ 325 h 955"/>
              <a:gd name="T10" fmla="*/ 93 w 581"/>
              <a:gd name="T11" fmla="*/ 363 h 955"/>
              <a:gd name="T12" fmla="*/ 82 w 581"/>
              <a:gd name="T13" fmla="*/ 396 h 955"/>
              <a:gd name="T14" fmla="*/ 59 w 581"/>
              <a:gd name="T15" fmla="*/ 429 h 955"/>
              <a:gd name="T16" fmla="*/ 31 w 581"/>
              <a:gd name="T17" fmla="*/ 461 h 955"/>
              <a:gd name="T18" fmla="*/ 17 w 581"/>
              <a:gd name="T19" fmla="*/ 481 h 955"/>
              <a:gd name="T20" fmla="*/ 2 w 581"/>
              <a:gd name="T21" fmla="*/ 542 h 955"/>
              <a:gd name="T22" fmla="*/ 69 w 581"/>
              <a:gd name="T23" fmla="*/ 616 h 955"/>
              <a:gd name="T24" fmla="*/ 69 w 581"/>
              <a:gd name="T25" fmla="*/ 634 h 955"/>
              <a:gd name="T26" fmla="*/ 74 w 581"/>
              <a:gd name="T27" fmla="*/ 665 h 955"/>
              <a:gd name="T28" fmla="*/ 74 w 581"/>
              <a:gd name="T29" fmla="*/ 696 h 955"/>
              <a:gd name="T30" fmla="*/ 78 w 581"/>
              <a:gd name="T31" fmla="*/ 733 h 955"/>
              <a:gd name="T32" fmla="*/ 94 w 581"/>
              <a:gd name="T33" fmla="*/ 778 h 955"/>
              <a:gd name="T34" fmla="*/ 105 w 581"/>
              <a:gd name="T35" fmla="*/ 792 h 955"/>
              <a:gd name="T36" fmla="*/ 68 w 581"/>
              <a:gd name="T37" fmla="*/ 794 h 955"/>
              <a:gd name="T38" fmla="*/ 42 w 581"/>
              <a:gd name="T39" fmla="*/ 802 h 955"/>
              <a:gd name="T40" fmla="*/ 36 w 581"/>
              <a:gd name="T41" fmla="*/ 812 h 955"/>
              <a:gd name="T42" fmla="*/ 42 w 581"/>
              <a:gd name="T43" fmla="*/ 842 h 955"/>
              <a:gd name="T44" fmla="*/ 69 w 581"/>
              <a:gd name="T45" fmla="*/ 876 h 955"/>
              <a:gd name="T46" fmla="*/ 87 w 581"/>
              <a:gd name="T47" fmla="*/ 899 h 955"/>
              <a:gd name="T48" fmla="*/ 100 w 581"/>
              <a:gd name="T49" fmla="*/ 927 h 955"/>
              <a:gd name="T50" fmla="*/ 156 w 581"/>
              <a:gd name="T51" fmla="*/ 955 h 955"/>
              <a:gd name="T52" fmla="*/ 189 w 581"/>
              <a:gd name="T53" fmla="*/ 942 h 955"/>
              <a:gd name="T54" fmla="*/ 248 w 581"/>
              <a:gd name="T55" fmla="*/ 929 h 955"/>
              <a:gd name="T56" fmla="*/ 279 w 581"/>
              <a:gd name="T57" fmla="*/ 921 h 955"/>
              <a:gd name="T58" fmla="*/ 297 w 581"/>
              <a:gd name="T59" fmla="*/ 904 h 955"/>
              <a:gd name="T60" fmla="*/ 302 w 581"/>
              <a:gd name="T61" fmla="*/ 892 h 955"/>
              <a:gd name="T62" fmla="*/ 302 w 581"/>
              <a:gd name="T63" fmla="*/ 868 h 955"/>
              <a:gd name="T64" fmla="*/ 338 w 581"/>
              <a:gd name="T65" fmla="*/ 871 h 955"/>
              <a:gd name="T66" fmla="*/ 367 w 581"/>
              <a:gd name="T67" fmla="*/ 866 h 955"/>
              <a:gd name="T68" fmla="*/ 389 w 581"/>
              <a:gd name="T69" fmla="*/ 856 h 955"/>
              <a:gd name="T70" fmla="*/ 405 w 581"/>
              <a:gd name="T71" fmla="*/ 842 h 955"/>
              <a:gd name="T72" fmla="*/ 432 w 581"/>
              <a:gd name="T73" fmla="*/ 807 h 955"/>
              <a:gd name="T74" fmla="*/ 460 w 581"/>
              <a:gd name="T75" fmla="*/ 773 h 955"/>
              <a:gd name="T76" fmla="*/ 477 w 581"/>
              <a:gd name="T77" fmla="*/ 760 h 955"/>
              <a:gd name="T78" fmla="*/ 502 w 581"/>
              <a:gd name="T79" fmla="*/ 752 h 955"/>
              <a:gd name="T80" fmla="*/ 521 w 581"/>
              <a:gd name="T81" fmla="*/ 745 h 955"/>
              <a:gd name="T82" fmla="*/ 499 w 581"/>
              <a:gd name="T83" fmla="*/ 697 h 955"/>
              <a:gd name="T84" fmla="*/ 484 w 581"/>
              <a:gd name="T85" fmla="*/ 653 h 955"/>
              <a:gd name="T86" fmla="*/ 472 w 581"/>
              <a:gd name="T87" fmla="*/ 623 h 955"/>
              <a:gd name="T88" fmla="*/ 481 w 581"/>
              <a:gd name="T89" fmla="*/ 610 h 955"/>
              <a:gd name="T90" fmla="*/ 487 w 581"/>
              <a:gd name="T91" fmla="*/ 579 h 955"/>
              <a:gd name="T92" fmla="*/ 494 w 581"/>
              <a:gd name="T93" fmla="*/ 541 h 955"/>
              <a:gd name="T94" fmla="*/ 505 w 581"/>
              <a:gd name="T95" fmla="*/ 519 h 955"/>
              <a:gd name="T96" fmla="*/ 532 w 581"/>
              <a:gd name="T97" fmla="*/ 486 h 955"/>
              <a:gd name="T98" fmla="*/ 570 w 581"/>
              <a:gd name="T99" fmla="*/ 461 h 955"/>
              <a:gd name="T100" fmla="*/ 129 w 581"/>
              <a:gd name="T101" fmla="*/ 0 h 955"/>
              <a:gd name="T102" fmla="*/ 98 w 581"/>
              <a:gd name="T103" fmla="*/ 5 h 955"/>
              <a:gd name="T104" fmla="*/ 69 w 581"/>
              <a:gd name="T105" fmla="*/ 24 h 9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581" h="955">
                <a:moveTo>
                  <a:pt x="69" y="24"/>
                </a:moveTo>
                <a:lnTo>
                  <a:pt x="69" y="97"/>
                </a:lnTo>
                <a:lnTo>
                  <a:pt x="81" y="115"/>
                </a:lnTo>
                <a:lnTo>
                  <a:pt x="91" y="129"/>
                </a:lnTo>
                <a:lnTo>
                  <a:pt x="99" y="141"/>
                </a:lnTo>
                <a:lnTo>
                  <a:pt x="104" y="152"/>
                </a:lnTo>
                <a:lnTo>
                  <a:pt x="107" y="163"/>
                </a:lnTo>
                <a:lnTo>
                  <a:pt x="110" y="172"/>
                </a:lnTo>
                <a:lnTo>
                  <a:pt x="111" y="180"/>
                </a:lnTo>
                <a:lnTo>
                  <a:pt x="110" y="186"/>
                </a:lnTo>
                <a:lnTo>
                  <a:pt x="102" y="209"/>
                </a:lnTo>
                <a:lnTo>
                  <a:pt x="95" y="234"/>
                </a:lnTo>
                <a:lnTo>
                  <a:pt x="96" y="276"/>
                </a:lnTo>
                <a:lnTo>
                  <a:pt x="96" y="309"/>
                </a:lnTo>
                <a:lnTo>
                  <a:pt x="96" y="325"/>
                </a:lnTo>
                <a:lnTo>
                  <a:pt x="96" y="339"/>
                </a:lnTo>
                <a:lnTo>
                  <a:pt x="95" y="351"/>
                </a:lnTo>
                <a:lnTo>
                  <a:pt x="93" y="363"/>
                </a:lnTo>
                <a:lnTo>
                  <a:pt x="91" y="374"/>
                </a:lnTo>
                <a:lnTo>
                  <a:pt x="87" y="386"/>
                </a:lnTo>
                <a:lnTo>
                  <a:pt x="82" y="396"/>
                </a:lnTo>
                <a:lnTo>
                  <a:pt x="76" y="407"/>
                </a:lnTo>
                <a:lnTo>
                  <a:pt x="69" y="418"/>
                </a:lnTo>
                <a:lnTo>
                  <a:pt x="59" y="429"/>
                </a:lnTo>
                <a:lnTo>
                  <a:pt x="48" y="442"/>
                </a:lnTo>
                <a:lnTo>
                  <a:pt x="36" y="455"/>
                </a:lnTo>
                <a:lnTo>
                  <a:pt x="31" y="461"/>
                </a:lnTo>
                <a:lnTo>
                  <a:pt x="26" y="467"/>
                </a:lnTo>
                <a:lnTo>
                  <a:pt x="22" y="474"/>
                </a:lnTo>
                <a:lnTo>
                  <a:pt x="17" y="481"/>
                </a:lnTo>
                <a:lnTo>
                  <a:pt x="12" y="496"/>
                </a:lnTo>
                <a:lnTo>
                  <a:pt x="8" y="512"/>
                </a:lnTo>
                <a:lnTo>
                  <a:pt x="2" y="542"/>
                </a:lnTo>
                <a:lnTo>
                  <a:pt x="0" y="568"/>
                </a:lnTo>
                <a:lnTo>
                  <a:pt x="29" y="578"/>
                </a:lnTo>
                <a:lnTo>
                  <a:pt x="69" y="616"/>
                </a:lnTo>
                <a:lnTo>
                  <a:pt x="51" y="632"/>
                </a:lnTo>
                <a:lnTo>
                  <a:pt x="60" y="633"/>
                </a:lnTo>
                <a:lnTo>
                  <a:pt x="69" y="634"/>
                </a:lnTo>
                <a:lnTo>
                  <a:pt x="70" y="643"/>
                </a:lnTo>
                <a:lnTo>
                  <a:pt x="72" y="653"/>
                </a:lnTo>
                <a:lnTo>
                  <a:pt x="74" y="665"/>
                </a:lnTo>
                <a:lnTo>
                  <a:pt x="76" y="677"/>
                </a:lnTo>
                <a:lnTo>
                  <a:pt x="74" y="686"/>
                </a:lnTo>
                <a:lnTo>
                  <a:pt x="74" y="696"/>
                </a:lnTo>
                <a:lnTo>
                  <a:pt x="74" y="705"/>
                </a:lnTo>
                <a:lnTo>
                  <a:pt x="76" y="715"/>
                </a:lnTo>
                <a:lnTo>
                  <a:pt x="78" y="733"/>
                </a:lnTo>
                <a:lnTo>
                  <a:pt x="82" y="749"/>
                </a:lnTo>
                <a:lnTo>
                  <a:pt x="88" y="764"/>
                </a:lnTo>
                <a:lnTo>
                  <a:pt x="94" y="778"/>
                </a:lnTo>
                <a:lnTo>
                  <a:pt x="98" y="783"/>
                </a:lnTo>
                <a:lnTo>
                  <a:pt x="102" y="788"/>
                </a:lnTo>
                <a:lnTo>
                  <a:pt x="105" y="792"/>
                </a:lnTo>
                <a:lnTo>
                  <a:pt x="109" y="794"/>
                </a:lnTo>
                <a:lnTo>
                  <a:pt x="92" y="794"/>
                </a:lnTo>
                <a:lnTo>
                  <a:pt x="68" y="794"/>
                </a:lnTo>
                <a:lnTo>
                  <a:pt x="56" y="796"/>
                </a:lnTo>
                <a:lnTo>
                  <a:pt x="46" y="799"/>
                </a:lnTo>
                <a:lnTo>
                  <a:pt x="42" y="802"/>
                </a:lnTo>
                <a:lnTo>
                  <a:pt x="38" y="805"/>
                </a:lnTo>
                <a:lnTo>
                  <a:pt x="36" y="808"/>
                </a:lnTo>
                <a:lnTo>
                  <a:pt x="36" y="812"/>
                </a:lnTo>
                <a:lnTo>
                  <a:pt x="36" y="824"/>
                </a:lnTo>
                <a:lnTo>
                  <a:pt x="38" y="834"/>
                </a:lnTo>
                <a:lnTo>
                  <a:pt x="42" y="842"/>
                </a:lnTo>
                <a:lnTo>
                  <a:pt x="46" y="850"/>
                </a:lnTo>
                <a:lnTo>
                  <a:pt x="57" y="863"/>
                </a:lnTo>
                <a:lnTo>
                  <a:pt x="69" y="876"/>
                </a:lnTo>
                <a:lnTo>
                  <a:pt x="76" y="884"/>
                </a:lnTo>
                <a:lnTo>
                  <a:pt x="81" y="891"/>
                </a:lnTo>
                <a:lnTo>
                  <a:pt x="87" y="899"/>
                </a:lnTo>
                <a:lnTo>
                  <a:pt x="92" y="907"/>
                </a:lnTo>
                <a:lnTo>
                  <a:pt x="96" y="917"/>
                </a:lnTo>
                <a:lnTo>
                  <a:pt x="100" y="927"/>
                </a:lnTo>
                <a:lnTo>
                  <a:pt x="102" y="941"/>
                </a:lnTo>
                <a:lnTo>
                  <a:pt x="102" y="955"/>
                </a:lnTo>
                <a:lnTo>
                  <a:pt x="156" y="955"/>
                </a:lnTo>
                <a:lnTo>
                  <a:pt x="166" y="949"/>
                </a:lnTo>
                <a:lnTo>
                  <a:pt x="177" y="945"/>
                </a:lnTo>
                <a:lnTo>
                  <a:pt x="189" y="942"/>
                </a:lnTo>
                <a:lnTo>
                  <a:pt x="201" y="939"/>
                </a:lnTo>
                <a:lnTo>
                  <a:pt x="225" y="935"/>
                </a:lnTo>
                <a:lnTo>
                  <a:pt x="248" y="929"/>
                </a:lnTo>
                <a:lnTo>
                  <a:pt x="259" y="927"/>
                </a:lnTo>
                <a:lnTo>
                  <a:pt x="270" y="924"/>
                </a:lnTo>
                <a:lnTo>
                  <a:pt x="279" y="921"/>
                </a:lnTo>
                <a:lnTo>
                  <a:pt x="286" y="916"/>
                </a:lnTo>
                <a:lnTo>
                  <a:pt x="293" y="911"/>
                </a:lnTo>
                <a:lnTo>
                  <a:pt x="297" y="904"/>
                </a:lnTo>
                <a:lnTo>
                  <a:pt x="300" y="901"/>
                </a:lnTo>
                <a:lnTo>
                  <a:pt x="301" y="896"/>
                </a:lnTo>
                <a:lnTo>
                  <a:pt x="302" y="892"/>
                </a:lnTo>
                <a:lnTo>
                  <a:pt x="302" y="887"/>
                </a:lnTo>
                <a:lnTo>
                  <a:pt x="302" y="877"/>
                </a:lnTo>
                <a:lnTo>
                  <a:pt x="302" y="868"/>
                </a:lnTo>
                <a:lnTo>
                  <a:pt x="315" y="870"/>
                </a:lnTo>
                <a:lnTo>
                  <a:pt x="327" y="871"/>
                </a:lnTo>
                <a:lnTo>
                  <a:pt x="338" y="871"/>
                </a:lnTo>
                <a:lnTo>
                  <a:pt x="348" y="870"/>
                </a:lnTo>
                <a:lnTo>
                  <a:pt x="358" y="868"/>
                </a:lnTo>
                <a:lnTo>
                  <a:pt x="367" y="866"/>
                </a:lnTo>
                <a:lnTo>
                  <a:pt x="374" y="863"/>
                </a:lnTo>
                <a:lnTo>
                  <a:pt x="382" y="860"/>
                </a:lnTo>
                <a:lnTo>
                  <a:pt x="389" y="856"/>
                </a:lnTo>
                <a:lnTo>
                  <a:pt x="394" y="852"/>
                </a:lnTo>
                <a:lnTo>
                  <a:pt x="401" y="847"/>
                </a:lnTo>
                <a:lnTo>
                  <a:pt x="405" y="842"/>
                </a:lnTo>
                <a:lnTo>
                  <a:pt x="415" y="831"/>
                </a:lnTo>
                <a:lnTo>
                  <a:pt x="424" y="818"/>
                </a:lnTo>
                <a:lnTo>
                  <a:pt x="432" y="807"/>
                </a:lnTo>
                <a:lnTo>
                  <a:pt x="440" y="795"/>
                </a:lnTo>
                <a:lnTo>
                  <a:pt x="449" y="783"/>
                </a:lnTo>
                <a:lnTo>
                  <a:pt x="460" y="773"/>
                </a:lnTo>
                <a:lnTo>
                  <a:pt x="465" y="769"/>
                </a:lnTo>
                <a:lnTo>
                  <a:pt x="471" y="764"/>
                </a:lnTo>
                <a:lnTo>
                  <a:pt x="477" y="760"/>
                </a:lnTo>
                <a:lnTo>
                  <a:pt x="485" y="757"/>
                </a:lnTo>
                <a:lnTo>
                  <a:pt x="493" y="754"/>
                </a:lnTo>
                <a:lnTo>
                  <a:pt x="502" y="752"/>
                </a:lnTo>
                <a:lnTo>
                  <a:pt x="510" y="751"/>
                </a:lnTo>
                <a:lnTo>
                  <a:pt x="521" y="751"/>
                </a:lnTo>
                <a:lnTo>
                  <a:pt x="521" y="745"/>
                </a:lnTo>
                <a:lnTo>
                  <a:pt x="511" y="729"/>
                </a:lnTo>
                <a:lnTo>
                  <a:pt x="505" y="713"/>
                </a:lnTo>
                <a:lnTo>
                  <a:pt x="499" y="697"/>
                </a:lnTo>
                <a:lnTo>
                  <a:pt x="494" y="682"/>
                </a:lnTo>
                <a:lnTo>
                  <a:pt x="490" y="667"/>
                </a:lnTo>
                <a:lnTo>
                  <a:pt x="484" y="653"/>
                </a:lnTo>
                <a:lnTo>
                  <a:pt x="476" y="640"/>
                </a:lnTo>
                <a:lnTo>
                  <a:pt x="468" y="628"/>
                </a:lnTo>
                <a:lnTo>
                  <a:pt x="472" y="623"/>
                </a:lnTo>
                <a:lnTo>
                  <a:pt x="476" y="619"/>
                </a:lnTo>
                <a:lnTo>
                  <a:pt x="479" y="614"/>
                </a:lnTo>
                <a:lnTo>
                  <a:pt x="481" y="610"/>
                </a:lnTo>
                <a:lnTo>
                  <a:pt x="484" y="599"/>
                </a:lnTo>
                <a:lnTo>
                  <a:pt x="486" y="589"/>
                </a:lnTo>
                <a:lnTo>
                  <a:pt x="487" y="579"/>
                </a:lnTo>
                <a:lnTo>
                  <a:pt x="488" y="567"/>
                </a:lnTo>
                <a:lnTo>
                  <a:pt x="491" y="555"/>
                </a:lnTo>
                <a:lnTo>
                  <a:pt x="494" y="541"/>
                </a:lnTo>
                <a:lnTo>
                  <a:pt x="497" y="533"/>
                </a:lnTo>
                <a:lnTo>
                  <a:pt x="501" y="526"/>
                </a:lnTo>
                <a:lnTo>
                  <a:pt x="505" y="519"/>
                </a:lnTo>
                <a:lnTo>
                  <a:pt x="509" y="512"/>
                </a:lnTo>
                <a:lnTo>
                  <a:pt x="520" y="499"/>
                </a:lnTo>
                <a:lnTo>
                  <a:pt x="532" y="486"/>
                </a:lnTo>
                <a:lnTo>
                  <a:pt x="546" y="476"/>
                </a:lnTo>
                <a:lnTo>
                  <a:pt x="558" y="468"/>
                </a:lnTo>
                <a:lnTo>
                  <a:pt x="570" y="461"/>
                </a:lnTo>
                <a:lnTo>
                  <a:pt x="581" y="455"/>
                </a:lnTo>
                <a:lnTo>
                  <a:pt x="581" y="234"/>
                </a:lnTo>
                <a:lnTo>
                  <a:pt x="129" y="0"/>
                </a:lnTo>
                <a:lnTo>
                  <a:pt x="116" y="1"/>
                </a:lnTo>
                <a:lnTo>
                  <a:pt x="106" y="3"/>
                </a:lnTo>
                <a:lnTo>
                  <a:pt x="98" y="5"/>
                </a:lnTo>
                <a:lnTo>
                  <a:pt x="89" y="6"/>
                </a:lnTo>
                <a:lnTo>
                  <a:pt x="79" y="15"/>
                </a:lnTo>
                <a:lnTo>
                  <a:pt x="69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485" name="Freeform 437"/>
          <p:cNvSpPr>
            <a:spLocks/>
          </p:cNvSpPr>
          <p:nvPr>
            <p:custDataLst>
              <p:tags r:id="rId278"/>
            </p:custDataLst>
          </p:nvPr>
        </p:nvSpPr>
        <p:spPr bwMode="auto">
          <a:xfrm>
            <a:off x="5554664" y="2311400"/>
            <a:ext cx="15875" cy="57150"/>
          </a:xfrm>
          <a:custGeom>
            <a:avLst/>
            <a:gdLst>
              <a:gd name="T0" fmla="*/ 26 w 45"/>
              <a:gd name="T1" fmla="*/ 0 h 36"/>
              <a:gd name="T2" fmla="*/ 0 w 45"/>
              <a:gd name="T3" fmla="*/ 18 h 36"/>
              <a:gd name="T4" fmla="*/ 23 w 45"/>
              <a:gd name="T5" fmla="*/ 36 h 36"/>
              <a:gd name="T6" fmla="*/ 45 w 45"/>
              <a:gd name="T7" fmla="*/ 15 h 36"/>
              <a:gd name="T8" fmla="*/ 26 w 45"/>
              <a:gd name="T9" fmla="*/ 0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5" h="36">
                <a:moveTo>
                  <a:pt x="26" y="0"/>
                </a:moveTo>
                <a:lnTo>
                  <a:pt x="0" y="18"/>
                </a:lnTo>
                <a:lnTo>
                  <a:pt x="23" y="36"/>
                </a:lnTo>
                <a:lnTo>
                  <a:pt x="45" y="15"/>
                </a:lnTo>
                <a:lnTo>
                  <a:pt x="26" y="0"/>
                </a:lnTo>
                <a:close/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grpSp>
        <p:nvGrpSpPr>
          <p:cNvPr id="2486" name="Group 438"/>
          <p:cNvGrpSpPr>
            <a:grpSpLocks/>
          </p:cNvGrpSpPr>
          <p:nvPr>
            <p:custDataLst>
              <p:tags r:id="rId279"/>
            </p:custDataLst>
          </p:nvPr>
        </p:nvGrpSpPr>
        <p:grpSpPr bwMode="auto">
          <a:xfrm>
            <a:off x="3854451" y="4371976"/>
            <a:ext cx="384175" cy="1031875"/>
            <a:chOff x="1589" y="3126"/>
            <a:chExt cx="290" cy="657"/>
          </a:xfrm>
        </p:grpSpPr>
        <p:sp>
          <p:nvSpPr>
            <p:cNvPr id="2487" name="Freeform 439"/>
            <p:cNvSpPr>
              <a:spLocks/>
            </p:cNvSpPr>
            <p:nvPr/>
          </p:nvSpPr>
          <p:spPr bwMode="auto">
            <a:xfrm>
              <a:off x="1748" y="3531"/>
              <a:ext cx="15" cy="17"/>
            </a:xfrm>
            <a:custGeom>
              <a:avLst/>
              <a:gdLst>
                <a:gd name="T0" fmla="*/ 46 w 46"/>
                <a:gd name="T1" fmla="*/ 12 h 51"/>
                <a:gd name="T2" fmla="*/ 19 w 46"/>
                <a:gd name="T3" fmla="*/ 0 h 51"/>
                <a:gd name="T4" fmla="*/ 13 w 46"/>
                <a:gd name="T5" fmla="*/ 5 h 51"/>
                <a:gd name="T6" fmla="*/ 7 w 46"/>
                <a:gd name="T7" fmla="*/ 9 h 51"/>
                <a:gd name="T8" fmla="*/ 4 w 46"/>
                <a:gd name="T9" fmla="*/ 12 h 51"/>
                <a:gd name="T10" fmla="*/ 2 w 46"/>
                <a:gd name="T11" fmla="*/ 14 h 51"/>
                <a:gd name="T12" fmla="*/ 0 w 46"/>
                <a:gd name="T13" fmla="*/ 16 h 51"/>
                <a:gd name="T14" fmla="*/ 0 w 46"/>
                <a:gd name="T15" fmla="*/ 19 h 51"/>
                <a:gd name="T16" fmla="*/ 0 w 46"/>
                <a:gd name="T17" fmla="*/ 24 h 51"/>
                <a:gd name="T18" fmla="*/ 2 w 46"/>
                <a:gd name="T19" fmla="*/ 29 h 51"/>
                <a:gd name="T20" fmla="*/ 4 w 46"/>
                <a:gd name="T21" fmla="*/ 36 h 51"/>
                <a:gd name="T22" fmla="*/ 7 w 46"/>
                <a:gd name="T23" fmla="*/ 41 h 51"/>
                <a:gd name="T24" fmla="*/ 10 w 46"/>
                <a:gd name="T25" fmla="*/ 46 h 51"/>
                <a:gd name="T26" fmla="*/ 13 w 46"/>
                <a:gd name="T27" fmla="*/ 49 h 51"/>
                <a:gd name="T28" fmla="*/ 15 w 46"/>
                <a:gd name="T29" fmla="*/ 50 h 51"/>
                <a:gd name="T30" fmla="*/ 16 w 46"/>
                <a:gd name="T31" fmla="*/ 51 h 51"/>
                <a:gd name="T32" fmla="*/ 18 w 46"/>
                <a:gd name="T33" fmla="*/ 51 h 51"/>
                <a:gd name="T34" fmla="*/ 19 w 46"/>
                <a:gd name="T35" fmla="*/ 50 h 51"/>
                <a:gd name="T36" fmla="*/ 35 w 46"/>
                <a:gd name="T37" fmla="*/ 50 h 51"/>
                <a:gd name="T38" fmla="*/ 46 w 46"/>
                <a:gd name="T39" fmla="*/ 50 h 51"/>
                <a:gd name="T40" fmla="*/ 46 w 46"/>
                <a:gd name="T41" fmla="*/ 37 h 51"/>
                <a:gd name="T42" fmla="*/ 46 w 46"/>
                <a:gd name="T43" fmla="*/ 26 h 51"/>
                <a:gd name="T44" fmla="*/ 46 w 46"/>
                <a:gd name="T45" fmla="*/ 18 h 51"/>
                <a:gd name="T46" fmla="*/ 46 w 46"/>
                <a:gd name="T47" fmla="*/ 1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" h="51">
                  <a:moveTo>
                    <a:pt x="46" y="12"/>
                  </a:moveTo>
                  <a:lnTo>
                    <a:pt x="19" y="0"/>
                  </a:lnTo>
                  <a:lnTo>
                    <a:pt x="13" y="5"/>
                  </a:lnTo>
                  <a:lnTo>
                    <a:pt x="7" y="9"/>
                  </a:lnTo>
                  <a:lnTo>
                    <a:pt x="4" y="12"/>
                  </a:lnTo>
                  <a:lnTo>
                    <a:pt x="2" y="14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0" y="24"/>
                  </a:lnTo>
                  <a:lnTo>
                    <a:pt x="2" y="29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3" y="49"/>
                  </a:lnTo>
                  <a:lnTo>
                    <a:pt x="15" y="50"/>
                  </a:lnTo>
                  <a:lnTo>
                    <a:pt x="16" y="51"/>
                  </a:lnTo>
                  <a:lnTo>
                    <a:pt x="18" y="51"/>
                  </a:lnTo>
                  <a:lnTo>
                    <a:pt x="19" y="50"/>
                  </a:lnTo>
                  <a:lnTo>
                    <a:pt x="35" y="50"/>
                  </a:lnTo>
                  <a:lnTo>
                    <a:pt x="46" y="50"/>
                  </a:lnTo>
                  <a:lnTo>
                    <a:pt x="46" y="37"/>
                  </a:lnTo>
                  <a:lnTo>
                    <a:pt x="46" y="26"/>
                  </a:lnTo>
                  <a:lnTo>
                    <a:pt x="46" y="18"/>
                  </a:lnTo>
                  <a:lnTo>
                    <a:pt x="46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88" name="Freeform 440"/>
            <p:cNvSpPr>
              <a:spLocks/>
            </p:cNvSpPr>
            <p:nvPr/>
          </p:nvSpPr>
          <p:spPr bwMode="auto">
            <a:xfrm>
              <a:off x="1759" y="3730"/>
              <a:ext cx="63" cy="53"/>
            </a:xfrm>
            <a:custGeom>
              <a:avLst/>
              <a:gdLst>
                <a:gd name="T0" fmla="*/ 0 w 192"/>
                <a:gd name="T1" fmla="*/ 0 h 158"/>
                <a:gd name="T2" fmla="*/ 0 w 192"/>
                <a:gd name="T3" fmla="*/ 14 h 158"/>
                <a:gd name="T4" fmla="*/ 2 w 192"/>
                <a:gd name="T5" fmla="*/ 26 h 158"/>
                <a:gd name="T6" fmla="*/ 4 w 192"/>
                <a:gd name="T7" fmla="*/ 38 h 158"/>
                <a:gd name="T8" fmla="*/ 7 w 192"/>
                <a:gd name="T9" fmla="*/ 50 h 158"/>
                <a:gd name="T10" fmla="*/ 11 w 192"/>
                <a:gd name="T11" fmla="*/ 61 h 158"/>
                <a:gd name="T12" fmla="*/ 15 w 192"/>
                <a:gd name="T13" fmla="*/ 71 h 158"/>
                <a:gd name="T14" fmla="*/ 21 w 192"/>
                <a:gd name="T15" fmla="*/ 81 h 158"/>
                <a:gd name="T16" fmla="*/ 25 w 192"/>
                <a:gd name="T17" fmla="*/ 90 h 158"/>
                <a:gd name="T18" fmla="*/ 47 w 192"/>
                <a:gd name="T19" fmla="*/ 122 h 158"/>
                <a:gd name="T20" fmla="*/ 66 w 192"/>
                <a:gd name="T21" fmla="*/ 148 h 158"/>
                <a:gd name="T22" fmla="*/ 72 w 192"/>
                <a:gd name="T23" fmla="*/ 151 h 158"/>
                <a:gd name="T24" fmla="*/ 79 w 192"/>
                <a:gd name="T25" fmla="*/ 153 h 158"/>
                <a:gd name="T26" fmla="*/ 85 w 192"/>
                <a:gd name="T27" fmla="*/ 155 h 158"/>
                <a:gd name="T28" fmla="*/ 92 w 192"/>
                <a:gd name="T29" fmla="*/ 156 h 158"/>
                <a:gd name="T30" fmla="*/ 105 w 192"/>
                <a:gd name="T31" fmla="*/ 158 h 158"/>
                <a:gd name="T32" fmla="*/ 119 w 192"/>
                <a:gd name="T33" fmla="*/ 158 h 158"/>
                <a:gd name="T34" fmla="*/ 152 w 192"/>
                <a:gd name="T35" fmla="*/ 155 h 158"/>
                <a:gd name="T36" fmla="*/ 192 w 192"/>
                <a:gd name="T37" fmla="*/ 154 h 158"/>
                <a:gd name="T38" fmla="*/ 184 w 192"/>
                <a:gd name="T39" fmla="*/ 153 h 158"/>
                <a:gd name="T40" fmla="*/ 176 w 192"/>
                <a:gd name="T41" fmla="*/ 152 h 158"/>
                <a:gd name="T42" fmla="*/ 168 w 192"/>
                <a:gd name="T43" fmla="*/ 151 h 158"/>
                <a:gd name="T44" fmla="*/ 160 w 192"/>
                <a:gd name="T45" fmla="*/ 149 h 158"/>
                <a:gd name="T46" fmla="*/ 145 w 192"/>
                <a:gd name="T47" fmla="*/ 144 h 158"/>
                <a:gd name="T48" fmla="*/ 129 w 192"/>
                <a:gd name="T49" fmla="*/ 138 h 158"/>
                <a:gd name="T50" fmla="*/ 115 w 192"/>
                <a:gd name="T51" fmla="*/ 130 h 158"/>
                <a:gd name="T52" fmla="*/ 101 w 192"/>
                <a:gd name="T53" fmla="*/ 120 h 158"/>
                <a:gd name="T54" fmla="*/ 87 w 192"/>
                <a:gd name="T55" fmla="*/ 110 h 158"/>
                <a:gd name="T56" fmla="*/ 75 w 192"/>
                <a:gd name="T57" fmla="*/ 98 h 158"/>
                <a:gd name="T58" fmla="*/ 63 w 192"/>
                <a:gd name="T59" fmla="*/ 87 h 158"/>
                <a:gd name="T60" fmla="*/ 52 w 192"/>
                <a:gd name="T61" fmla="*/ 75 h 158"/>
                <a:gd name="T62" fmla="*/ 42 w 192"/>
                <a:gd name="T63" fmla="*/ 63 h 158"/>
                <a:gd name="T64" fmla="*/ 35 w 192"/>
                <a:gd name="T65" fmla="*/ 50 h 158"/>
                <a:gd name="T66" fmla="*/ 27 w 192"/>
                <a:gd name="T67" fmla="*/ 38 h 158"/>
                <a:gd name="T68" fmla="*/ 21 w 192"/>
                <a:gd name="T69" fmla="*/ 26 h 158"/>
                <a:gd name="T70" fmla="*/ 16 w 192"/>
                <a:gd name="T71" fmla="*/ 16 h 158"/>
                <a:gd name="T72" fmla="*/ 13 w 192"/>
                <a:gd name="T73" fmla="*/ 6 h 158"/>
                <a:gd name="T74" fmla="*/ 0 w 192"/>
                <a:gd name="T75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92" h="158">
                  <a:moveTo>
                    <a:pt x="0" y="0"/>
                  </a:moveTo>
                  <a:lnTo>
                    <a:pt x="0" y="14"/>
                  </a:lnTo>
                  <a:lnTo>
                    <a:pt x="2" y="26"/>
                  </a:lnTo>
                  <a:lnTo>
                    <a:pt x="4" y="38"/>
                  </a:lnTo>
                  <a:lnTo>
                    <a:pt x="7" y="50"/>
                  </a:lnTo>
                  <a:lnTo>
                    <a:pt x="11" y="61"/>
                  </a:lnTo>
                  <a:lnTo>
                    <a:pt x="15" y="71"/>
                  </a:lnTo>
                  <a:lnTo>
                    <a:pt x="21" y="81"/>
                  </a:lnTo>
                  <a:lnTo>
                    <a:pt x="25" y="90"/>
                  </a:lnTo>
                  <a:lnTo>
                    <a:pt x="47" y="122"/>
                  </a:lnTo>
                  <a:lnTo>
                    <a:pt x="66" y="148"/>
                  </a:lnTo>
                  <a:lnTo>
                    <a:pt x="72" y="151"/>
                  </a:lnTo>
                  <a:lnTo>
                    <a:pt x="79" y="153"/>
                  </a:lnTo>
                  <a:lnTo>
                    <a:pt x="85" y="155"/>
                  </a:lnTo>
                  <a:lnTo>
                    <a:pt x="92" y="156"/>
                  </a:lnTo>
                  <a:lnTo>
                    <a:pt x="105" y="158"/>
                  </a:lnTo>
                  <a:lnTo>
                    <a:pt x="119" y="158"/>
                  </a:lnTo>
                  <a:lnTo>
                    <a:pt x="152" y="155"/>
                  </a:lnTo>
                  <a:lnTo>
                    <a:pt x="192" y="154"/>
                  </a:lnTo>
                  <a:lnTo>
                    <a:pt x="184" y="153"/>
                  </a:lnTo>
                  <a:lnTo>
                    <a:pt x="176" y="152"/>
                  </a:lnTo>
                  <a:lnTo>
                    <a:pt x="168" y="151"/>
                  </a:lnTo>
                  <a:lnTo>
                    <a:pt x="160" y="149"/>
                  </a:lnTo>
                  <a:lnTo>
                    <a:pt x="145" y="144"/>
                  </a:lnTo>
                  <a:lnTo>
                    <a:pt x="129" y="138"/>
                  </a:lnTo>
                  <a:lnTo>
                    <a:pt x="115" y="130"/>
                  </a:lnTo>
                  <a:lnTo>
                    <a:pt x="101" y="120"/>
                  </a:lnTo>
                  <a:lnTo>
                    <a:pt x="87" y="110"/>
                  </a:lnTo>
                  <a:lnTo>
                    <a:pt x="75" y="98"/>
                  </a:lnTo>
                  <a:lnTo>
                    <a:pt x="63" y="87"/>
                  </a:lnTo>
                  <a:lnTo>
                    <a:pt x="52" y="75"/>
                  </a:lnTo>
                  <a:lnTo>
                    <a:pt x="42" y="63"/>
                  </a:lnTo>
                  <a:lnTo>
                    <a:pt x="35" y="50"/>
                  </a:lnTo>
                  <a:lnTo>
                    <a:pt x="27" y="38"/>
                  </a:lnTo>
                  <a:lnTo>
                    <a:pt x="21" y="26"/>
                  </a:lnTo>
                  <a:lnTo>
                    <a:pt x="16" y="16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89" name="Freeform 441"/>
            <p:cNvSpPr>
              <a:spLocks/>
            </p:cNvSpPr>
            <p:nvPr/>
          </p:nvSpPr>
          <p:spPr bwMode="auto">
            <a:xfrm>
              <a:off x="1589" y="3126"/>
              <a:ext cx="290" cy="606"/>
            </a:xfrm>
            <a:custGeom>
              <a:avLst/>
              <a:gdLst>
                <a:gd name="T0" fmla="*/ 772 w 884"/>
                <a:gd name="T1" fmla="*/ 415 h 1818"/>
                <a:gd name="T2" fmla="*/ 873 w 884"/>
                <a:gd name="T3" fmla="*/ 342 h 1818"/>
                <a:gd name="T4" fmla="*/ 884 w 884"/>
                <a:gd name="T5" fmla="*/ 232 h 1818"/>
                <a:gd name="T6" fmla="*/ 840 w 884"/>
                <a:gd name="T7" fmla="*/ 192 h 1818"/>
                <a:gd name="T8" fmla="*/ 841 w 884"/>
                <a:gd name="T9" fmla="*/ 262 h 1818"/>
                <a:gd name="T10" fmla="*/ 774 w 884"/>
                <a:gd name="T11" fmla="*/ 328 h 1818"/>
                <a:gd name="T12" fmla="*/ 667 w 884"/>
                <a:gd name="T13" fmla="*/ 331 h 1818"/>
                <a:gd name="T14" fmla="*/ 625 w 884"/>
                <a:gd name="T15" fmla="*/ 290 h 1818"/>
                <a:gd name="T16" fmla="*/ 658 w 884"/>
                <a:gd name="T17" fmla="*/ 215 h 1818"/>
                <a:gd name="T18" fmla="*/ 544 w 884"/>
                <a:gd name="T19" fmla="*/ 148 h 1818"/>
                <a:gd name="T20" fmla="*/ 425 w 884"/>
                <a:gd name="T21" fmla="*/ 87 h 1818"/>
                <a:gd name="T22" fmla="*/ 373 w 884"/>
                <a:gd name="T23" fmla="*/ 10 h 1818"/>
                <a:gd name="T24" fmla="*/ 286 w 884"/>
                <a:gd name="T25" fmla="*/ 22 h 1818"/>
                <a:gd name="T26" fmla="*/ 234 w 884"/>
                <a:gd name="T27" fmla="*/ 24 h 1818"/>
                <a:gd name="T28" fmla="*/ 171 w 884"/>
                <a:gd name="T29" fmla="*/ 8 h 1818"/>
                <a:gd name="T30" fmla="*/ 98 w 884"/>
                <a:gd name="T31" fmla="*/ 54 h 1818"/>
                <a:gd name="T32" fmla="*/ 67 w 884"/>
                <a:gd name="T33" fmla="*/ 116 h 1818"/>
                <a:gd name="T34" fmla="*/ 27 w 884"/>
                <a:gd name="T35" fmla="*/ 179 h 1818"/>
                <a:gd name="T36" fmla="*/ 55 w 884"/>
                <a:gd name="T37" fmla="*/ 251 h 1818"/>
                <a:gd name="T38" fmla="*/ 51 w 884"/>
                <a:gd name="T39" fmla="*/ 319 h 1818"/>
                <a:gd name="T40" fmla="*/ 0 w 884"/>
                <a:gd name="T41" fmla="*/ 432 h 1818"/>
                <a:gd name="T42" fmla="*/ 12 w 884"/>
                <a:gd name="T43" fmla="*/ 609 h 1818"/>
                <a:gd name="T44" fmla="*/ 76 w 884"/>
                <a:gd name="T45" fmla="*/ 696 h 1818"/>
                <a:gd name="T46" fmla="*/ 60 w 884"/>
                <a:gd name="T47" fmla="*/ 753 h 1818"/>
                <a:gd name="T48" fmla="*/ 60 w 884"/>
                <a:gd name="T49" fmla="*/ 808 h 1818"/>
                <a:gd name="T50" fmla="*/ 81 w 884"/>
                <a:gd name="T51" fmla="*/ 850 h 1818"/>
                <a:gd name="T52" fmla="*/ 53 w 884"/>
                <a:gd name="T53" fmla="*/ 900 h 1818"/>
                <a:gd name="T54" fmla="*/ 82 w 884"/>
                <a:gd name="T55" fmla="*/ 983 h 1818"/>
                <a:gd name="T56" fmla="*/ 81 w 884"/>
                <a:gd name="T57" fmla="*/ 1055 h 1818"/>
                <a:gd name="T58" fmla="*/ 78 w 884"/>
                <a:gd name="T59" fmla="*/ 1152 h 1818"/>
                <a:gd name="T60" fmla="*/ 137 w 884"/>
                <a:gd name="T61" fmla="*/ 1265 h 1818"/>
                <a:gd name="T62" fmla="*/ 198 w 884"/>
                <a:gd name="T63" fmla="*/ 1394 h 1818"/>
                <a:gd name="T64" fmla="*/ 217 w 884"/>
                <a:gd name="T65" fmla="*/ 1463 h 1818"/>
                <a:gd name="T66" fmla="*/ 230 w 884"/>
                <a:gd name="T67" fmla="*/ 1526 h 1818"/>
                <a:gd name="T68" fmla="*/ 213 w 884"/>
                <a:gd name="T69" fmla="*/ 1590 h 1818"/>
                <a:gd name="T70" fmla="*/ 201 w 884"/>
                <a:gd name="T71" fmla="*/ 1644 h 1818"/>
                <a:gd name="T72" fmla="*/ 228 w 884"/>
                <a:gd name="T73" fmla="*/ 1718 h 1818"/>
                <a:gd name="T74" fmla="*/ 311 w 884"/>
                <a:gd name="T75" fmla="*/ 1772 h 1818"/>
                <a:gd name="T76" fmla="*/ 392 w 884"/>
                <a:gd name="T77" fmla="*/ 1798 h 1818"/>
                <a:gd name="T78" fmla="*/ 451 w 884"/>
                <a:gd name="T79" fmla="*/ 1786 h 1818"/>
                <a:gd name="T80" fmla="*/ 454 w 884"/>
                <a:gd name="T81" fmla="*/ 1703 h 1818"/>
                <a:gd name="T82" fmla="*/ 470 w 884"/>
                <a:gd name="T83" fmla="*/ 1612 h 1818"/>
                <a:gd name="T84" fmla="*/ 495 w 884"/>
                <a:gd name="T85" fmla="*/ 1509 h 1818"/>
                <a:gd name="T86" fmla="*/ 420 w 884"/>
                <a:gd name="T87" fmla="*/ 1486 h 1818"/>
                <a:gd name="T88" fmla="*/ 401 w 884"/>
                <a:gd name="T89" fmla="*/ 1430 h 1818"/>
                <a:gd name="T90" fmla="*/ 453 w 884"/>
                <a:gd name="T91" fmla="*/ 1395 h 1818"/>
                <a:gd name="T92" fmla="*/ 484 w 884"/>
                <a:gd name="T93" fmla="*/ 1332 h 1818"/>
                <a:gd name="T94" fmla="*/ 455 w 884"/>
                <a:gd name="T95" fmla="*/ 1224 h 1818"/>
                <a:gd name="T96" fmla="*/ 425 w 884"/>
                <a:gd name="T97" fmla="*/ 1141 h 1818"/>
                <a:gd name="T98" fmla="*/ 518 w 884"/>
                <a:gd name="T99" fmla="*/ 1166 h 1818"/>
                <a:gd name="T100" fmla="*/ 568 w 884"/>
                <a:gd name="T101" fmla="*/ 1151 h 1818"/>
                <a:gd name="T102" fmla="*/ 558 w 884"/>
                <a:gd name="T103" fmla="*/ 1078 h 1818"/>
                <a:gd name="T104" fmla="*/ 565 w 884"/>
                <a:gd name="T105" fmla="*/ 1030 h 1818"/>
                <a:gd name="T106" fmla="*/ 676 w 884"/>
                <a:gd name="T107" fmla="*/ 1023 h 1818"/>
                <a:gd name="T108" fmla="*/ 795 w 884"/>
                <a:gd name="T109" fmla="*/ 973 h 1818"/>
                <a:gd name="T110" fmla="*/ 816 w 884"/>
                <a:gd name="T111" fmla="*/ 882 h 1818"/>
                <a:gd name="T112" fmla="*/ 781 w 884"/>
                <a:gd name="T113" fmla="*/ 852 h 1818"/>
                <a:gd name="T114" fmla="*/ 758 w 884"/>
                <a:gd name="T115" fmla="*/ 810 h 1818"/>
                <a:gd name="T116" fmla="*/ 692 w 884"/>
                <a:gd name="T117" fmla="*/ 752 h 1818"/>
                <a:gd name="T118" fmla="*/ 701 w 884"/>
                <a:gd name="T119" fmla="*/ 532 h 18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84" h="1818">
                  <a:moveTo>
                    <a:pt x="725" y="493"/>
                  </a:moveTo>
                  <a:lnTo>
                    <a:pt x="726" y="484"/>
                  </a:lnTo>
                  <a:lnTo>
                    <a:pt x="729" y="474"/>
                  </a:lnTo>
                  <a:lnTo>
                    <a:pt x="735" y="462"/>
                  </a:lnTo>
                  <a:lnTo>
                    <a:pt x="742" y="450"/>
                  </a:lnTo>
                  <a:lnTo>
                    <a:pt x="750" y="438"/>
                  </a:lnTo>
                  <a:lnTo>
                    <a:pt x="761" y="427"/>
                  </a:lnTo>
                  <a:lnTo>
                    <a:pt x="772" y="415"/>
                  </a:lnTo>
                  <a:lnTo>
                    <a:pt x="784" y="402"/>
                  </a:lnTo>
                  <a:lnTo>
                    <a:pt x="798" y="391"/>
                  </a:lnTo>
                  <a:lnTo>
                    <a:pt x="811" y="381"/>
                  </a:lnTo>
                  <a:lnTo>
                    <a:pt x="824" y="371"/>
                  </a:lnTo>
                  <a:lnTo>
                    <a:pt x="837" y="362"/>
                  </a:lnTo>
                  <a:lnTo>
                    <a:pt x="849" y="353"/>
                  </a:lnTo>
                  <a:lnTo>
                    <a:pt x="862" y="347"/>
                  </a:lnTo>
                  <a:lnTo>
                    <a:pt x="873" y="342"/>
                  </a:lnTo>
                  <a:lnTo>
                    <a:pt x="884" y="339"/>
                  </a:lnTo>
                  <a:lnTo>
                    <a:pt x="884" y="329"/>
                  </a:lnTo>
                  <a:lnTo>
                    <a:pt x="884" y="310"/>
                  </a:lnTo>
                  <a:lnTo>
                    <a:pt x="884" y="289"/>
                  </a:lnTo>
                  <a:lnTo>
                    <a:pt x="884" y="272"/>
                  </a:lnTo>
                  <a:lnTo>
                    <a:pt x="884" y="259"/>
                  </a:lnTo>
                  <a:lnTo>
                    <a:pt x="884" y="247"/>
                  </a:lnTo>
                  <a:lnTo>
                    <a:pt x="884" y="232"/>
                  </a:lnTo>
                  <a:lnTo>
                    <a:pt x="884" y="216"/>
                  </a:lnTo>
                  <a:lnTo>
                    <a:pt x="874" y="216"/>
                  </a:lnTo>
                  <a:lnTo>
                    <a:pt x="867" y="214"/>
                  </a:lnTo>
                  <a:lnTo>
                    <a:pt x="859" y="211"/>
                  </a:lnTo>
                  <a:lnTo>
                    <a:pt x="854" y="208"/>
                  </a:lnTo>
                  <a:lnTo>
                    <a:pt x="848" y="203"/>
                  </a:lnTo>
                  <a:lnTo>
                    <a:pt x="844" y="198"/>
                  </a:lnTo>
                  <a:lnTo>
                    <a:pt x="840" y="192"/>
                  </a:lnTo>
                  <a:lnTo>
                    <a:pt x="837" y="185"/>
                  </a:lnTo>
                  <a:lnTo>
                    <a:pt x="837" y="222"/>
                  </a:lnTo>
                  <a:lnTo>
                    <a:pt x="840" y="227"/>
                  </a:lnTo>
                  <a:lnTo>
                    <a:pt x="843" y="231"/>
                  </a:lnTo>
                  <a:lnTo>
                    <a:pt x="844" y="236"/>
                  </a:lnTo>
                  <a:lnTo>
                    <a:pt x="845" y="241"/>
                  </a:lnTo>
                  <a:lnTo>
                    <a:pt x="844" y="252"/>
                  </a:lnTo>
                  <a:lnTo>
                    <a:pt x="841" y="262"/>
                  </a:lnTo>
                  <a:lnTo>
                    <a:pt x="837" y="271"/>
                  </a:lnTo>
                  <a:lnTo>
                    <a:pt x="832" y="281"/>
                  </a:lnTo>
                  <a:lnTo>
                    <a:pt x="824" y="290"/>
                  </a:lnTo>
                  <a:lnTo>
                    <a:pt x="815" y="299"/>
                  </a:lnTo>
                  <a:lnTo>
                    <a:pt x="805" y="308"/>
                  </a:lnTo>
                  <a:lnTo>
                    <a:pt x="795" y="316"/>
                  </a:lnTo>
                  <a:lnTo>
                    <a:pt x="785" y="322"/>
                  </a:lnTo>
                  <a:lnTo>
                    <a:pt x="774" y="328"/>
                  </a:lnTo>
                  <a:lnTo>
                    <a:pt x="765" y="333"/>
                  </a:lnTo>
                  <a:lnTo>
                    <a:pt x="755" y="336"/>
                  </a:lnTo>
                  <a:lnTo>
                    <a:pt x="746" y="338"/>
                  </a:lnTo>
                  <a:lnTo>
                    <a:pt x="738" y="339"/>
                  </a:lnTo>
                  <a:lnTo>
                    <a:pt x="722" y="339"/>
                  </a:lnTo>
                  <a:lnTo>
                    <a:pt x="703" y="338"/>
                  </a:lnTo>
                  <a:lnTo>
                    <a:pt x="684" y="335"/>
                  </a:lnTo>
                  <a:lnTo>
                    <a:pt x="667" y="331"/>
                  </a:lnTo>
                  <a:lnTo>
                    <a:pt x="658" y="328"/>
                  </a:lnTo>
                  <a:lnTo>
                    <a:pt x="650" y="325"/>
                  </a:lnTo>
                  <a:lnTo>
                    <a:pt x="643" y="321"/>
                  </a:lnTo>
                  <a:lnTo>
                    <a:pt x="637" y="316"/>
                  </a:lnTo>
                  <a:lnTo>
                    <a:pt x="632" y="311"/>
                  </a:lnTo>
                  <a:lnTo>
                    <a:pt x="628" y="305"/>
                  </a:lnTo>
                  <a:lnTo>
                    <a:pt x="625" y="297"/>
                  </a:lnTo>
                  <a:lnTo>
                    <a:pt x="625" y="290"/>
                  </a:lnTo>
                  <a:lnTo>
                    <a:pt x="625" y="283"/>
                  </a:lnTo>
                  <a:lnTo>
                    <a:pt x="626" y="277"/>
                  </a:lnTo>
                  <a:lnTo>
                    <a:pt x="628" y="270"/>
                  </a:lnTo>
                  <a:lnTo>
                    <a:pt x="631" y="264"/>
                  </a:lnTo>
                  <a:lnTo>
                    <a:pt x="636" y="252"/>
                  </a:lnTo>
                  <a:lnTo>
                    <a:pt x="643" y="240"/>
                  </a:lnTo>
                  <a:lnTo>
                    <a:pt x="650" y="228"/>
                  </a:lnTo>
                  <a:lnTo>
                    <a:pt x="658" y="215"/>
                  </a:lnTo>
                  <a:lnTo>
                    <a:pt x="666" y="201"/>
                  </a:lnTo>
                  <a:lnTo>
                    <a:pt x="671" y="185"/>
                  </a:lnTo>
                  <a:lnTo>
                    <a:pt x="654" y="178"/>
                  </a:lnTo>
                  <a:lnTo>
                    <a:pt x="637" y="172"/>
                  </a:lnTo>
                  <a:lnTo>
                    <a:pt x="621" y="166"/>
                  </a:lnTo>
                  <a:lnTo>
                    <a:pt x="605" y="162"/>
                  </a:lnTo>
                  <a:lnTo>
                    <a:pt x="574" y="155"/>
                  </a:lnTo>
                  <a:lnTo>
                    <a:pt x="544" y="148"/>
                  </a:lnTo>
                  <a:lnTo>
                    <a:pt x="529" y="144"/>
                  </a:lnTo>
                  <a:lnTo>
                    <a:pt x="514" y="139"/>
                  </a:lnTo>
                  <a:lnTo>
                    <a:pt x="499" y="133"/>
                  </a:lnTo>
                  <a:lnTo>
                    <a:pt x="485" y="127"/>
                  </a:lnTo>
                  <a:lnTo>
                    <a:pt x="470" y="119"/>
                  </a:lnTo>
                  <a:lnTo>
                    <a:pt x="455" y="110"/>
                  </a:lnTo>
                  <a:lnTo>
                    <a:pt x="441" y="100"/>
                  </a:lnTo>
                  <a:lnTo>
                    <a:pt x="425" y="87"/>
                  </a:lnTo>
                  <a:lnTo>
                    <a:pt x="417" y="76"/>
                  </a:lnTo>
                  <a:lnTo>
                    <a:pt x="410" y="66"/>
                  </a:lnTo>
                  <a:lnTo>
                    <a:pt x="403" y="55"/>
                  </a:lnTo>
                  <a:lnTo>
                    <a:pt x="398" y="44"/>
                  </a:lnTo>
                  <a:lnTo>
                    <a:pt x="390" y="32"/>
                  </a:lnTo>
                  <a:lnTo>
                    <a:pt x="383" y="20"/>
                  </a:lnTo>
                  <a:lnTo>
                    <a:pt x="378" y="15"/>
                  </a:lnTo>
                  <a:lnTo>
                    <a:pt x="373" y="10"/>
                  </a:lnTo>
                  <a:lnTo>
                    <a:pt x="366" y="5"/>
                  </a:lnTo>
                  <a:lnTo>
                    <a:pt x="359" y="0"/>
                  </a:lnTo>
                  <a:lnTo>
                    <a:pt x="332" y="6"/>
                  </a:lnTo>
                  <a:lnTo>
                    <a:pt x="308" y="11"/>
                  </a:lnTo>
                  <a:lnTo>
                    <a:pt x="302" y="13"/>
                  </a:lnTo>
                  <a:lnTo>
                    <a:pt x="297" y="15"/>
                  </a:lnTo>
                  <a:lnTo>
                    <a:pt x="291" y="19"/>
                  </a:lnTo>
                  <a:lnTo>
                    <a:pt x="286" y="22"/>
                  </a:lnTo>
                  <a:lnTo>
                    <a:pt x="281" y="28"/>
                  </a:lnTo>
                  <a:lnTo>
                    <a:pt x="276" y="34"/>
                  </a:lnTo>
                  <a:lnTo>
                    <a:pt x="272" y="41"/>
                  </a:lnTo>
                  <a:lnTo>
                    <a:pt x="266" y="50"/>
                  </a:lnTo>
                  <a:lnTo>
                    <a:pt x="257" y="44"/>
                  </a:lnTo>
                  <a:lnTo>
                    <a:pt x="249" y="38"/>
                  </a:lnTo>
                  <a:lnTo>
                    <a:pt x="242" y="31"/>
                  </a:lnTo>
                  <a:lnTo>
                    <a:pt x="234" y="24"/>
                  </a:lnTo>
                  <a:lnTo>
                    <a:pt x="225" y="17"/>
                  </a:lnTo>
                  <a:lnTo>
                    <a:pt x="215" y="11"/>
                  </a:lnTo>
                  <a:lnTo>
                    <a:pt x="209" y="9"/>
                  </a:lnTo>
                  <a:lnTo>
                    <a:pt x="202" y="8"/>
                  </a:lnTo>
                  <a:lnTo>
                    <a:pt x="195" y="7"/>
                  </a:lnTo>
                  <a:lnTo>
                    <a:pt x="186" y="6"/>
                  </a:lnTo>
                  <a:lnTo>
                    <a:pt x="178" y="7"/>
                  </a:lnTo>
                  <a:lnTo>
                    <a:pt x="171" y="8"/>
                  </a:lnTo>
                  <a:lnTo>
                    <a:pt x="163" y="11"/>
                  </a:lnTo>
                  <a:lnTo>
                    <a:pt x="156" y="14"/>
                  </a:lnTo>
                  <a:lnTo>
                    <a:pt x="143" y="22"/>
                  </a:lnTo>
                  <a:lnTo>
                    <a:pt x="132" y="32"/>
                  </a:lnTo>
                  <a:lnTo>
                    <a:pt x="120" y="41"/>
                  </a:lnTo>
                  <a:lnTo>
                    <a:pt x="110" y="48"/>
                  </a:lnTo>
                  <a:lnTo>
                    <a:pt x="105" y="51"/>
                  </a:lnTo>
                  <a:lnTo>
                    <a:pt x="98" y="54"/>
                  </a:lnTo>
                  <a:lnTo>
                    <a:pt x="93" y="55"/>
                  </a:lnTo>
                  <a:lnTo>
                    <a:pt x="87" y="56"/>
                  </a:lnTo>
                  <a:lnTo>
                    <a:pt x="86" y="69"/>
                  </a:lnTo>
                  <a:lnTo>
                    <a:pt x="84" y="81"/>
                  </a:lnTo>
                  <a:lnTo>
                    <a:pt x="82" y="91"/>
                  </a:lnTo>
                  <a:lnTo>
                    <a:pt x="77" y="100"/>
                  </a:lnTo>
                  <a:lnTo>
                    <a:pt x="73" y="109"/>
                  </a:lnTo>
                  <a:lnTo>
                    <a:pt x="67" y="116"/>
                  </a:lnTo>
                  <a:lnTo>
                    <a:pt x="62" y="123"/>
                  </a:lnTo>
                  <a:lnTo>
                    <a:pt x="56" y="129"/>
                  </a:lnTo>
                  <a:lnTo>
                    <a:pt x="45" y="141"/>
                  </a:lnTo>
                  <a:lnTo>
                    <a:pt x="37" y="152"/>
                  </a:lnTo>
                  <a:lnTo>
                    <a:pt x="32" y="158"/>
                  </a:lnTo>
                  <a:lnTo>
                    <a:pt x="30" y="164"/>
                  </a:lnTo>
                  <a:lnTo>
                    <a:pt x="28" y="171"/>
                  </a:lnTo>
                  <a:lnTo>
                    <a:pt x="27" y="179"/>
                  </a:lnTo>
                  <a:lnTo>
                    <a:pt x="28" y="186"/>
                  </a:lnTo>
                  <a:lnTo>
                    <a:pt x="28" y="194"/>
                  </a:lnTo>
                  <a:lnTo>
                    <a:pt x="30" y="201"/>
                  </a:lnTo>
                  <a:lnTo>
                    <a:pt x="32" y="207"/>
                  </a:lnTo>
                  <a:lnTo>
                    <a:pt x="38" y="218"/>
                  </a:lnTo>
                  <a:lnTo>
                    <a:pt x="43" y="228"/>
                  </a:lnTo>
                  <a:lnTo>
                    <a:pt x="50" y="239"/>
                  </a:lnTo>
                  <a:lnTo>
                    <a:pt x="55" y="251"/>
                  </a:lnTo>
                  <a:lnTo>
                    <a:pt x="57" y="257"/>
                  </a:lnTo>
                  <a:lnTo>
                    <a:pt x="59" y="263"/>
                  </a:lnTo>
                  <a:lnTo>
                    <a:pt x="60" y="270"/>
                  </a:lnTo>
                  <a:lnTo>
                    <a:pt x="60" y="278"/>
                  </a:lnTo>
                  <a:lnTo>
                    <a:pt x="60" y="289"/>
                  </a:lnTo>
                  <a:lnTo>
                    <a:pt x="57" y="299"/>
                  </a:lnTo>
                  <a:lnTo>
                    <a:pt x="54" y="310"/>
                  </a:lnTo>
                  <a:lnTo>
                    <a:pt x="51" y="319"/>
                  </a:lnTo>
                  <a:lnTo>
                    <a:pt x="41" y="337"/>
                  </a:lnTo>
                  <a:lnTo>
                    <a:pt x="30" y="354"/>
                  </a:lnTo>
                  <a:lnTo>
                    <a:pt x="19" y="372"/>
                  </a:lnTo>
                  <a:lnTo>
                    <a:pt x="9" y="390"/>
                  </a:lnTo>
                  <a:lnTo>
                    <a:pt x="6" y="400"/>
                  </a:lnTo>
                  <a:lnTo>
                    <a:pt x="3" y="410"/>
                  </a:lnTo>
                  <a:lnTo>
                    <a:pt x="2" y="421"/>
                  </a:lnTo>
                  <a:lnTo>
                    <a:pt x="0" y="432"/>
                  </a:lnTo>
                  <a:lnTo>
                    <a:pt x="0" y="471"/>
                  </a:lnTo>
                  <a:lnTo>
                    <a:pt x="0" y="501"/>
                  </a:lnTo>
                  <a:lnTo>
                    <a:pt x="0" y="529"/>
                  </a:lnTo>
                  <a:lnTo>
                    <a:pt x="0" y="561"/>
                  </a:lnTo>
                  <a:lnTo>
                    <a:pt x="2" y="574"/>
                  </a:lnTo>
                  <a:lnTo>
                    <a:pt x="4" y="587"/>
                  </a:lnTo>
                  <a:lnTo>
                    <a:pt x="8" y="598"/>
                  </a:lnTo>
                  <a:lnTo>
                    <a:pt x="12" y="609"/>
                  </a:lnTo>
                  <a:lnTo>
                    <a:pt x="19" y="618"/>
                  </a:lnTo>
                  <a:lnTo>
                    <a:pt x="26" y="627"/>
                  </a:lnTo>
                  <a:lnTo>
                    <a:pt x="33" y="637"/>
                  </a:lnTo>
                  <a:lnTo>
                    <a:pt x="40" y="645"/>
                  </a:lnTo>
                  <a:lnTo>
                    <a:pt x="55" y="662"/>
                  </a:lnTo>
                  <a:lnTo>
                    <a:pt x="67" y="678"/>
                  </a:lnTo>
                  <a:lnTo>
                    <a:pt x="73" y="686"/>
                  </a:lnTo>
                  <a:lnTo>
                    <a:pt x="76" y="696"/>
                  </a:lnTo>
                  <a:lnTo>
                    <a:pt x="79" y="705"/>
                  </a:lnTo>
                  <a:lnTo>
                    <a:pt x="81" y="715"/>
                  </a:lnTo>
                  <a:lnTo>
                    <a:pt x="79" y="722"/>
                  </a:lnTo>
                  <a:lnTo>
                    <a:pt x="78" y="728"/>
                  </a:lnTo>
                  <a:lnTo>
                    <a:pt x="75" y="733"/>
                  </a:lnTo>
                  <a:lnTo>
                    <a:pt x="73" y="738"/>
                  </a:lnTo>
                  <a:lnTo>
                    <a:pt x="66" y="747"/>
                  </a:lnTo>
                  <a:lnTo>
                    <a:pt x="60" y="753"/>
                  </a:lnTo>
                  <a:lnTo>
                    <a:pt x="71" y="753"/>
                  </a:lnTo>
                  <a:lnTo>
                    <a:pt x="81" y="753"/>
                  </a:lnTo>
                  <a:lnTo>
                    <a:pt x="79" y="760"/>
                  </a:lnTo>
                  <a:lnTo>
                    <a:pt x="77" y="768"/>
                  </a:lnTo>
                  <a:lnTo>
                    <a:pt x="74" y="776"/>
                  </a:lnTo>
                  <a:lnTo>
                    <a:pt x="71" y="784"/>
                  </a:lnTo>
                  <a:lnTo>
                    <a:pt x="63" y="799"/>
                  </a:lnTo>
                  <a:lnTo>
                    <a:pt x="60" y="808"/>
                  </a:lnTo>
                  <a:lnTo>
                    <a:pt x="61" y="813"/>
                  </a:lnTo>
                  <a:lnTo>
                    <a:pt x="63" y="817"/>
                  </a:lnTo>
                  <a:lnTo>
                    <a:pt x="66" y="822"/>
                  </a:lnTo>
                  <a:lnTo>
                    <a:pt x="71" y="827"/>
                  </a:lnTo>
                  <a:lnTo>
                    <a:pt x="74" y="832"/>
                  </a:lnTo>
                  <a:lnTo>
                    <a:pt x="77" y="838"/>
                  </a:lnTo>
                  <a:lnTo>
                    <a:pt x="79" y="844"/>
                  </a:lnTo>
                  <a:lnTo>
                    <a:pt x="81" y="850"/>
                  </a:lnTo>
                  <a:lnTo>
                    <a:pt x="79" y="858"/>
                  </a:lnTo>
                  <a:lnTo>
                    <a:pt x="76" y="864"/>
                  </a:lnTo>
                  <a:lnTo>
                    <a:pt x="72" y="870"/>
                  </a:lnTo>
                  <a:lnTo>
                    <a:pt x="67" y="876"/>
                  </a:lnTo>
                  <a:lnTo>
                    <a:pt x="62" y="881"/>
                  </a:lnTo>
                  <a:lnTo>
                    <a:pt x="57" y="887"/>
                  </a:lnTo>
                  <a:lnTo>
                    <a:pt x="54" y="893"/>
                  </a:lnTo>
                  <a:lnTo>
                    <a:pt x="53" y="900"/>
                  </a:lnTo>
                  <a:lnTo>
                    <a:pt x="54" y="909"/>
                  </a:lnTo>
                  <a:lnTo>
                    <a:pt x="55" y="918"/>
                  </a:lnTo>
                  <a:lnTo>
                    <a:pt x="56" y="925"/>
                  </a:lnTo>
                  <a:lnTo>
                    <a:pt x="59" y="932"/>
                  </a:lnTo>
                  <a:lnTo>
                    <a:pt x="64" y="945"/>
                  </a:lnTo>
                  <a:lnTo>
                    <a:pt x="71" y="958"/>
                  </a:lnTo>
                  <a:lnTo>
                    <a:pt x="76" y="970"/>
                  </a:lnTo>
                  <a:lnTo>
                    <a:pt x="82" y="983"/>
                  </a:lnTo>
                  <a:lnTo>
                    <a:pt x="84" y="989"/>
                  </a:lnTo>
                  <a:lnTo>
                    <a:pt x="85" y="996"/>
                  </a:lnTo>
                  <a:lnTo>
                    <a:pt x="86" y="1003"/>
                  </a:lnTo>
                  <a:lnTo>
                    <a:pt x="87" y="1011"/>
                  </a:lnTo>
                  <a:lnTo>
                    <a:pt x="86" y="1022"/>
                  </a:lnTo>
                  <a:lnTo>
                    <a:pt x="85" y="1034"/>
                  </a:lnTo>
                  <a:lnTo>
                    <a:pt x="83" y="1044"/>
                  </a:lnTo>
                  <a:lnTo>
                    <a:pt x="81" y="1055"/>
                  </a:lnTo>
                  <a:lnTo>
                    <a:pt x="77" y="1066"/>
                  </a:lnTo>
                  <a:lnTo>
                    <a:pt x="75" y="1077"/>
                  </a:lnTo>
                  <a:lnTo>
                    <a:pt x="74" y="1090"/>
                  </a:lnTo>
                  <a:lnTo>
                    <a:pt x="74" y="1103"/>
                  </a:lnTo>
                  <a:lnTo>
                    <a:pt x="74" y="1116"/>
                  </a:lnTo>
                  <a:lnTo>
                    <a:pt x="75" y="1128"/>
                  </a:lnTo>
                  <a:lnTo>
                    <a:pt x="76" y="1141"/>
                  </a:lnTo>
                  <a:lnTo>
                    <a:pt x="78" y="1152"/>
                  </a:lnTo>
                  <a:lnTo>
                    <a:pt x="82" y="1163"/>
                  </a:lnTo>
                  <a:lnTo>
                    <a:pt x="85" y="1174"/>
                  </a:lnTo>
                  <a:lnTo>
                    <a:pt x="89" y="1184"/>
                  </a:lnTo>
                  <a:lnTo>
                    <a:pt x="94" y="1195"/>
                  </a:lnTo>
                  <a:lnTo>
                    <a:pt x="103" y="1213"/>
                  </a:lnTo>
                  <a:lnTo>
                    <a:pt x="113" y="1231"/>
                  </a:lnTo>
                  <a:lnTo>
                    <a:pt x="124" y="1249"/>
                  </a:lnTo>
                  <a:lnTo>
                    <a:pt x="137" y="1265"/>
                  </a:lnTo>
                  <a:lnTo>
                    <a:pt x="149" y="1282"/>
                  </a:lnTo>
                  <a:lnTo>
                    <a:pt x="160" y="1298"/>
                  </a:lnTo>
                  <a:lnTo>
                    <a:pt x="171" y="1316"/>
                  </a:lnTo>
                  <a:lnTo>
                    <a:pt x="180" y="1334"/>
                  </a:lnTo>
                  <a:lnTo>
                    <a:pt x="188" y="1352"/>
                  </a:lnTo>
                  <a:lnTo>
                    <a:pt x="195" y="1373"/>
                  </a:lnTo>
                  <a:lnTo>
                    <a:pt x="197" y="1383"/>
                  </a:lnTo>
                  <a:lnTo>
                    <a:pt x="198" y="1394"/>
                  </a:lnTo>
                  <a:lnTo>
                    <a:pt x="199" y="1405"/>
                  </a:lnTo>
                  <a:lnTo>
                    <a:pt x="200" y="1418"/>
                  </a:lnTo>
                  <a:lnTo>
                    <a:pt x="200" y="1425"/>
                  </a:lnTo>
                  <a:lnTo>
                    <a:pt x="201" y="1431"/>
                  </a:lnTo>
                  <a:lnTo>
                    <a:pt x="202" y="1437"/>
                  </a:lnTo>
                  <a:lnTo>
                    <a:pt x="205" y="1442"/>
                  </a:lnTo>
                  <a:lnTo>
                    <a:pt x="210" y="1453"/>
                  </a:lnTo>
                  <a:lnTo>
                    <a:pt x="217" y="1463"/>
                  </a:lnTo>
                  <a:lnTo>
                    <a:pt x="222" y="1475"/>
                  </a:lnTo>
                  <a:lnTo>
                    <a:pt x="228" y="1485"/>
                  </a:lnTo>
                  <a:lnTo>
                    <a:pt x="230" y="1491"/>
                  </a:lnTo>
                  <a:lnTo>
                    <a:pt x="231" y="1497"/>
                  </a:lnTo>
                  <a:lnTo>
                    <a:pt x="232" y="1503"/>
                  </a:lnTo>
                  <a:lnTo>
                    <a:pt x="233" y="1510"/>
                  </a:lnTo>
                  <a:lnTo>
                    <a:pt x="232" y="1518"/>
                  </a:lnTo>
                  <a:lnTo>
                    <a:pt x="230" y="1526"/>
                  </a:lnTo>
                  <a:lnTo>
                    <a:pt x="227" y="1532"/>
                  </a:lnTo>
                  <a:lnTo>
                    <a:pt x="223" y="1537"/>
                  </a:lnTo>
                  <a:lnTo>
                    <a:pt x="219" y="1542"/>
                  </a:lnTo>
                  <a:lnTo>
                    <a:pt x="216" y="1547"/>
                  </a:lnTo>
                  <a:lnTo>
                    <a:pt x="213" y="1553"/>
                  </a:lnTo>
                  <a:lnTo>
                    <a:pt x="213" y="1559"/>
                  </a:lnTo>
                  <a:lnTo>
                    <a:pt x="213" y="1578"/>
                  </a:lnTo>
                  <a:lnTo>
                    <a:pt x="213" y="1590"/>
                  </a:lnTo>
                  <a:lnTo>
                    <a:pt x="213" y="1598"/>
                  </a:lnTo>
                  <a:lnTo>
                    <a:pt x="213" y="1603"/>
                  </a:lnTo>
                  <a:lnTo>
                    <a:pt x="212" y="1609"/>
                  </a:lnTo>
                  <a:lnTo>
                    <a:pt x="211" y="1615"/>
                  </a:lnTo>
                  <a:lnTo>
                    <a:pt x="209" y="1622"/>
                  </a:lnTo>
                  <a:lnTo>
                    <a:pt x="207" y="1628"/>
                  </a:lnTo>
                  <a:lnTo>
                    <a:pt x="204" y="1635"/>
                  </a:lnTo>
                  <a:lnTo>
                    <a:pt x="201" y="1644"/>
                  </a:lnTo>
                  <a:lnTo>
                    <a:pt x="200" y="1654"/>
                  </a:lnTo>
                  <a:lnTo>
                    <a:pt x="200" y="1664"/>
                  </a:lnTo>
                  <a:lnTo>
                    <a:pt x="200" y="1672"/>
                  </a:lnTo>
                  <a:lnTo>
                    <a:pt x="204" y="1681"/>
                  </a:lnTo>
                  <a:lnTo>
                    <a:pt x="207" y="1690"/>
                  </a:lnTo>
                  <a:lnTo>
                    <a:pt x="213" y="1700"/>
                  </a:lnTo>
                  <a:lnTo>
                    <a:pt x="220" y="1709"/>
                  </a:lnTo>
                  <a:lnTo>
                    <a:pt x="228" y="1718"/>
                  </a:lnTo>
                  <a:lnTo>
                    <a:pt x="236" y="1727"/>
                  </a:lnTo>
                  <a:lnTo>
                    <a:pt x="246" y="1735"/>
                  </a:lnTo>
                  <a:lnTo>
                    <a:pt x="256" y="1743"/>
                  </a:lnTo>
                  <a:lnTo>
                    <a:pt x="267" y="1752"/>
                  </a:lnTo>
                  <a:lnTo>
                    <a:pt x="278" y="1758"/>
                  </a:lnTo>
                  <a:lnTo>
                    <a:pt x="289" y="1764"/>
                  </a:lnTo>
                  <a:lnTo>
                    <a:pt x="300" y="1769"/>
                  </a:lnTo>
                  <a:lnTo>
                    <a:pt x="311" y="1772"/>
                  </a:lnTo>
                  <a:lnTo>
                    <a:pt x="322" y="1774"/>
                  </a:lnTo>
                  <a:lnTo>
                    <a:pt x="333" y="1775"/>
                  </a:lnTo>
                  <a:lnTo>
                    <a:pt x="342" y="1776"/>
                  </a:lnTo>
                  <a:lnTo>
                    <a:pt x="351" y="1779"/>
                  </a:lnTo>
                  <a:lnTo>
                    <a:pt x="358" y="1781"/>
                  </a:lnTo>
                  <a:lnTo>
                    <a:pt x="366" y="1784"/>
                  </a:lnTo>
                  <a:lnTo>
                    <a:pt x="380" y="1791"/>
                  </a:lnTo>
                  <a:lnTo>
                    <a:pt x="392" y="1798"/>
                  </a:lnTo>
                  <a:lnTo>
                    <a:pt x="404" y="1807"/>
                  </a:lnTo>
                  <a:lnTo>
                    <a:pt x="419" y="1813"/>
                  </a:lnTo>
                  <a:lnTo>
                    <a:pt x="426" y="1815"/>
                  </a:lnTo>
                  <a:lnTo>
                    <a:pt x="434" y="1817"/>
                  </a:lnTo>
                  <a:lnTo>
                    <a:pt x="443" y="1818"/>
                  </a:lnTo>
                  <a:lnTo>
                    <a:pt x="452" y="1818"/>
                  </a:lnTo>
                  <a:lnTo>
                    <a:pt x="452" y="1803"/>
                  </a:lnTo>
                  <a:lnTo>
                    <a:pt x="451" y="1786"/>
                  </a:lnTo>
                  <a:lnTo>
                    <a:pt x="448" y="1772"/>
                  </a:lnTo>
                  <a:lnTo>
                    <a:pt x="445" y="1758"/>
                  </a:lnTo>
                  <a:lnTo>
                    <a:pt x="441" y="1736"/>
                  </a:lnTo>
                  <a:lnTo>
                    <a:pt x="439" y="1726"/>
                  </a:lnTo>
                  <a:lnTo>
                    <a:pt x="440" y="1721"/>
                  </a:lnTo>
                  <a:lnTo>
                    <a:pt x="443" y="1715"/>
                  </a:lnTo>
                  <a:lnTo>
                    <a:pt x="448" y="1709"/>
                  </a:lnTo>
                  <a:lnTo>
                    <a:pt x="454" y="1703"/>
                  </a:lnTo>
                  <a:lnTo>
                    <a:pt x="460" y="1698"/>
                  </a:lnTo>
                  <a:lnTo>
                    <a:pt x="467" y="1693"/>
                  </a:lnTo>
                  <a:lnTo>
                    <a:pt x="474" y="1689"/>
                  </a:lnTo>
                  <a:lnTo>
                    <a:pt x="479" y="1688"/>
                  </a:lnTo>
                  <a:lnTo>
                    <a:pt x="466" y="1633"/>
                  </a:lnTo>
                  <a:lnTo>
                    <a:pt x="459" y="1633"/>
                  </a:lnTo>
                  <a:lnTo>
                    <a:pt x="459" y="1615"/>
                  </a:lnTo>
                  <a:lnTo>
                    <a:pt x="470" y="1612"/>
                  </a:lnTo>
                  <a:lnTo>
                    <a:pt x="479" y="1610"/>
                  </a:lnTo>
                  <a:lnTo>
                    <a:pt x="487" y="1608"/>
                  </a:lnTo>
                  <a:lnTo>
                    <a:pt x="493" y="1605"/>
                  </a:lnTo>
                  <a:lnTo>
                    <a:pt x="505" y="1599"/>
                  </a:lnTo>
                  <a:lnTo>
                    <a:pt x="519" y="1590"/>
                  </a:lnTo>
                  <a:lnTo>
                    <a:pt x="519" y="1510"/>
                  </a:lnTo>
                  <a:lnTo>
                    <a:pt x="507" y="1510"/>
                  </a:lnTo>
                  <a:lnTo>
                    <a:pt x="495" y="1509"/>
                  </a:lnTo>
                  <a:lnTo>
                    <a:pt x="482" y="1508"/>
                  </a:lnTo>
                  <a:lnTo>
                    <a:pt x="471" y="1506"/>
                  </a:lnTo>
                  <a:lnTo>
                    <a:pt x="462" y="1504"/>
                  </a:lnTo>
                  <a:lnTo>
                    <a:pt x="452" y="1502"/>
                  </a:lnTo>
                  <a:lnTo>
                    <a:pt x="443" y="1498"/>
                  </a:lnTo>
                  <a:lnTo>
                    <a:pt x="434" y="1495"/>
                  </a:lnTo>
                  <a:lnTo>
                    <a:pt x="426" y="1490"/>
                  </a:lnTo>
                  <a:lnTo>
                    <a:pt x="420" y="1486"/>
                  </a:lnTo>
                  <a:lnTo>
                    <a:pt x="413" y="1480"/>
                  </a:lnTo>
                  <a:lnTo>
                    <a:pt x="409" y="1474"/>
                  </a:lnTo>
                  <a:lnTo>
                    <a:pt x="404" y="1466"/>
                  </a:lnTo>
                  <a:lnTo>
                    <a:pt x="401" y="1459"/>
                  </a:lnTo>
                  <a:lnTo>
                    <a:pt x="400" y="1451"/>
                  </a:lnTo>
                  <a:lnTo>
                    <a:pt x="399" y="1442"/>
                  </a:lnTo>
                  <a:lnTo>
                    <a:pt x="400" y="1436"/>
                  </a:lnTo>
                  <a:lnTo>
                    <a:pt x="401" y="1430"/>
                  </a:lnTo>
                  <a:lnTo>
                    <a:pt x="404" y="1424"/>
                  </a:lnTo>
                  <a:lnTo>
                    <a:pt x="408" y="1419"/>
                  </a:lnTo>
                  <a:lnTo>
                    <a:pt x="412" y="1415"/>
                  </a:lnTo>
                  <a:lnTo>
                    <a:pt x="417" y="1410"/>
                  </a:lnTo>
                  <a:lnTo>
                    <a:pt x="422" y="1407"/>
                  </a:lnTo>
                  <a:lnTo>
                    <a:pt x="429" y="1403"/>
                  </a:lnTo>
                  <a:lnTo>
                    <a:pt x="441" y="1399"/>
                  </a:lnTo>
                  <a:lnTo>
                    <a:pt x="453" y="1395"/>
                  </a:lnTo>
                  <a:lnTo>
                    <a:pt x="464" y="1393"/>
                  </a:lnTo>
                  <a:lnTo>
                    <a:pt x="473" y="1393"/>
                  </a:lnTo>
                  <a:lnTo>
                    <a:pt x="473" y="1384"/>
                  </a:lnTo>
                  <a:lnTo>
                    <a:pt x="474" y="1374"/>
                  </a:lnTo>
                  <a:lnTo>
                    <a:pt x="476" y="1364"/>
                  </a:lnTo>
                  <a:lnTo>
                    <a:pt x="479" y="1353"/>
                  </a:lnTo>
                  <a:lnTo>
                    <a:pt x="481" y="1342"/>
                  </a:lnTo>
                  <a:lnTo>
                    <a:pt x="484" y="1332"/>
                  </a:lnTo>
                  <a:lnTo>
                    <a:pt x="485" y="1323"/>
                  </a:lnTo>
                  <a:lnTo>
                    <a:pt x="486" y="1313"/>
                  </a:lnTo>
                  <a:lnTo>
                    <a:pt x="485" y="1301"/>
                  </a:lnTo>
                  <a:lnTo>
                    <a:pt x="482" y="1290"/>
                  </a:lnTo>
                  <a:lnTo>
                    <a:pt x="480" y="1278"/>
                  </a:lnTo>
                  <a:lnTo>
                    <a:pt x="476" y="1267"/>
                  </a:lnTo>
                  <a:lnTo>
                    <a:pt x="466" y="1245"/>
                  </a:lnTo>
                  <a:lnTo>
                    <a:pt x="455" y="1224"/>
                  </a:lnTo>
                  <a:lnTo>
                    <a:pt x="444" y="1205"/>
                  </a:lnTo>
                  <a:lnTo>
                    <a:pt x="435" y="1187"/>
                  </a:lnTo>
                  <a:lnTo>
                    <a:pt x="431" y="1179"/>
                  </a:lnTo>
                  <a:lnTo>
                    <a:pt x="429" y="1172"/>
                  </a:lnTo>
                  <a:lnTo>
                    <a:pt x="426" y="1165"/>
                  </a:lnTo>
                  <a:lnTo>
                    <a:pt x="425" y="1159"/>
                  </a:lnTo>
                  <a:lnTo>
                    <a:pt x="425" y="1148"/>
                  </a:lnTo>
                  <a:lnTo>
                    <a:pt x="425" y="1141"/>
                  </a:lnTo>
                  <a:lnTo>
                    <a:pt x="433" y="1141"/>
                  </a:lnTo>
                  <a:lnTo>
                    <a:pt x="441" y="1142"/>
                  </a:lnTo>
                  <a:lnTo>
                    <a:pt x="448" y="1144"/>
                  </a:lnTo>
                  <a:lnTo>
                    <a:pt x="456" y="1145"/>
                  </a:lnTo>
                  <a:lnTo>
                    <a:pt x="473" y="1150"/>
                  </a:lnTo>
                  <a:lnTo>
                    <a:pt x="488" y="1156"/>
                  </a:lnTo>
                  <a:lnTo>
                    <a:pt x="503" y="1161"/>
                  </a:lnTo>
                  <a:lnTo>
                    <a:pt x="518" y="1166"/>
                  </a:lnTo>
                  <a:lnTo>
                    <a:pt x="532" y="1170"/>
                  </a:lnTo>
                  <a:lnTo>
                    <a:pt x="545" y="1171"/>
                  </a:lnTo>
                  <a:lnTo>
                    <a:pt x="549" y="1171"/>
                  </a:lnTo>
                  <a:lnTo>
                    <a:pt x="554" y="1169"/>
                  </a:lnTo>
                  <a:lnTo>
                    <a:pt x="557" y="1168"/>
                  </a:lnTo>
                  <a:lnTo>
                    <a:pt x="560" y="1165"/>
                  </a:lnTo>
                  <a:lnTo>
                    <a:pt x="565" y="1159"/>
                  </a:lnTo>
                  <a:lnTo>
                    <a:pt x="568" y="1151"/>
                  </a:lnTo>
                  <a:lnTo>
                    <a:pt x="570" y="1142"/>
                  </a:lnTo>
                  <a:lnTo>
                    <a:pt x="571" y="1132"/>
                  </a:lnTo>
                  <a:lnTo>
                    <a:pt x="571" y="1123"/>
                  </a:lnTo>
                  <a:lnTo>
                    <a:pt x="571" y="1116"/>
                  </a:lnTo>
                  <a:lnTo>
                    <a:pt x="569" y="1112"/>
                  </a:lnTo>
                  <a:lnTo>
                    <a:pt x="565" y="1102"/>
                  </a:lnTo>
                  <a:lnTo>
                    <a:pt x="560" y="1090"/>
                  </a:lnTo>
                  <a:lnTo>
                    <a:pt x="558" y="1078"/>
                  </a:lnTo>
                  <a:lnTo>
                    <a:pt x="552" y="1066"/>
                  </a:lnTo>
                  <a:lnTo>
                    <a:pt x="545" y="1054"/>
                  </a:lnTo>
                  <a:lnTo>
                    <a:pt x="546" y="1049"/>
                  </a:lnTo>
                  <a:lnTo>
                    <a:pt x="548" y="1044"/>
                  </a:lnTo>
                  <a:lnTo>
                    <a:pt x="551" y="1040"/>
                  </a:lnTo>
                  <a:lnTo>
                    <a:pt x="555" y="1036"/>
                  </a:lnTo>
                  <a:lnTo>
                    <a:pt x="559" y="1032"/>
                  </a:lnTo>
                  <a:lnTo>
                    <a:pt x="565" y="1030"/>
                  </a:lnTo>
                  <a:lnTo>
                    <a:pt x="571" y="1027"/>
                  </a:lnTo>
                  <a:lnTo>
                    <a:pt x="578" y="1025"/>
                  </a:lnTo>
                  <a:lnTo>
                    <a:pt x="591" y="1022"/>
                  </a:lnTo>
                  <a:lnTo>
                    <a:pt x="604" y="1021"/>
                  </a:lnTo>
                  <a:lnTo>
                    <a:pt x="615" y="1021"/>
                  </a:lnTo>
                  <a:lnTo>
                    <a:pt x="625" y="1023"/>
                  </a:lnTo>
                  <a:lnTo>
                    <a:pt x="652" y="1023"/>
                  </a:lnTo>
                  <a:lnTo>
                    <a:pt x="676" y="1023"/>
                  </a:lnTo>
                  <a:lnTo>
                    <a:pt x="697" y="1021"/>
                  </a:lnTo>
                  <a:lnTo>
                    <a:pt x="716" y="1017"/>
                  </a:lnTo>
                  <a:lnTo>
                    <a:pt x="734" y="1013"/>
                  </a:lnTo>
                  <a:lnTo>
                    <a:pt x="750" y="1007"/>
                  </a:lnTo>
                  <a:lnTo>
                    <a:pt x="764" y="1001"/>
                  </a:lnTo>
                  <a:lnTo>
                    <a:pt x="776" y="993"/>
                  </a:lnTo>
                  <a:lnTo>
                    <a:pt x="787" y="984"/>
                  </a:lnTo>
                  <a:lnTo>
                    <a:pt x="795" y="973"/>
                  </a:lnTo>
                  <a:lnTo>
                    <a:pt x="802" y="961"/>
                  </a:lnTo>
                  <a:lnTo>
                    <a:pt x="809" y="949"/>
                  </a:lnTo>
                  <a:lnTo>
                    <a:pt x="812" y="935"/>
                  </a:lnTo>
                  <a:lnTo>
                    <a:pt x="815" y="921"/>
                  </a:lnTo>
                  <a:lnTo>
                    <a:pt x="817" y="904"/>
                  </a:lnTo>
                  <a:lnTo>
                    <a:pt x="817" y="888"/>
                  </a:lnTo>
                  <a:lnTo>
                    <a:pt x="817" y="884"/>
                  </a:lnTo>
                  <a:lnTo>
                    <a:pt x="816" y="882"/>
                  </a:lnTo>
                  <a:lnTo>
                    <a:pt x="815" y="879"/>
                  </a:lnTo>
                  <a:lnTo>
                    <a:pt x="813" y="877"/>
                  </a:lnTo>
                  <a:lnTo>
                    <a:pt x="809" y="874"/>
                  </a:lnTo>
                  <a:lnTo>
                    <a:pt x="803" y="871"/>
                  </a:lnTo>
                  <a:lnTo>
                    <a:pt x="792" y="867"/>
                  </a:lnTo>
                  <a:lnTo>
                    <a:pt x="784" y="863"/>
                  </a:lnTo>
                  <a:lnTo>
                    <a:pt x="782" y="859"/>
                  </a:lnTo>
                  <a:lnTo>
                    <a:pt x="781" y="852"/>
                  </a:lnTo>
                  <a:lnTo>
                    <a:pt x="780" y="847"/>
                  </a:lnTo>
                  <a:lnTo>
                    <a:pt x="779" y="841"/>
                  </a:lnTo>
                  <a:lnTo>
                    <a:pt x="780" y="836"/>
                  </a:lnTo>
                  <a:lnTo>
                    <a:pt x="781" y="830"/>
                  </a:lnTo>
                  <a:lnTo>
                    <a:pt x="782" y="825"/>
                  </a:lnTo>
                  <a:lnTo>
                    <a:pt x="784" y="820"/>
                  </a:lnTo>
                  <a:lnTo>
                    <a:pt x="772" y="816"/>
                  </a:lnTo>
                  <a:lnTo>
                    <a:pt x="758" y="810"/>
                  </a:lnTo>
                  <a:lnTo>
                    <a:pt x="742" y="800"/>
                  </a:lnTo>
                  <a:lnTo>
                    <a:pt x="725" y="789"/>
                  </a:lnTo>
                  <a:lnTo>
                    <a:pt x="717" y="783"/>
                  </a:lnTo>
                  <a:lnTo>
                    <a:pt x="711" y="777"/>
                  </a:lnTo>
                  <a:lnTo>
                    <a:pt x="704" y="771"/>
                  </a:lnTo>
                  <a:lnTo>
                    <a:pt x="700" y="765"/>
                  </a:lnTo>
                  <a:lnTo>
                    <a:pt x="695" y="758"/>
                  </a:lnTo>
                  <a:lnTo>
                    <a:pt x="692" y="752"/>
                  </a:lnTo>
                  <a:lnTo>
                    <a:pt x="691" y="745"/>
                  </a:lnTo>
                  <a:lnTo>
                    <a:pt x="691" y="739"/>
                  </a:lnTo>
                  <a:lnTo>
                    <a:pt x="698" y="616"/>
                  </a:lnTo>
                  <a:lnTo>
                    <a:pt x="697" y="585"/>
                  </a:lnTo>
                  <a:lnTo>
                    <a:pt x="697" y="553"/>
                  </a:lnTo>
                  <a:lnTo>
                    <a:pt x="698" y="546"/>
                  </a:lnTo>
                  <a:lnTo>
                    <a:pt x="699" y="539"/>
                  </a:lnTo>
                  <a:lnTo>
                    <a:pt x="701" y="532"/>
                  </a:lnTo>
                  <a:lnTo>
                    <a:pt x="703" y="525"/>
                  </a:lnTo>
                  <a:lnTo>
                    <a:pt x="708" y="518"/>
                  </a:lnTo>
                  <a:lnTo>
                    <a:pt x="712" y="511"/>
                  </a:lnTo>
                  <a:lnTo>
                    <a:pt x="717" y="505"/>
                  </a:lnTo>
                  <a:lnTo>
                    <a:pt x="725" y="499"/>
                  </a:lnTo>
                  <a:lnTo>
                    <a:pt x="725" y="4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2490" name="Freeform 442"/>
          <p:cNvSpPr>
            <a:spLocks/>
          </p:cNvSpPr>
          <p:nvPr>
            <p:custDataLst>
              <p:tags r:id="rId280"/>
            </p:custDataLst>
          </p:nvPr>
        </p:nvSpPr>
        <p:spPr bwMode="auto">
          <a:xfrm>
            <a:off x="6564314" y="2324100"/>
            <a:ext cx="123825" cy="109538"/>
          </a:xfrm>
          <a:custGeom>
            <a:avLst/>
            <a:gdLst>
              <a:gd name="T0" fmla="*/ 33 w 279"/>
              <a:gd name="T1" fmla="*/ 87 h 204"/>
              <a:gd name="T2" fmla="*/ 59 w 279"/>
              <a:gd name="T3" fmla="*/ 142 h 204"/>
              <a:gd name="T4" fmla="*/ 59 w 279"/>
              <a:gd name="T5" fmla="*/ 179 h 204"/>
              <a:gd name="T6" fmla="*/ 102 w 279"/>
              <a:gd name="T7" fmla="*/ 196 h 204"/>
              <a:gd name="T8" fmla="*/ 122 w 279"/>
              <a:gd name="T9" fmla="*/ 202 h 204"/>
              <a:gd name="T10" fmla="*/ 139 w 279"/>
              <a:gd name="T11" fmla="*/ 204 h 204"/>
              <a:gd name="T12" fmla="*/ 146 w 279"/>
              <a:gd name="T13" fmla="*/ 201 h 204"/>
              <a:gd name="T14" fmla="*/ 151 w 279"/>
              <a:gd name="T15" fmla="*/ 194 h 204"/>
              <a:gd name="T16" fmla="*/ 160 w 279"/>
              <a:gd name="T17" fmla="*/ 172 h 204"/>
              <a:gd name="T18" fmla="*/ 172 w 279"/>
              <a:gd name="T19" fmla="*/ 149 h 204"/>
              <a:gd name="T20" fmla="*/ 181 w 279"/>
              <a:gd name="T21" fmla="*/ 141 h 204"/>
              <a:gd name="T22" fmla="*/ 192 w 279"/>
              <a:gd name="T23" fmla="*/ 136 h 204"/>
              <a:gd name="T24" fmla="*/ 209 w 279"/>
              <a:gd name="T25" fmla="*/ 138 h 204"/>
              <a:gd name="T26" fmla="*/ 220 w 279"/>
              <a:gd name="T27" fmla="*/ 142 h 204"/>
              <a:gd name="T28" fmla="*/ 228 w 279"/>
              <a:gd name="T29" fmla="*/ 148 h 204"/>
              <a:gd name="T30" fmla="*/ 231 w 279"/>
              <a:gd name="T31" fmla="*/ 154 h 204"/>
              <a:gd name="T32" fmla="*/ 234 w 279"/>
              <a:gd name="T33" fmla="*/ 164 h 204"/>
              <a:gd name="T34" fmla="*/ 231 w 279"/>
              <a:gd name="T35" fmla="*/ 167 h 204"/>
              <a:gd name="T36" fmla="*/ 234 w 279"/>
              <a:gd name="T37" fmla="*/ 153 h 204"/>
              <a:gd name="T38" fmla="*/ 238 w 279"/>
              <a:gd name="T39" fmla="*/ 140 h 204"/>
              <a:gd name="T40" fmla="*/ 245 w 279"/>
              <a:gd name="T41" fmla="*/ 117 h 204"/>
              <a:gd name="T42" fmla="*/ 254 w 279"/>
              <a:gd name="T43" fmla="*/ 115 h 204"/>
              <a:gd name="T44" fmla="*/ 264 w 279"/>
              <a:gd name="T45" fmla="*/ 110 h 204"/>
              <a:gd name="T46" fmla="*/ 279 w 279"/>
              <a:gd name="T47" fmla="*/ 99 h 204"/>
              <a:gd name="T48" fmla="*/ 252 w 279"/>
              <a:gd name="T49" fmla="*/ 75 h 204"/>
              <a:gd name="T50" fmla="*/ 227 w 279"/>
              <a:gd name="T51" fmla="*/ 58 h 204"/>
              <a:gd name="T52" fmla="*/ 204 w 279"/>
              <a:gd name="T53" fmla="*/ 44 h 204"/>
              <a:gd name="T54" fmla="*/ 185 w 279"/>
              <a:gd name="T55" fmla="*/ 31 h 204"/>
              <a:gd name="T56" fmla="*/ 146 w 279"/>
              <a:gd name="T57" fmla="*/ 68 h 204"/>
              <a:gd name="T58" fmla="*/ 79 w 279"/>
              <a:gd name="T59" fmla="*/ 25 h 204"/>
              <a:gd name="T60" fmla="*/ 52 w 279"/>
              <a:gd name="T61" fmla="*/ 12 h 204"/>
              <a:gd name="T62" fmla="*/ 46 w 279"/>
              <a:gd name="T63" fmla="*/ 62 h 204"/>
              <a:gd name="T64" fmla="*/ 0 w 279"/>
              <a:gd name="T65" fmla="*/ 56 h 2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79" h="204">
                <a:moveTo>
                  <a:pt x="0" y="56"/>
                </a:moveTo>
                <a:lnTo>
                  <a:pt x="33" y="87"/>
                </a:lnTo>
                <a:lnTo>
                  <a:pt x="46" y="123"/>
                </a:lnTo>
                <a:lnTo>
                  <a:pt x="59" y="142"/>
                </a:lnTo>
                <a:lnTo>
                  <a:pt x="59" y="173"/>
                </a:lnTo>
                <a:lnTo>
                  <a:pt x="59" y="179"/>
                </a:lnTo>
                <a:lnTo>
                  <a:pt x="80" y="188"/>
                </a:lnTo>
                <a:lnTo>
                  <a:pt x="102" y="196"/>
                </a:lnTo>
                <a:lnTo>
                  <a:pt x="112" y="199"/>
                </a:lnTo>
                <a:lnTo>
                  <a:pt x="122" y="202"/>
                </a:lnTo>
                <a:lnTo>
                  <a:pt x="130" y="203"/>
                </a:lnTo>
                <a:lnTo>
                  <a:pt x="139" y="204"/>
                </a:lnTo>
                <a:lnTo>
                  <a:pt x="142" y="203"/>
                </a:lnTo>
                <a:lnTo>
                  <a:pt x="146" y="201"/>
                </a:lnTo>
                <a:lnTo>
                  <a:pt x="148" y="198"/>
                </a:lnTo>
                <a:lnTo>
                  <a:pt x="151" y="194"/>
                </a:lnTo>
                <a:lnTo>
                  <a:pt x="156" y="183"/>
                </a:lnTo>
                <a:lnTo>
                  <a:pt x="160" y="172"/>
                </a:lnTo>
                <a:lnTo>
                  <a:pt x="165" y="160"/>
                </a:lnTo>
                <a:lnTo>
                  <a:pt x="172" y="149"/>
                </a:lnTo>
                <a:lnTo>
                  <a:pt x="176" y="145"/>
                </a:lnTo>
                <a:lnTo>
                  <a:pt x="181" y="141"/>
                </a:lnTo>
                <a:lnTo>
                  <a:pt x="186" y="138"/>
                </a:lnTo>
                <a:lnTo>
                  <a:pt x="192" y="136"/>
                </a:lnTo>
                <a:lnTo>
                  <a:pt x="201" y="137"/>
                </a:lnTo>
                <a:lnTo>
                  <a:pt x="209" y="138"/>
                </a:lnTo>
                <a:lnTo>
                  <a:pt x="215" y="140"/>
                </a:lnTo>
                <a:lnTo>
                  <a:pt x="220" y="142"/>
                </a:lnTo>
                <a:lnTo>
                  <a:pt x="225" y="145"/>
                </a:lnTo>
                <a:lnTo>
                  <a:pt x="228" y="148"/>
                </a:lnTo>
                <a:lnTo>
                  <a:pt x="230" y="151"/>
                </a:lnTo>
                <a:lnTo>
                  <a:pt x="231" y="154"/>
                </a:lnTo>
                <a:lnTo>
                  <a:pt x="234" y="160"/>
                </a:lnTo>
                <a:lnTo>
                  <a:pt x="234" y="164"/>
                </a:lnTo>
                <a:lnTo>
                  <a:pt x="232" y="167"/>
                </a:lnTo>
                <a:lnTo>
                  <a:pt x="231" y="167"/>
                </a:lnTo>
                <a:lnTo>
                  <a:pt x="232" y="160"/>
                </a:lnTo>
                <a:lnTo>
                  <a:pt x="234" y="153"/>
                </a:lnTo>
                <a:lnTo>
                  <a:pt x="236" y="147"/>
                </a:lnTo>
                <a:lnTo>
                  <a:pt x="238" y="140"/>
                </a:lnTo>
                <a:lnTo>
                  <a:pt x="243" y="127"/>
                </a:lnTo>
                <a:lnTo>
                  <a:pt x="245" y="117"/>
                </a:lnTo>
                <a:lnTo>
                  <a:pt x="250" y="117"/>
                </a:lnTo>
                <a:lnTo>
                  <a:pt x="254" y="115"/>
                </a:lnTo>
                <a:lnTo>
                  <a:pt x="260" y="113"/>
                </a:lnTo>
                <a:lnTo>
                  <a:pt x="264" y="110"/>
                </a:lnTo>
                <a:lnTo>
                  <a:pt x="272" y="104"/>
                </a:lnTo>
                <a:lnTo>
                  <a:pt x="279" y="99"/>
                </a:lnTo>
                <a:lnTo>
                  <a:pt x="265" y="87"/>
                </a:lnTo>
                <a:lnTo>
                  <a:pt x="252" y="75"/>
                </a:lnTo>
                <a:lnTo>
                  <a:pt x="239" y="66"/>
                </a:lnTo>
                <a:lnTo>
                  <a:pt x="227" y="58"/>
                </a:lnTo>
                <a:lnTo>
                  <a:pt x="215" y="51"/>
                </a:lnTo>
                <a:lnTo>
                  <a:pt x="204" y="44"/>
                </a:lnTo>
                <a:lnTo>
                  <a:pt x="194" y="38"/>
                </a:lnTo>
                <a:lnTo>
                  <a:pt x="185" y="31"/>
                </a:lnTo>
                <a:lnTo>
                  <a:pt x="172" y="31"/>
                </a:lnTo>
                <a:lnTo>
                  <a:pt x="146" y="68"/>
                </a:lnTo>
                <a:lnTo>
                  <a:pt x="112" y="50"/>
                </a:lnTo>
                <a:lnTo>
                  <a:pt x="79" y="25"/>
                </a:lnTo>
                <a:lnTo>
                  <a:pt x="33" y="0"/>
                </a:lnTo>
                <a:lnTo>
                  <a:pt x="52" y="12"/>
                </a:lnTo>
                <a:lnTo>
                  <a:pt x="72" y="74"/>
                </a:lnTo>
                <a:lnTo>
                  <a:pt x="46" y="62"/>
                </a:lnTo>
                <a:lnTo>
                  <a:pt x="19" y="50"/>
                </a:lnTo>
                <a:lnTo>
                  <a:pt x="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491" name="Freeform 443"/>
          <p:cNvSpPr>
            <a:spLocks/>
          </p:cNvSpPr>
          <p:nvPr>
            <p:custDataLst>
              <p:tags r:id="rId281"/>
            </p:custDataLst>
          </p:nvPr>
        </p:nvSpPr>
        <p:spPr bwMode="auto">
          <a:xfrm>
            <a:off x="6030913" y="1897063"/>
            <a:ext cx="209550" cy="150812"/>
          </a:xfrm>
          <a:custGeom>
            <a:avLst/>
            <a:gdLst>
              <a:gd name="T0" fmla="*/ 252 w 485"/>
              <a:gd name="T1" fmla="*/ 20 h 291"/>
              <a:gd name="T2" fmla="*/ 300 w 485"/>
              <a:gd name="T3" fmla="*/ 44 h 291"/>
              <a:gd name="T4" fmla="*/ 372 w 485"/>
              <a:gd name="T5" fmla="*/ 44 h 291"/>
              <a:gd name="T6" fmla="*/ 425 w 485"/>
              <a:gd name="T7" fmla="*/ 131 h 291"/>
              <a:gd name="T8" fmla="*/ 485 w 485"/>
              <a:gd name="T9" fmla="*/ 167 h 291"/>
              <a:gd name="T10" fmla="*/ 412 w 485"/>
              <a:gd name="T11" fmla="*/ 173 h 291"/>
              <a:gd name="T12" fmla="*/ 433 w 485"/>
              <a:gd name="T13" fmla="*/ 210 h 291"/>
              <a:gd name="T14" fmla="*/ 392 w 485"/>
              <a:gd name="T15" fmla="*/ 241 h 291"/>
              <a:gd name="T16" fmla="*/ 385 w 485"/>
              <a:gd name="T17" fmla="*/ 291 h 291"/>
              <a:gd name="T18" fmla="*/ 285 w 485"/>
              <a:gd name="T19" fmla="*/ 266 h 291"/>
              <a:gd name="T20" fmla="*/ 173 w 485"/>
              <a:gd name="T21" fmla="*/ 254 h 291"/>
              <a:gd name="T22" fmla="*/ 60 w 485"/>
              <a:gd name="T23" fmla="*/ 266 h 291"/>
              <a:gd name="T24" fmla="*/ 15 w 485"/>
              <a:gd name="T25" fmla="*/ 271 h 291"/>
              <a:gd name="T26" fmla="*/ 8 w 485"/>
              <a:gd name="T27" fmla="*/ 257 h 291"/>
              <a:gd name="T28" fmla="*/ 3 w 485"/>
              <a:gd name="T29" fmla="*/ 244 h 291"/>
              <a:gd name="T30" fmla="*/ 0 w 485"/>
              <a:gd name="T31" fmla="*/ 229 h 291"/>
              <a:gd name="T32" fmla="*/ 5 w 485"/>
              <a:gd name="T33" fmla="*/ 219 h 291"/>
              <a:gd name="T34" fmla="*/ 14 w 485"/>
              <a:gd name="T35" fmla="*/ 207 h 291"/>
              <a:gd name="T36" fmla="*/ 23 w 485"/>
              <a:gd name="T37" fmla="*/ 189 h 291"/>
              <a:gd name="T38" fmla="*/ 31 w 485"/>
              <a:gd name="T39" fmla="*/ 166 h 291"/>
              <a:gd name="T40" fmla="*/ 41 w 485"/>
              <a:gd name="T41" fmla="*/ 137 h 291"/>
              <a:gd name="T42" fmla="*/ 48 w 485"/>
              <a:gd name="T43" fmla="*/ 126 h 291"/>
              <a:gd name="T44" fmla="*/ 60 w 485"/>
              <a:gd name="T45" fmla="*/ 119 h 291"/>
              <a:gd name="T46" fmla="*/ 87 w 485"/>
              <a:gd name="T47" fmla="*/ 111 h 291"/>
              <a:gd name="T48" fmla="*/ 89 w 485"/>
              <a:gd name="T49" fmla="*/ 106 h 291"/>
              <a:gd name="T50" fmla="*/ 94 w 485"/>
              <a:gd name="T51" fmla="*/ 100 h 291"/>
              <a:gd name="T52" fmla="*/ 101 w 485"/>
              <a:gd name="T53" fmla="*/ 95 h 291"/>
              <a:gd name="T54" fmla="*/ 106 w 485"/>
              <a:gd name="T55" fmla="*/ 93 h 291"/>
              <a:gd name="T56" fmla="*/ 106 w 485"/>
              <a:gd name="T57" fmla="*/ 76 h 291"/>
              <a:gd name="T58" fmla="*/ 109 w 485"/>
              <a:gd name="T59" fmla="*/ 70 h 291"/>
              <a:gd name="T60" fmla="*/ 113 w 485"/>
              <a:gd name="T61" fmla="*/ 67 h 291"/>
              <a:gd name="T62" fmla="*/ 122 w 485"/>
              <a:gd name="T63" fmla="*/ 69 h 291"/>
              <a:gd name="T64" fmla="*/ 128 w 485"/>
              <a:gd name="T65" fmla="*/ 69 h 291"/>
              <a:gd name="T66" fmla="*/ 132 w 485"/>
              <a:gd name="T67" fmla="*/ 66 h 291"/>
              <a:gd name="T68" fmla="*/ 134 w 485"/>
              <a:gd name="T69" fmla="*/ 56 h 291"/>
              <a:gd name="T70" fmla="*/ 139 w 485"/>
              <a:gd name="T71" fmla="*/ 44 h 291"/>
              <a:gd name="T72" fmla="*/ 144 w 485"/>
              <a:gd name="T73" fmla="*/ 39 h 291"/>
              <a:gd name="T74" fmla="*/ 213 w 485"/>
              <a:gd name="T75" fmla="*/ 0 h 2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485" h="291">
                <a:moveTo>
                  <a:pt x="206" y="6"/>
                </a:moveTo>
                <a:lnTo>
                  <a:pt x="252" y="20"/>
                </a:lnTo>
                <a:lnTo>
                  <a:pt x="292" y="20"/>
                </a:lnTo>
                <a:lnTo>
                  <a:pt x="300" y="44"/>
                </a:lnTo>
                <a:lnTo>
                  <a:pt x="339" y="32"/>
                </a:lnTo>
                <a:lnTo>
                  <a:pt x="372" y="44"/>
                </a:lnTo>
                <a:lnTo>
                  <a:pt x="379" y="93"/>
                </a:lnTo>
                <a:lnTo>
                  <a:pt x="425" y="131"/>
                </a:lnTo>
                <a:lnTo>
                  <a:pt x="459" y="149"/>
                </a:lnTo>
                <a:lnTo>
                  <a:pt x="485" y="167"/>
                </a:lnTo>
                <a:lnTo>
                  <a:pt x="459" y="186"/>
                </a:lnTo>
                <a:lnTo>
                  <a:pt x="412" y="173"/>
                </a:lnTo>
                <a:lnTo>
                  <a:pt x="418" y="198"/>
                </a:lnTo>
                <a:lnTo>
                  <a:pt x="433" y="210"/>
                </a:lnTo>
                <a:lnTo>
                  <a:pt x="433" y="241"/>
                </a:lnTo>
                <a:lnTo>
                  <a:pt x="392" y="241"/>
                </a:lnTo>
                <a:lnTo>
                  <a:pt x="385" y="266"/>
                </a:lnTo>
                <a:lnTo>
                  <a:pt x="385" y="291"/>
                </a:lnTo>
                <a:lnTo>
                  <a:pt x="339" y="278"/>
                </a:lnTo>
                <a:lnTo>
                  <a:pt x="285" y="266"/>
                </a:lnTo>
                <a:lnTo>
                  <a:pt x="239" y="272"/>
                </a:lnTo>
                <a:lnTo>
                  <a:pt x="173" y="254"/>
                </a:lnTo>
                <a:lnTo>
                  <a:pt x="113" y="254"/>
                </a:lnTo>
                <a:lnTo>
                  <a:pt x="60" y="266"/>
                </a:lnTo>
                <a:lnTo>
                  <a:pt x="20" y="278"/>
                </a:lnTo>
                <a:lnTo>
                  <a:pt x="15" y="271"/>
                </a:lnTo>
                <a:lnTo>
                  <a:pt x="11" y="264"/>
                </a:lnTo>
                <a:lnTo>
                  <a:pt x="8" y="257"/>
                </a:lnTo>
                <a:lnTo>
                  <a:pt x="5" y="251"/>
                </a:lnTo>
                <a:lnTo>
                  <a:pt x="3" y="244"/>
                </a:lnTo>
                <a:lnTo>
                  <a:pt x="1" y="237"/>
                </a:lnTo>
                <a:lnTo>
                  <a:pt x="0" y="229"/>
                </a:lnTo>
                <a:lnTo>
                  <a:pt x="0" y="222"/>
                </a:lnTo>
                <a:lnTo>
                  <a:pt x="5" y="219"/>
                </a:lnTo>
                <a:lnTo>
                  <a:pt x="10" y="214"/>
                </a:lnTo>
                <a:lnTo>
                  <a:pt x="14" y="207"/>
                </a:lnTo>
                <a:lnTo>
                  <a:pt x="20" y="198"/>
                </a:lnTo>
                <a:lnTo>
                  <a:pt x="23" y="189"/>
                </a:lnTo>
                <a:lnTo>
                  <a:pt x="27" y="178"/>
                </a:lnTo>
                <a:lnTo>
                  <a:pt x="31" y="166"/>
                </a:lnTo>
                <a:lnTo>
                  <a:pt x="33" y="155"/>
                </a:lnTo>
                <a:lnTo>
                  <a:pt x="41" y="137"/>
                </a:lnTo>
                <a:lnTo>
                  <a:pt x="44" y="131"/>
                </a:lnTo>
                <a:lnTo>
                  <a:pt x="48" y="126"/>
                </a:lnTo>
                <a:lnTo>
                  <a:pt x="54" y="123"/>
                </a:lnTo>
                <a:lnTo>
                  <a:pt x="60" y="119"/>
                </a:lnTo>
                <a:lnTo>
                  <a:pt x="75" y="115"/>
                </a:lnTo>
                <a:lnTo>
                  <a:pt x="87" y="111"/>
                </a:lnTo>
                <a:lnTo>
                  <a:pt x="87" y="109"/>
                </a:lnTo>
                <a:lnTo>
                  <a:pt x="89" y="106"/>
                </a:lnTo>
                <a:lnTo>
                  <a:pt x="91" y="103"/>
                </a:lnTo>
                <a:lnTo>
                  <a:pt x="94" y="100"/>
                </a:lnTo>
                <a:lnTo>
                  <a:pt x="98" y="97"/>
                </a:lnTo>
                <a:lnTo>
                  <a:pt x="101" y="95"/>
                </a:lnTo>
                <a:lnTo>
                  <a:pt x="103" y="94"/>
                </a:lnTo>
                <a:lnTo>
                  <a:pt x="106" y="93"/>
                </a:lnTo>
                <a:lnTo>
                  <a:pt x="106" y="81"/>
                </a:lnTo>
                <a:lnTo>
                  <a:pt x="106" y="76"/>
                </a:lnTo>
                <a:lnTo>
                  <a:pt x="107" y="72"/>
                </a:lnTo>
                <a:lnTo>
                  <a:pt x="109" y="70"/>
                </a:lnTo>
                <a:lnTo>
                  <a:pt x="110" y="68"/>
                </a:lnTo>
                <a:lnTo>
                  <a:pt x="113" y="67"/>
                </a:lnTo>
                <a:lnTo>
                  <a:pt x="117" y="68"/>
                </a:lnTo>
                <a:lnTo>
                  <a:pt x="122" y="69"/>
                </a:lnTo>
                <a:lnTo>
                  <a:pt x="126" y="69"/>
                </a:lnTo>
                <a:lnTo>
                  <a:pt x="128" y="69"/>
                </a:lnTo>
                <a:lnTo>
                  <a:pt x="129" y="68"/>
                </a:lnTo>
                <a:lnTo>
                  <a:pt x="132" y="66"/>
                </a:lnTo>
                <a:lnTo>
                  <a:pt x="133" y="62"/>
                </a:lnTo>
                <a:lnTo>
                  <a:pt x="134" y="56"/>
                </a:lnTo>
                <a:lnTo>
                  <a:pt x="137" y="48"/>
                </a:lnTo>
                <a:lnTo>
                  <a:pt x="139" y="44"/>
                </a:lnTo>
                <a:lnTo>
                  <a:pt x="142" y="41"/>
                </a:lnTo>
                <a:lnTo>
                  <a:pt x="144" y="39"/>
                </a:lnTo>
                <a:lnTo>
                  <a:pt x="146" y="38"/>
                </a:lnTo>
                <a:lnTo>
                  <a:pt x="213" y="0"/>
                </a:lnTo>
                <a:lnTo>
                  <a:pt x="206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492" name="Freeform 444"/>
          <p:cNvSpPr>
            <a:spLocks/>
          </p:cNvSpPr>
          <p:nvPr>
            <p:custDataLst>
              <p:tags r:id="rId282"/>
            </p:custDataLst>
          </p:nvPr>
        </p:nvSpPr>
        <p:spPr bwMode="auto">
          <a:xfrm>
            <a:off x="5888038" y="2228851"/>
            <a:ext cx="82550" cy="87313"/>
          </a:xfrm>
          <a:custGeom>
            <a:avLst/>
            <a:gdLst>
              <a:gd name="T0" fmla="*/ 86 w 186"/>
              <a:gd name="T1" fmla="*/ 147 h 166"/>
              <a:gd name="T2" fmla="*/ 83 w 186"/>
              <a:gd name="T3" fmla="*/ 136 h 166"/>
              <a:gd name="T4" fmla="*/ 78 w 186"/>
              <a:gd name="T5" fmla="*/ 127 h 166"/>
              <a:gd name="T6" fmla="*/ 74 w 186"/>
              <a:gd name="T7" fmla="*/ 118 h 166"/>
              <a:gd name="T8" fmla="*/ 70 w 186"/>
              <a:gd name="T9" fmla="*/ 110 h 166"/>
              <a:gd name="T10" fmla="*/ 60 w 186"/>
              <a:gd name="T11" fmla="*/ 95 h 166"/>
              <a:gd name="T12" fmla="*/ 49 w 186"/>
              <a:gd name="T13" fmla="*/ 82 h 166"/>
              <a:gd name="T14" fmla="*/ 37 w 186"/>
              <a:gd name="T15" fmla="*/ 70 h 166"/>
              <a:gd name="T16" fmla="*/ 25 w 186"/>
              <a:gd name="T17" fmla="*/ 56 h 166"/>
              <a:gd name="T18" fmla="*/ 13 w 186"/>
              <a:gd name="T19" fmla="*/ 38 h 166"/>
              <a:gd name="T20" fmla="*/ 0 w 186"/>
              <a:gd name="T21" fmla="*/ 18 h 166"/>
              <a:gd name="T22" fmla="*/ 0 w 186"/>
              <a:gd name="T23" fmla="*/ 0 h 166"/>
              <a:gd name="T24" fmla="*/ 7 w 186"/>
              <a:gd name="T25" fmla="*/ 2 h 166"/>
              <a:gd name="T26" fmla="*/ 14 w 186"/>
              <a:gd name="T27" fmla="*/ 3 h 166"/>
              <a:gd name="T28" fmla="*/ 20 w 186"/>
              <a:gd name="T29" fmla="*/ 4 h 166"/>
              <a:gd name="T30" fmla="*/ 27 w 186"/>
              <a:gd name="T31" fmla="*/ 4 h 166"/>
              <a:gd name="T32" fmla="*/ 33 w 186"/>
              <a:gd name="T33" fmla="*/ 4 h 166"/>
              <a:gd name="T34" fmla="*/ 40 w 186"/>
              <a:gd name="T35" fmla="*/ 3 h 166"/>
              <a:gd name="T36" fmla="*/ 47 w 186"/>
              <a:gd name="T37" fmla="*/ 2 h 166"/>
              <a:gd name="T38" fmla="*/ 53 w 186"/>
              <a:gd name="T39" fmla="*/ 0 h 166"/>
              <a:gd name="T40" fmla="*/ 140 w 186"/>
              <a:gd name="T41" fmla="*/ 12 h 166"/>
              <a:gd name="T42" fmla="*/ 186 w 186"/>
              <a:gd name="T43" fmla="*/ 91 h 166"/>
              <a:gd name="T44" fmla="*/ 171 w 186"/>
              <a:gd name="T45" fmla="*/ 112 h 166"/>
              <a:gd name="T46" fmla="*/ 155 w 186"/>
              <a:gd name="T47" fmla="*/ 129 h 166"/>
              <a:gd name="T48" fmla="*/ 149 w 186"/>
              <a:gd name="T49" fmla="*/ 137 h 166"/>
              <a:gd name="T50" fmla="*/ 144 w 186"/>
              <a:gd name="T51" fmla="*/ 145 h 166"/>
              <a:gd name="T52" fmla="*/ 142 w 186"/>
              <a:gd name="T53" fmla="*/ 150 h 166"/>
              <a:gd name="T54" fmla="*/ 141 w 186"/>
              <a:gd name="T55" fmla="*/ 156 h 166"/>
              <a:gd name="T56" fmla="*/ 140 w 186"/>
              <a:gd name="T57" fmla="*/ 161 h 166"/>
              <a:gd name="T58" fmla="*/ 140 w 186"/>
              <a:gd name="T59" fmla="*/ 166 h 166"/>
              <a:gd name="T60" fmla="*/ 86 w 186"/>
              <a:gd name="T61" fmla="*/ 147 h 1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86" h="166">
                <a:moveTo>
                  <a:pt x="86" y="147"/>
                </a:moveTo>
                <a:lnTo>
                  <a:pt x="83" y="136"/>
                </a:lnTo>
                <a:lnTo>
                  <a:pt x="78" y="127"/>
                </a:lnTo>
                <a:lnTo>
                  <a:pt x="74" y="118"/>
                </a:lnTo>
                <a:lnTo>
                  <a:pt x="70" y="110"/>
                </a:lnTo>
                <a:lnTo>
                  <a:pt x="60" y="95"/>
                </a:lnTo>
                <a:lnTo>
                  <a:pt x="49" y="82"/>
                </a:lnTo>
                <a:lnTo>
                  <a:pt x="37" y="70"/>
                </a:lnTo>
                <a:lnTo>
                  <a:pt x="25" y="56"/>
                </a:lnTo>
                <a:lnTo>
                  <a:pt x="13" y="38"/>
                </a:lnTo>
                <a:lnTo>
                  <a:pt x="0" y="18"/>
                </a:lnTo>
                <a:lnTo>
                  <a:pt x="0" y="0"/>
                </a:lnTo>
                <a:lnTo>
                  <a:pt x="7" y="2"/>
                </a:lnTo>
                <a:lnTo>
                  <a:pt x="14" y="3"/>
                </a:lnTo>
                <a:lnTo>
                  <a:pt x="20" y="4"/>
                </a:lnTo>
                <a:lnTo>
                  <a:pt x="27" y="4"/>
                </a:lnTo>
                <a:lnTo>
                  <a:pt x="33" y="4"/>
                </a:lnTo>
                <a:lnTo>
                  <a:pt x="40" y="3"/>
                </a:lnTo>
                <a:lnTo>
                  <a:pt x="47" y="2"/>
                </a:lnTo>
                <a:lnTo>
                  <a:pt x="53" y="0"/>
                </a:lnTo>
                <a:lnTo>
                  <a:pt x="140" y="12"/>
                </a:lnTo>
                <a:lnTo>
                  <a:pt x="186" y="91"/>
                </a:lnTo>
                <a:lnTo>
                  <a:pt x="171" y="112"/>
                </a:lnTo>
                <a:lnTo>
                  <a:pt x="155" y="129"/>
                </a:lnTo>
                <a:lnTo>
                  <a:pt x="149" y="137"/>
                </a:lnTo>
                <a:lnTo>
                  <a:pt x="144" y="145"/>
                </a:lnTo>
                <a:lnTo>
                  <a:pt x="142" y="150"/>
                </a:lnTo>
                <a:lnTo>
                  <a:pt x="141" y="156"/>
                </a:lnTo>
                <a:lnTo>
                  <a:pt x="140" y="161"/>
                </a:lnTo>
                <a:lnTo>
                  <a:pt x="140" y="166"/>
                </a:lnTo>
                <a:lnTo>
                  <a:pt x="86" y="14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493" name="Freeform 445"/>
          <p:cNvSpPr>
            <a:spLocks/>
          </p:cNvSpPr>
          <p:nvPr>
            <p:custDataLst>
              <p:tags r:id="rId283"/>
            </p:custDataLst>
          </p:nvPr>
        </p:nvSpPr>
        <p:spPr bwMode="auto">
          <a:xfrm>
            <a:off x="4252913" y="3665538"/>
            <a:ext cx="82550" cy="57150"/>
          </a:xfrm>
          <a:custGeom>
            <a:avLst/>
            <a:gdLst>
              <a:gd name="T0" fmla="*/ 153 w 186"/>
              <a:gd name="T1" fmla="*/ 21 h 104"/>
              <a:gd name="T2" fmla="*/ 146 w 186"/>
              <a:gd name="T3" fmla="*/ 21 h 104"/>
              <a:gd name="T4" fmla="*/ 141 w 186"/>
              <a:gd name="T5" fmla="*/ 20 h 104"/>
              <a:gd name="T6" fmla="*/ 136 w 186"/>
              <a:gd name="T7" fmla="*/ 18 h 104"/>
              <a:gd name="T8" fmla="*/ 133 w 186"/>
              <a:gd name="T9" fmla="*/ 15 h 104"/>
              <a:gd name="T10" fmla="*/ 130 w 186"/>
              <a:gd name="T11" fmla="*/ 13 h 104"/>
              <a:gd name="T12" fmla="*/ 125 w 186"/>
              <a:gd name="T13" fmla="*/ 11 h 104"/>
              <a:gd name="T14" fmla="*/ 120 w 186"/>
              <a:gd name="T15" fmla="*/ 10 h 104"/>
              <a:gd name="T16" fmla="*/ 113 w 186"/>
              <a:gd name="T17" fmla="*/ 9 h 104"/>
              <a:gd name="T18" fmla="*/ 100 w 186"/>
              <a:gd name="T19" fmla="*/ 8 h 104"/>
              <a:gd name="T20" fmla="*/ 88 w 186"/>
              <a:gd name="T21" fmla="*/ 6 h 104"/>
              <a:gd name="T22" fmla="*/ 75 w 186"/>
              <a:gd name="T23" fmla="*/ 3 h 104"/>
              <a:gd name="T24" fmla="*/ 64 w 186"/>
              <a:gd name="T25" fmla="*/ 1 h 104"/>
              <a:gd name="T26" fmla="*/ 60 w 186"/>
              <a:gd name="T27" fmla="*/ 0 h 104"/>
              <a:gd name="T28" fmla="*/ 54 w 186"/>
              <a:gd name="T29" fmla="*/ 0 h 104"/>
              <a:gd name="T30" fmla="*/ 51 w 186"/>
              <a:gd name="T31" fmla="*/ 1 h 104"/>
              <a:gd name="T32" fmla="*/ 46 w 186"/>
              <a:gd name="T33" fmla="*/ 2 h 104"/>
              <a:gd name="T34" fmla="*/ 44 w 186"/>
              <a:gd name="T35" fmla="*/ 4 h 104"/>
              <a:gd name="T36" fmla="*/ 42 w 186"/>
              <a:gd name="T37" fmla="*/ 6 h 104"/>
              <a:gd name="T38" fmla="*/ 41 w 186"/>
              <a:gd name="T39" fmla="*/ 10 h 104"/>
              <a:gd name="T40" fmla="*/ 40 w 186"/>
              <a:gd name="T41" fmla="*/ 15 h 104"/>
              <a:gd name="T42" fmla="*/ 34 w 186"/>
              <a:gd name="T43" fmla="*/ 27 h 104"/>
              <a:gd name="T44" fmla="*/ 20 w 186"/>
              <a:gd name="T45" fmla="*/ 47 h 104"/>
              <a:gd name="T46" fmla="*/ 7 w 186"/>
              <a:gd name="T47" fmla="*/ 66 h 104"/>
              <a:gd name="T48" fmla="*/ 0 w 186"/>
              <a:gd name="T49" fmla="*/ 77 h 104"/>
              <a:gd name="T50" fmla="*/ 8 w 186"/>
              <a:gd name="T51" fmla="*/ 77 h 104"/>
              <a:gd name="T52" fmla="*/ 16 w 186"/>
              <a:gd name="T53" fmla="*/ 78 h 104"/>
              <a:gd name="T54" fmla="*/ 21 w 186"/>
              <a:gd name="T55" fmla="*/ 79 h 104"/>
              <a:gd name="T56" fmla="*/ 25 w 186"/>
              <a:gd name="T57" fmla="*/ 81 h 104"/>
              <a:gd name="T58" fmla="*/ 33 w 186"/>
              <a:gd name="T59" fmla="*/ 85 h 104"/>
              <a:gd name="T60" fmla="*/ 40 w 186"/>
              <a:gd name="T61" fmla="*/ 89 h 104"/>
              <a:gd name="T62" fmla="*/ 45 w 186"/>
              <a:gd name="T63" fmla="*/ 94 h 104"/>
              <a:gd name="T64" fmla="*/ 52 w 186"/>
              <a:gd name="T65" fmla="*/ 98 h 104"/>
              <a:gd name="T66" fmla="*/ 56 w 186"/>
              <a:gd name="T67" fmla="*/ 100 h 104"/>
              <a:gd name="T68" fmla="*/ 61 w 186"/>
              <a:gd name="T69" fmla="*/ 101 h 104"/>
              <a:gd name="T70" fmla="*/ 66 w 186"/>
              <a:gd name="T71" fmla="*/ 102 h 104"/>
              <a:gd name="T72" fmla="*/ 74 w 186"/>
              <a:gd name="T73" fmla="*/ 102 h 104"/>
              <a:gd name="T74" fmla="*/ 107 w 186"/>
              <a:gd name="T75" fmla="*/ 103 h 104"/>
              <a:gd name="T76" fmla="*/ 131 w 186"/>
              <a:gd name="T77" fmla="*/ 104 h 104"/>
              <a:gd name="T78" fmla="*/ 135 w 186"/>
              <a:gd name="T79" fmla="*/ 103 h 104"/>
              <a:gd name="T80" fmla="*/ 139 w 186"/>
              <a:gd name="T81" fmla="*/ 102 h 104"/>
              <a:gd name="T82" fmla="*/ 142 w 186"/>
              <a:gd name="T83" fmla="*/ 100 h 104"/>
              <a:gd name="T84" fmla="*/ 145 w 186"/>
              <a:gd name="T85" fmla="*/ 97 h 104"/>
              <a:gd name="T86" fmla="*/ 147 w 186"/>
              <a:gd name="T87" fmla="*/ 94 h 104"/>
              <a:gd name="T88" fmla="*/ 150 w 186"/>
              <a:gd name="T89" fmla="*/ 88 h 104"/>
              <a:gd name="T90" fmla="*/ 152 w 186"/>
              <a:gd name="T91" fmla="*/ 83 h 104"/>
              <a:gd name="T92" fmla="*/ 153 w 186"/>
              <a:gd name="T93" fmla="*/ 77 h 104"/>
              <a:gd name="T94" fmla="*/ 186 w 186"/>
              <a:gd name="T95" fmla="*/ 27 h 104"/>
              <a:gd name="T96" fmla="*/ 153 w 186"/>
              <a:gd name="T97" fmla="*/ 21 h 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86" h="104">
                <a:moveTo>
                  <a:pt x="153" y="21"/>
                </a:moveTo>
                <a:lnTo>
                  <a:pt x="146" y="21"/>
                </a:lnTo>
                <a:lnTo>
                  <a:pt x="141" y="20"/>
                </a:lnTo>
                <a:lnTo>
                  <a:pt x="136" y="18"/>
                </a:lnTo>
                <a:lnTo>
                  <a:pt x="133" y="15"/>
                </a:lnTo>
                <a:lnTo>
                  <a:pt x="130" y="13"/>
                </a:lnTo>
                <a:lnTo>
                  <a:pt x="125" y="11"/>
                </a:lnTo>
                <a:lnTo>
                  <a:pt x="120" y="10"/>
                </a:lnTo>
                <a:lnTo>
                  <a:pt x="113" y="9"/>
                </a:lnTo>
                <a:lnTo>
                  <a:pt x="100" y="8"/>
                </a:lnTo>
                <a:lnTo>
                  <a:pt x="88" y="6"/>
                </a:lnTo>
                <a:lnTo>
                  <a:pt x="75" y="3"/>
                </a:lnTo>
                <a:lnTo>
                  <a:pt x="64" y="1"/>
                </a:lnTo>
                <a:lnTo>
                  <a:pt x="60" y="0"/>
                </a:lnTo>
                <a:lnTo>
                  <a:pt x="54" y="0"/>
                </a:lnTo>
                <a:lnTo>
                  <a:pt x="51" y="1"/>
                </a:lnTo>
                <a:lnTo>
                  <a:pt x="46" y="2"/>
                </a:lnTo>
                <a:lnTo>
                  <a:pt x="44" y="4"/>
                </a:lnTo>
                <a:lnTo>
                  <a:pt x="42" y="6"/>
                </a:lnTo>
                <a:lnTo>
                  <a:pt x="41" y="10"/>
                </a:lnTo>
                <a:lnTo>
                  <a:pt x="40" y="15"/>
                </a:lnTo>
                <a:lnTo>
                  <a:pt x="34" y="27"/>
                </a:lnTo>
                <a:lnTo>
                  <a:pt x="20" y="47"/>
                </a:lnTo>
                <a:lnTo>
                  <a:pt x="7" y="66"/>
                </a:lnTo>
                <a:lnTo>
                  <a:pt x="0" y="77"/>
                </a:lnTo>
                <a:lnTo>
                  <a:pt x="8" y="77"/>
                </a:lnTo>
                <a:lnTo>
                  <a:pt x="16" y="78"/>
                </a:lnTo>
                <a:lnTo>
                  <a:pt x="21" y="79"/>
                </a:lnTo>
                <a:lnTo>
                  <a:pt x="25" y="81"/>
                </a:lnTo>
                <a:lnTo>
                  <a:pt x="33" y="85"/>
                </a:lnTo>
                <a:lnTo>
                  <a:pt x="40" y="89"/>
                </a:lnTo>
                <a:lnTo>
                  <a:pt x="45" y="94"/>
                </a:lnTo>
                <a:lnTo>
                  <a:pt x="52" y="98"/>
                </a:lnTo>
                <a:lnTo>
                  <a:pt x="56" y="100"/>
                </a:lnTo>
                <a:lnTo>
                  <a:pt x="61" y="101"/>
                </a:lnTo>
                <a:lnTo>
                  <a:pt x="66" y="102"/>
                </a:lnTo>
                <a:lnTo>
                  <a:pt x="74" y="102"/>
                </a:lnTo>
                <a:lnTo>
                  <a:pt x="107" y="103"/>
                </a:lnTo>
                <a:lnTo>
                  <a:pt x="131" y="104"/>
                </a:lnTo>
                <a:lnTo>
                  <a:pt x="135" y="103"/>
                </a:lnTo>
                <a:lnTo>
                  <a:pt x="139" y="102"/>
                </a:lnTo>
                <a:lnTo>
                  <a:pt x="142" y="100"/>
                </a:lnTo>
                <a:lnTo>
                  <a:pt x="145" y="97"/>
                </a:lnTo>
                <a:lnTo>
                  <a:pt x="147" y="94"/>
                </a:lnTo>
                <a:lnTo>
                  <a:pt x="150" y="88"/>
                </a:lnTo>
                <a:lnTo>
                  <a:pt x="152" y="83"/>
                </a:lnTo>
                <a:lnTo>
                  <a:pt x="153" y="77"/>
                </a:lnTo>
                <a:lnTo>
                  <a:pt x="186" y="27"/>
                </a:lnTo>
                <a:lnTo>
                  <a:pt x="153" y="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494" name="Freeform 446"/>
          <p:cNvSpPr>
            <a:spLocks/>
          </p:cNvSpPr>
          <p:nvPr>
            <p:custDataLst>
              <p:tags r:id="rId284"/>
            </p:custDataLst>
          </p:nvPr>
        </p:nvSpPr>
        <p:spPr bwMode="auto">
          <a:xfrm>
            <a:off x="6046788" y="2263775"/>
            <a:ext cx="133350" cy="96838"/>
          </a:xfrm>
          <a:custGeom>
            <a:avLst/>
            <a:gdLst>
              <a:gd name="T0" fmla="*/ 79 w 311"/>
              <a:gd name="T1" fmla="*/ 38 h 179"/>
              <a:gd name="T2" fmla="*/ 115 w 311"/>
              <a:gd name="T3" fmla="*/ 26 h 179"/>
              <a:gd name="T4" fmla="*/ 148 w 311"/>
              <a:gd name="T5" fmla="*/ 14 h 179"/>
              <a:gd name="T6" fmla="*/ 178 w 311"/>
              <a:gd name="T7" fmla="*/ 4 h 179"/>
              <a:gd name="T8" fmla="*/ 211 w 311"/>
              <a:gd name="T9" fmla="*/ 0 h 179"/>
              <a:gd name="T10" fmla="*/ 236 w 311"/>
              <a:gd name="T11" fmla="*/ 2 h 179"/>
              <a:gd name="T12" fmla="*/ 256 w 311"/>
              <a:gd name="T13" fmla="*/ 6 h 179"/>
              <a:gd name="T14" fmla="*/ 292 w 311"/>
              <a:gd name="T15" fmla="*/ 12 h 179"/>
              <a:gd name="T16" fmla="*/ 287 w 311"/>
              <a:gd name="T17" fmla="*/ 28 h 179"/>
              <a:gd name="T18" fmla="*/ 278 w 311"/>
              <a:gd name="T19" fmla="*/ 42 h 179"/>
              <a:gd name="T20" fmla="*/ 269 w 311"/>
              <a:gd name="T21" fmla="*/ 53 h 179"/>
              <a:gd name="T22" fmla="*/ 265 w 311"/>
              <a:gd name="T23" fmla="*/ 62 h 179"/>
              <a:gd name="T24" fmla="*/ 266 w 311"/>
              <a:gd name="T25" fmla="*/ 66 h 179"/>
              <a:gd name="T26" fmla="*/ 271 w 311"/>
              <a:gd name="T27" fmla="*/ 71 h 179"/>
              <a:gd name="T28" fmla="*/ 285 w 311"/>
              <a:gd name="T29" fmla="*/ 79 h 179"/>
              <a:gd name="T30" fmla="*/ 311 w 311"/>
              <a:gd name="T31" fmla="*/ 93 h 179"/>
              <a:gd name="T32" fmla="*/ 287 w 311"/>
              <a:gd name="T33" fmla="*/ 107 h 179"/>
              <a:gd name="T34" fmla="*/ 281 w 311"/>
              <a:gd name="T35" fmla="*/ 115 h 179"/>
              <a:gd name="T36" fmla="*/ 278 w 311"/>
              <a:gd name="T37" fmla="*/ 129 h 179"/>
              <a:gd name="T38" fmla="*/ 252 w 311"/>
              <a:gd name="T39" fmla="*/ 136 h 179"/>
              <a:gd name="T40" fmla="*/ 211 w 311"/>
              <a:gd name="T41" fmla="*/ 148 h 179"/>
              <a:gd name="T42" fmla="*/ 191 w 311"/>
              <a:gd name="T43" fmla="*/ 168 h 179"/>
              <a:gd name="T44" fmla="*/ 178 w 311"/>
              <a:gd name="T45" fmla="*/ 176 h 179"/>
              <a:gd name="T46" fmla="*/ 165 w 311"/>
              <a:gd name="T47" fmla="*/ 179 h 179"/>
              <a:gd name="T48" fmla="*/ 151 w 311"/>
              <a:gd name="T49" fmla="*/ 175 h 179"/>
              <a:gd name="T50" fmla="*/ 137 w 311"/>
              <a:gd name="T51" fmla="*/ 167 h 179"/>
              <a:gd name="T52" fmla="*/ 120 w 311"/>
              <a:gd name="T53" fmla="*/ 158 h 179"/>
              <a:gd name="T54" fmla="*/ 98 w 311"/>
              <a:gd name="T55" fmla="*/ 155 h 179"/>
              <a:gd name="T56" fmla="*/ 66 w 311"/>
              <a:gd name="T57" fmla="*/ 155 h 179"/>
              <a:gd name="T58" fmla="*/ 51 w 311"/>
              <a:gd name="T59" fmla="*/ 157 h 179"/>
              <a:gd name="T60" fmla="*/ 39 w 311"/>
              <a:gd name="T61" fmla="*/ 161 h 179"/>
              <a:gd name="T62" fmla="*/ 36 w 311"/>
              <a:gd name="T63" fmla="*/ 142 h 179"/>
              <a:gd name="T64" fmla="*/ 32 w 311"/>
              <a:gd name="T65" fmla="*/ 123 h 179"/>
              <a:gd name="T66" fmla="*/ 21 w 311"/>
              <a:gd name="T67" fmla="*/ 128 h 179"/>
              <a:gd name="T68" fmla="*/ 13 w 311"/>
              <a:gd name="T69" fmla="*/ 129 h 179"/>
              <a:gd name="T70" fmla="*/ 7 w 311"/>
              <a:gd name="T71" fmla="*/ 126 h 179"/>
              <a:gd name="T72" fmla="*/ 3 w 311"/>
              <a:gd name="T73" fmla="*/ 121 h 179"/>
              <a:gd name="T74" fmla="*/ 0 w 311"/>
              <a:gd name="T75" fmla="*/ 105 h 179"/>
              <a:gd name="T76" fmla="*/ 0 w 311"/>
              <a:gd name="T77" fmla="*/ 87 h 179"/>
              <a:gd name="T78" fmla="*/ 3 w 311"/>
              <a:gd name="T79" fmla="*/ 82 h 179"/>
              <a:gd name="T80" fmla="*/ 13 w 311"/>
              <a:gd name="T81" fmla="*/ 78 h 179"/>
              <a:gd name="T82" fmla="*/ 21 w 311"/>
              <a:gd name="T83" fmla="*/ 72 h 179"/>
              <a:gd name="T84" fmla="*/ 25 w 311"/>
              <a:gd name="T85" fmla="*/ 68 h 179"/>
              <a:gd name="T86" fmla="*/ 26 w 311"/>
              <a:gd name="T87" fmla="*/ 62 h 179"/>
              <a:gd name="T88" fmla="*/ 24 w 311"/>
              <a:gd name="T89" fmla="*/ 51 h 179"/>
              <a:gd name="T90" fmla="*/ 19 w 311"/>
              <a:gd name="T91" fmla="*/ 43 h 179"/>
              <a:gd name="T92" fmla="*/ 8 w 311"/>
              <a:gd name="T93" fmla="*/ 29 h 179"/>
              <a:gd name="T94" fmla="*/ 1 w 311"/>
              <a:gd name="T95" fmla="*/ 18 h 179"/>
              <a:gd name="T96" fmla="*/ 1 w 311"/>
              <a:gd name="T97" fmla="*/ 13 h 179"/>
              <a:gd name="T98" fmla="*/ 6 w 311"/>
              <a:gd name="T99" fmla="*/ 6 h 179"/>
              <a:gd name="T100" fmla="*/ 0 w 311"/>
              <a:gd name="T101" fmla="*/ 6 h 1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11" h="179">
                <a:moveTo>
                  <a:pt x="0" y="6"/>
                </a:moveTo>
                <a:lnTo>
                  <a:pt x="79" y="38"/>
                </a:lnTo>
                <a:lnTo>
                  <a:pt x="97" y="33"/>
                </a:lnTo>
                <a:lnTo>
                  <a:pt x="115" y="26"/>
                </a:lnTo>
                <a:lnTo>
                  <a:pt x="132" y="20"/>
                </a:lnTo>
                <a:lnTo>
                  <a:pt x="148" y="14"/>
                </a:lnTo>
                <a:lnTo>
                  <a:pt x="163" y="9"/>
                </a:lnTo>
                <a:lnTo>
                  <a:pt x="178" y="4"/>
                </a:lnTo>
                <a:lnTo>
                  <a:pt x="195" y="1"/>
                </a:lnTo>
                <a:lnTo>
                  <a:pt x="211" y="0"/>
                </a:lnTo>
                <a:lnTo>
                  <a:pt x="224" y="1"/>
                </a:lnTo>
                <a:lnTo>
                  <a:pt x="236" y="2"/>
                </a:lnTo>
                <a:lnTo>
                  <a:pt x="247" y="4"/>
                </a:lnTo>
                <a:lnTo>
                  <a:pt x="256" y="6"/>
                </a:lnTo>
                <a:lnTo>
                  <a:pt x="275" y="10"/>
                </a:lnTo>
                <a:lnTo>
                  <a:pt x="292" y="12"/>
                </a:lnTo>
                <a:lnTo>
                  <a:pt x="290" y="21"/>
                </a:lnTo>
                <a:lnTo>
                  <a:pt x="287" y="28"/>
                </a:lnTo>
                <a:lnTo>
                  <a:pt x="283" y="36"/>
                </a:lnTo>
                <a:lnTo>
                  <a:pt x="278" y="42"/>
                </a:lnTo>
                <a:lnTo>
                  <a:pt x="273" y="48"/>
                </a:lnTo>
                <a:lnTo>
                  <a:pt x="269" y="53"/>
                </a:lnTo>
                <a:lnTo>
                  <a:pt x="266" y="57"/>
                </a:lnTo>
                <a:lnTo>
                  <a:pt x="265" y="62"/>
                </a:lnTo>
                <a:lnTo>
                  <a:pt x="265" y="64"/>
                </a:lnTo>
                <a:lnTo>
                  <a:pt x="266" y="66"/>
                </a:lnTo>
                <a:lnTo>
                  <a:pt x="269" y="69"/>
                </a:lnTo>
                <a:lnTo>
                  <a:pt x="271" y="71"/>
                </a:lnTo>
                <a:lnTo>
                  <a:pt x="277" y="75"/>
                </a:lnTo>
                <a:lnTo>
                  <a:pt x="285" y="79"/>
                </a:lnTo>
                <a:lnTo>
                  <a:pt x="301" y="87"/>
                </a:lnTo>
                <a:lnTo>
                  <a:pt x="311" y="93"/>
                </a:lnTo>
                <a:lnTo>
                  <a:pt x="298" y="100"/>
                </a:lnTo>
                <a:lnTo>
                  <a:pt x="287" y="107"/>
                </a:lnTo>
                <a:lnTo>
                  <a:pt x="283" y="110"/>
                </a:lnTo>
                <a:lnTo>
                  <a:pt x="281" y="115"/>
                </a:lnTo>
                <a:lnTo>
                  <a:pt x="278" y="121"/>
                </a:lnTo>
                <a:lnTo>
                  <a:pt x="278" y="129"/>
                </a:lnTo>
                <a:lnTo>
                  <a:pt x="271" y="131"/>
                </a:lnTo>
                <a:lnTo>
                  <a:pt x="252" y="136"/>
                </a:lnTo>
                <a:lnTo>
                  <a:pt x="230" y="143"/>
                </a:lnTo>
                <a:lnTo>
                  <a:pt x="211" y="148"/>
                </a:lnTo>
                <a:lnTo>
                  <a:pt x="202" y="158"/>
                </a:lnTo>
                <a:lnTo>
                  <a:pt x="191" y="168"/>
                </a:lnTo>
                <a:lnTo>
                  <a:pt x="185" y="172"/>
                </a:lnTo>
                <a:lnTo>
                  <a:pt x="178" y="176"/>
                </a:lnTo>
                <a:lnTo>
                  <a:pt x="172" y="178"/>
                </a:lnTo>
                <a:lnTo>
                  <a:pt x="165" y="179"/>
                </a:lnTo>
                <a:lnTo>
                  <a:pt x="158" y="178"/>
                </a:lnTo>
                <a:lnTo>
                  <a:pt x="151" y="175"/>
                </a:lnTo>
                <a:lnTo>
                  <a:pt x="144" y="171"/>
                </a:lnTo>
                <a:lnTo>
                  <a:pt x="137" y="167"/>
                </a:lnTo>
                <a:lnTo>
                  <a:pt x="129" y="162"/>
                </a:lnTo>
                <a:lnTo>
                  <a:pt x="120" y="158"/>
                </a:lnTo>
                <a:lnTo>
                  <a:pt x="110" y="156"/>
                </a:lnTo>
                <a:lnTo>
                  <a:pt x="98" y="155"/>
                </a:lnTo>
                <a:lnTo>
                  <a:pt x="83" y="155"/>
                </a:lnTo>
                <a:lnTo>
                  <a:pt x="66" y="155"/>
                </a:lnTo>
                <a:lnTo>
                  <a:pt x="59" y="156"/>
                </a:lnTo>
                <a:lnTo>
                  <a:pt x="51" y="157"/>
                </a:lnTo>
                <a:lnTo>
                  <a:pt x="45" y="159"/>
                </a:lnTo>
                <a:lnTo>
                  <a:pt x="39" y="161"/>
                </a:lnTo>
                <a:lnTo>
                  <a:pt x="38" y="151"/>
                </a:lnTo>
                <a:lnTo>
                  <a:pt x="36" y="142"/>
                </a:lnTo>
                <a:lnTo>
                  <a:pt x="34" y="132"/>
                </a:lnTo>
                <a:lnTo>
                  <a:pt x="32" y="123"/>
                </a:lnTo>
                <a:lnTo>
                  <a:pt x="26" y="126"/>
                </a:lnTo>
                <a:lnTo>
                  <a:pt x="21" y="128"/>
                </a:lnTo>
                <a:lnTo>
                  <a:pt x="17" y="129"/>
                </a:lnTo>
                <a:lnTo>
                  <a:pt x="13" y="129"/>
                </a:lnTo>
                <a:lnTo>
                  <a:pt x="9" y="128"/>
                </a:lnTo>
                <a:lnTo>
                  <a:pt x="7" y="126"/>
                </a:lnTo>
                <a:lnTo>
                  <a:pt x="5" y="124"/>
                </a:lnTo>
                <a:lnTo>
                  <a:pt x="3" y="121"/>
                </a:lnTo>
                <a:lnTo>
                  <a:pt x="1" y="114"/>
                </a:lnTo>
                <a:lnTo>
                  <a:pt x="0" y="105"/>
                </a:lnTo>
                <a:lnTo>
                  <a:pt x="0" y="96"/>
                </a:lnTo>
                <a:lnTo>
                  <a:pt x="0" y="87"/>
                </a:lnTo>
                <a:lnTo>
                  <a:pt x="1" y="84"/>
                </a:lnTo>
                <a:lnTo>
                  <a:pt x="3" y="82"/>
                </a:lnTo>
                <a:lnTo>
                  <a:pt x="7" y="80"/>
                </a:lnTo>
                <a:lnTo>
                  <a:pt x="13" y="78"/>
                </a:lnTo>
                <a:lnTo>
                  <a:pt x="17" y="76"/>
                </a:lnTo>
                <a:lnTo>
                  <a:pt x="21" y="72"/>
                </a:lnTo>
                <a:lnTo>
                  <a:pt x="23" y="70"/>
                </a:lnTo>
                <a:lnTo>
                  <a:pt x="25" y="68"/>
                </a:lnTo>
                <a:lnTo>
                  <a:pt x="25" y="65"/>
                </a:lnTo>
                <a:lnTo>
                  <a:pt x="26" y="62"/>
                </a:lnTo>
                <a:lnTo>
                  <a:pt x="25" y="56"/>
                </a:lnTo>
                <a:lnTo>
                  <a:pt x="24" y="51"/>
                </a:lnTo>
                <a:lnTo>
                  <a:pt x="21" y="47"/>
                </a:lnTo>
                <a:lnTo>
                  <a:pt x="19" y="43"/>
                </a:lnTo>
                <a:lnTo>
                  <a:pt x="14" y="36"/>
                </a:lnTo>
                <a:lnTo>
                  <a:pt x="8" y="29"/>
                </a:lnTo>
                <a:lnTo>
                  <a:pt x="3" y="24"/>
                </a:lnTo>
                <a:lnTo>
                  <a:pt x="1" y="18"/>
                </a:lnTo>
                <a:lnTo>
                  <a:pt x="0" y="16"/>
                </a:lnTo>
                <a:lnTo>
                  <a:pt x="1" y="13"/>
                </a:lnTo>
                <a:lnTo>
                  <a:pt x="3" y="10"/>
                </a:lnTo>
                <a:lnTo>
                  <a:pt x="6" y="6"/>
                </a:lnTo>
                <a:lnTo>
                  <a:pt x="3" y="6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495" name="Freeform 447"/>
          <p:cNvSpPr>
            <a:spLocks/>
          </p:cNvSpPr>
          <p:nvPr>
            <p:custDataLst>
              <p:tags r:id="rId285"/>
            </p:custDataLst>
          </p:nvPr>
        </p:nvSpPr>
        <p:spPr bwMode="auto">
          <a:xfrm>
            <a:off x="5402263" y="3190875"/>
            <a:ext cx="177800" cy="165100"/>
          </a:xfrm>
          <a:custGeom>
            <a:avLst/>
            <a:gdLst>
              <a:gd name="T0" fmla="*/ 6 w 405"/>
              <a:gd name="T1" fmla="*/ 260 h 314"/>
              <a:gd name="T2" fmla="*/ 13 w 405"/>
              <a:gd name="T3" fmla="*/ 237 h 314"/>
              <a:gd name="T4" fmla="*/ 17 w 405"/>
              <a:gd name="T5" fmla="*/ 202 h 314"/>
              <a:gd name="T6" fmla="*/ 23 w 405"/>
              <a:gd name="T7" fmla="*/ 173 h 314"/>
              <a:gd name="T8" fmla="*/ 32 w 405"/>
              <a:gd name="T9" fmla="*/ 162 h 314"/>
              <a:gd name="T10" fmla="*/ 48 w 405"/>
              <a:gd name="T11" fmla="*/ 150 h 314"/>
              <a:gd name="T12" fmla="*/ 72 w 405"/>
              <a:gd name="T13" fmla="*/ 141 h 314"/>
              <a:gd name="T14" fmla="*/ 93 w 405"/>
              <a:gd name="T15" fmla="*/ 134 h 314"/>
              <a:gd name="T16" fmla="*/ 104 w 405"/>
              <a:gd name="T17" fmla="*/ 125 h 314"/>
              <a:gd name="T18" fmla="*/ 113 w 405"/>
              <a:gd name="T19" fmla="*/ 114 h 314"/>
              <a:gd name="T20" fmla="*/ 123 w 405"/>
              <a:gd name="T21" fmla="*/ 93 h 314"/>
              <a:gd name="T22" fmla="*/ 136 w 405"/>
              <a:gd name="T23" fmla="*/ 69 h 314"/>
              <a:gd name="T24" fmla="*/ 147 w 405"/>
              <a:gd name="T25" fmla="*/ 55 h 314"/>
              <a:gd name="T26" fmla="*/ 155 w 405"/>
              <a:gd name="T27" fmla="*/ 51 h 314"/>
              <a:gd name="T28" fmla="*/ 170 w 405"/>
              <a:gd name="T29" fmla="*/ 51 h 314"/>
              <a:gd name="T30" fmla="*/ 189 w 405"/>
              <a:gd name="T31" fmla="*/ 48 h 314"/>
              <a:gd name="T32" fmla="*/ 213 w 405"/>
              <a:gd name="T33" fmla="*/ 35 h 314"/>
              <a:gd name="T34" fmla="*/ 237 w 405"/>
              <a:gd name="T35" fmla="*/ 20 h 314"/>
              <a:gd name="T36" fmla="*/ 257 w 405"/>
              <a:gd name="T37" fmla="*/ 11 h 314"/>
              <a:gd name="T38" fmla="*/ 282 w 405"/>
              <a:gd name="T39" fmla="*/ 4 h 314"/>
              <a:gd name="T40" fmla="*/ 314 w 405"/>
              <a:gd name="T41" fmla="*/ 0 h 314"/>
              <a:gd name="T42" fmla="*/ 332 w 405"/>
              <a:gd name="T43" fmla="*/ 14 h 314"/>
              <a:gd name="T44" fmla="*/ 337 w 405"/>
              <a:gd name="T45" fmla="*/ 34 h 314"/>
              <a:gd name="T46" fmla="*/ 343 w 405"/>
              <a:gd name="T47" fmla="*/ 50 h 314"/>
              <a:gd name="T48" fmla="*/ 352 w 405"/>
              <a:gd name="T49" fmla="*/ 62 h 314"/>
              <a:gd name="T50" fmla="*/ 368 w 405"/>
              <a:gd name="T51" fmla="*/ 74 h 314"/>
              <a:gd name="T52" fmla="*/ 382 w 405"/>
              <a:gd name="T53" fmla="*/ 85 h 314"/>
              <a:gd name="T54" fmla="*/ 390 w 405"/>
              <a:gd name="T55" fmla="*/ 93 h 314"/>
              <a:gd name="T56" fmla="*/ 396 w 405"/>
              <a:gd name="T57" fmla="*/ 115 h 314"/>
              <a:gd name="T58" fmla="*/ 398 w 405"/>
              <a:gd name="T59" fmla="*/ 143 h 314"/>
              <a:gd name="T60" fmla="*/ 398 w 405"/>
              <a:gd name="T61" fmla="*/ 170 h 314"/>
              <a:gd name="T62" fmla="*/ 402 w 405"/>
              <a:gd name="T63" fmla="*/ 196 h 314"/>
              <a:gd name="T64" fmla="*/ 398 w 405"/>
              <a:gd name="T65" fmla="*/ 217 h 314"/>
              <a:gd name="T66" fmla="*/ 382 w 405"/>
              <a:gd name="T67" fmla="*/ 226 h 314"/>
              <a:gd name="T68" fmla="*/ 365 w 405"/>
              <a:gd name="T69" fmla="*/ 241 h 314"/>
              <a:gd name="T70" fmla="*/ 363 w 405"/>
              <a:gd name="T71" fmla="*/ 237 h 314"/>
              <a:gd name="T72" fmla="*/ 358 w 405"/>
              <a:gd name="T73" fmla="*/ 233 h 314"/>
              <a:gd name="T74" fmla="*/ 342 w 405"/>
              <a:gd name="T75" fmla="*/ 227 h 314"/>
              <a:gd name="T76" fmla="*/ 319 w 405"/>
              <a:gd name="T77" fmla="*/ 223 h 314"/>
              <a:gd name="T78" fmla="*/ 152 w 405"/>
              <a:gd name="T79" fmla="*/ 241 h 314"/>
              <a:gd name="T80" fmla="*/ 150 w 405"/>
              <a:gd name="T81" fmla="*/ 257 h 314"/>
              <a:gd name="T82" fmla="*/ 150 w 405"/>
              <a:gd name="T83" fmla="*/ 274 h 314"/>
              <a:gd name="T84" fmla="*/ 152 w 405"/>
              <a:gd name="T85" fmla="*/ 314 h 314"/>
              <a:gd name="T86" fmla="*/ 139 w 405"/>
              <a:gd name="T87" fmla="*/ 312 h 314"/>
              <a:gd name="T88" fmla="*/ 126 w 405"/>
              <a:gd name="T89" fmla="*/ 305 h 314"/>
              <a:gd name="T90" fmla="*/ 100 w 405"/>
              <a:gd name="T91" fmla="*/ 290 h 314"/>
              <a:gd name="T92" fmla="*/ 89 w 405"/>
              <a:gd name="T93" fmla="*/ 307 h 314"/>
              <a:gd name="T94" fmla="*/ 82 w 405"/>
              <a:gd name="T95" fmla="*/ 312 h 314"/>
              <a:gd name="T96" fmla="*/ 73 w 405"/>
              <a:gd name="T97" fmla="*/ 314 h 314"/>
              <a:gd name="T98" fmla="*/ 60 w 405"/>
              <a:gd name="T99" fmla="*/ 311 h 314"/>
              <a:gd name="T100" fmla="*/ 47 w 405"/>
              <a:gd name="T101" fmla="*/ 302 h 314"/>
              <a:gd name="T102" fmla="*/ 28 w 405"/>
              <a:gd name="T103" fmla="*/ 291 h 314"/>
              <a:gd name="T104" fmla="*/ 0 w 405"/>
              <a:gd name="T105" fmla="*/ 284 h 3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405" h="314">
                <a:moveTo>
                  <a:pt x="0" y="272"/>
                </a:moveTo>
                <a:lnTo>
                  <a:pt x="6" y="260"/>
                </a:lnTo>
                <a:lnTo>
                  <a:pt x="11" y="248"/>
                </a:lnTo>
                <a:lnTo>
                  <a:pt x="13" y="237"/>
                </a:lnTo>
                <a:lnTo>
                  <a:pt x="15" y="226"/>
                </a:lnTo>
                <a:lnTo>
                  <a:pt x="17" y="202"/>
                </a:lnTo>
                <a:lnTo>
                  <a:pt x="20" y="179"/>
                </a:lnTo>
                <a:lnTo>
                  <a:pt x="23" y="173"/>
                </a:lnTo>
                <a:lnTo>
                  <a:pt x="26" y="167"/>
                </a:lnTo>
                <a:lnTo>
                  <a:pt x="32" y="162"/>
                </a:lnTo>
                <a:lnTo>
                  <a:pt x="36" y="158"/>
                </a:lnTo>
                <a:lnTo>
                  <a:pt x="48" y="150"/>
                </a:lnTo>
                <a:lnTo>
                  <a:pt x="60" y="145"/>
                </a:lnTo>
                <a:lnTo>
                  <a:pt x="72" y="141"/>
                </a:lnTo>
                <a:lnTo>
                  <a:pt x="83" y="137"/>
                </a:lnTo>
                <a:lnTo>
                  <a:pt x="93" y="134"/>
                </a:lnTo>
                <a:lnTo>
                  <a:pt x="100" y="130"/>
                </a:lnTo>
                <a:lnTo>
                  <a:pt x="104" y="125"/>
                </a:lnTo>
                <a:lnTo>
                  <a:pt x="109" y="120"/>
                </a:lnTo>
                <a:lnTo>
                  <a:pt x="113" y="114"/>
                </a:lnTo>
                <a:lnTo>
                  <a:pt x="116" y="107"/>
                </a:lnTo>
                <a:lnTo>
                  <a:pt x="123" y="93"/>
                </a:lnTo>
                <a:lnTo>
                  <a:pt x="129" y="81"/>
                </a:lnTo>
                <a:lnTo>
                  <a:pt x="136" y="69"/>
                </a:lnTo>
                <a:lnTo>
                  <a:pt x="143" y="59"/>
                </a:lnTo>
                <a:lnTo>
                  <a:pt x="147" y="55"/>
                </a:lnTo>
                <a:lnTo>
                  <a:pt x="150" y="53"/>
                </a:lnTo>
                <a:lnTo>
                  <a:pt x="155" y="51"/>
                </a:lnTo>
                <a:lnTo>
                  <a:pt x="159" y="50"/>
                </a:lnTo>
                <a:lnTo>
                  <a:pt x="170" y="51"/>
                </a:lnTo>
                <a:lnTo>
                  <a:pt x="180" y="50"/>
                </a:lnTo>
                <a:lnTo>
                  <a:pt x="189" y="48"/>
                </a:lnTo>
                <a:lnTo>
                  <a:pt x="196" y="44"/>
                </a:lnTo>
                <a:lnTo>
                  <a:pt x="213" y="35"/>
                </a:lnTo>
                <a:lnTo>
                  <a:pt x="228" y="25"/>
                </a:lnTo>
                <a:lnTo>
                  <a:pt x="237" y="20"/>
                </a:lnTo>
                <a:lnTo>
                  <a:pt x="247" y="15"/>
                </a:lnTo>
                <a:lnTo>
                  <a:pt x="257" y="11"/>
                </a:lnTo>
                <a:lnTo>
                  <a:pt x="269" y="7"/>
                </a:lnTo>
                <a:lnTo>
                  <a:pt x="282" y="4"/>
                </a:lnTo>
                <a:lnTo>
                  <a:pt x="296" y="1"/>
                </a:lnTo>
                <a:lnTo>
                  <a:pt x="314" y="0"/>
                </a:lnTo>
                <a:lnTo>
                  <a:pt x="332" y="1"/>
                </a:lnTo>
                <a:lnTo>
                  <a:pt x="332" y="14"/>
                </a:lnTo>
                <a:lnTo>
                  <a:pt x="335" y="25"/>
                </a:lnTo>
                <a:lnTo>
                  <a:pt x="337" y="34"/>
                </a:lnTo>
                <a:lnTo>
                  <a:pt x="340" y="43"/>
                </a:lnTo>
                <a:lnTo>
                  <a:pt x="343" y="50"/>
                </a:lnTo>
                <a:lnTo>
                  <a:pt x="348" y="56"/>
                </a:lnTo>
                <a:lnTo>
                  <a:pt x="352" y="62"/>
                </a:lnTo>
                <a:lnTo>
                  <a:pt x="357" y="66"/>
                </a:lnTo>
                <a:lnTo>
                  <a:pt x="368" y="74"/>
                </a:lnTo>
                <a:lnTo>
                  <a:pt x="378" y="81"/>
                </a:lnTo>
                <a:lnTo>
                  <a:pt x="382" y="85"/>
                </a:lnTo>
                <a:lnTo>
                  <a:pt x="385" y="89"/>
                </a:lnTo>
                <a:lnTo>
                  <a:pt x="390" y="93"/>
                </a:lnTo>
                <a:lnTo>
                  <a:pt x="392" y="100"/>
                </a:lnTo>
                <a:lnTo>
                  <a:pt x="396" y="115"/>
                </a:lnTo>
                <a:lnTo>
                  <a:pt x="398" y="129"/>
                </a:lnTo>
                <a:lnTo>
                  <a:pt x="398" y="143"/>
                </a:lnTo>
                <a:lnTo>
                  <a:pt x="398" y="157"/>
                </a:lnTo>
                <a:lnTo>
                  <a:pt x="398" y="170"/>
                </a:lnTo>
                <a:lnTo>
                  <a:pt x="399" y="183"/>
                </a:lnTo>
                <a:lnTo>
                  <a:pt x="402" y="196"/>
                </a:lnTo>
                <a:lnTo>
                  <a:pt x="405" y="211"/>
                </a:lnTo>
                <a:lnTo>
                  <a:pt x="398" y="217"/>
                </a:lnTo>
                <a:lnTo>
                  <a:pt x="390" y="221"/>
                </a:lnTo>
                <a:lnTo>
                  <a:pt x="382" y="226"/>
                </a:lnTo>
                <a:lnTo>
                  <a:pt x="374" y="233"/>
                </a:lnTo>
                <a:lnTo>
                  <a:pt x="365" y="241"/>
                </a:lnTo>
                <a:lnTo>
                  <a:pt x="365" y="239"/>
                </a:lnTo>
                <a:lnTo>
                  <a:pt x="363" y="237"/>
                </a:lnTo>
                <a:lnTo>
                  <a:pt x="361" y="235"/>
                </a:lnTo>
                <a:lnTo>
                  <a:pt x="358" y="233"/>
                </a:lnTo>
                <a:lnTo>
                  <a:pt x="351" y="230"/>
                </a:lnTo>
                <a:lnTo>
                  <a:pt x="342" y="227"/>
                </a:lnTo>
                <a:lnTo>
                  <a:pt x="326" y="224"/>
                </a:lnTo>
                <a:lnTo>
                  <a:pt x="319" y="223"/>
                </a:lnTo>
                <a:lnTo>
                  <a:pt x="300" y="241"/>
                </a:lnTo>
                <a:lnTo>
                  <a:pt x="152" y="241"/>
                </a:lnTo>
                <a:lnTo>
                  <a:pt x="151" y="249"/>
                </a:lnTo>
                <a:lnTo>
                  <a:pt x="150" y="257"/>
                </a:lnTo>
                <a:lnTo>
                  <a:pt x="150" y="266"/>
                </a:lnTo>
                <a:lnTo>
                  <a:pt x="150" y="274"/>
                </a:lnTo>
                <a:lnTo>
                  <a:pt x="152" y="291"/>
                </a:lnTo>
                <a:lnTo>
                  <a:pt x="152" y="314"/>
                </a:lnTo>
                <a:lnTo>
                  <a:pt x="146" y="314"/>
                </a:lnTo>
                <a:lnTo>
                  <a:pt x="139" y="312"/>
                </a:lnTo>
                <a:lnTo>
                  <a:pt x="133" y="308"/>
                </a:lnTo>
                <a:lnTo>
                  <a:pt x="126" y="305"/>
                </a:lnTo>
                <a:lnTo>
                  <a:pt x="114" y="297"/>
                </a:lnTo>
                <a:lnTo>
                  <a:pt x="100" y="290"/>
                </a:lnTo>
                <a:lnTo>
                  <a:pt x="94" y="299"/>
                </a:lnTo>
                <a:lnTo>
                  <a:pt x="89" y="307"/>
                </a:lnTo>
                <a:lnTo>
                  <a:pt x="85" y="310"/>
                </a:lnTo>
                <a:lnTo>
                  <a:pt x="82" y="312"/>
                </a:lnTo>
                <a:lnTo>
                  <a:pt x="78" y="314"/>
                </a:lnTo>
                <a:lnTo>
                  <a:pt x="73" y="314"/>
                </a:lnTo>
                <a:lnTo>
                  <a:pt x="66" y="313"/>
                </a:lnTo>
                <a:lnTo>
                  <a:pt x="60" y="311"/>
                </a:lnTo>
                <a:lnTo>
                  <a:pt x="54" y="306"/>
                </a:lnTo>
                <a:lnTo>
                  <a:pt x="47" y="302"/>
                </a:lnTo>
                <a:lnTo>
                  <a:pt x="38" y="296"/>
                </a:lnTo>
                <a:lnTo>
                  <a:pt x="28" y="291"/>
                </a:lnTo>
                <a:lnTo>
                  <a:pt x="16" y="287"/>
                </a:lnTo>
                <a:lnTo>
                  <a:pt x="0" y="284"/>
                </a:lnTo>
                <a:lnTo>
                  <a:pt x="0" y="27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496" name="Freeform 448"/>
          <p:cNvSpPr>
            <a:spLocks/>
          </p:cNvSpPr>
          <p:nvPr>
            <p:custDataLst>
              <p:tags r:id="rId286"/>
            </p:custDataLst>
          </p:nvPr>
        </p:nvSpPr>
        <p:spPr bwMode="auto">
          <a:xfrm>
            <a:off x="5749926" y="3259138"/>
            <a:ext cx="193675" cy="349250"/>
          </a:xfrm>
          <a:custGeom>
            <a:avLst/>
            <a:gdLst>
              <a:gd name="T0" fmla="*/ 335 w 453"/>
              <a:gd name="T1" fmla="*/ 36 h 661"/>
              <a:gd name="T2" fmla="*/ 321 w 453"/>
              <a:gd name="T3" fmla="*/ 98 h 661"/>
              <a:gd name="T4" fmla="*/ 277 w 453"/>
              <a:gd name="T5" fmla="*/ 162 h 661"/>
              <a:gd name="T6" fmla="*/ 253 w 453"/>
              <a:gd name="T7" fmla="*/ 219 h 661"/>
              <a:gd name="T8" fmla="*/ 232 w 453"/>
              <a:gd name="T9" fmla="*/ 272 h 661"/>
              <a:gd name="T10" fmla="*/ 209 w 453"/>
              <a:gd name="T11" fmla="*/ 329 h 661"/>
              <a:gd name="T12" fmla="*/ 196 w 453"/>
              <a:gd name="T13" fmla="*/ 362 h 661"/>
              <a:gd name="T14" fmla="*/ 180 w 453"/>
              <a:gd name="T15" fmla="*/ 380 h 661"/>
              <a:gd name="T16" fmla="*/ 167 w 453"/>
              <a:gd name="T17" fmla="*/ 390 h 661"/>
              <a:gd name="T18" fmla="*/ 141 w 453"/>
              <a:gd name="T19" fmla="*/ 382 h 661"/>
              <a:gd name="T20" fmla="*/ 121 w 453"/>
              <a:gd name="T21" fmla="*/ 370 h 661"/>
              <a:gd name="T22" fmla="*/ 94 w 453"/>
              <a:gd name="T23" fmla="*/ 367 h 661"/>
              <a:gd name="T24" fmla="*/ 64 w 453"/>
              <a:gd name="T25" fmla="*/ 380 h 661"/>
              <a:gd name="T26" fmla="*/ 44 w 453"/>
              <a:gd name="T27" fmla="*/ 403 h 661"/>
              <a:gd name="T28" fmla="*/ 21 w 453"/>
              <a:gd name="T29" fmla="*/ 454 h 661"/>
              <a:gd name="T30" fmla="*/ 7 w 453"/>
              <a:gd name="T31" fmla="*/ 482 h 661"/>
              <a:gd name="T32" fmla="*/ 1 w 453"/>
              <a:gd name="T33" fmla="*/ 500 h 661"/>
              <a:gd name="T34" fmla="*/ 8 w 453"/>
              <a:gd name="T35" fmla="*/ 517 h 661"/>
              <a:gd name="T36" fmla="*/ 20 w 453"/>
              <a:gd name="T37" fmla="*/ 526 h 661"/>
              <a:gd name="T38" fmla="*/ 55 w 453"/>
              <a:gd name="T39" fmla="*/ 526 h 661"/>
              <a:gd name="T40" fmla="*/ 71 w 453"/>
              <a:gd name="T41" fmla="*/ 548 h 661"/>
              <a:gd name="T42" fmla="*/ 73 w 453"/>
              <a:gd name="T43" fmla="*/ 590 h 661"/>
              <a:gd name="T44" fmla="*/ 67 w 453"/>
              <a:gd name="T45" fmla="*/ 630 h 661"/>
              <a:gd name="T46" fmla="*/ 433 w 453"/>
              <a:gd name="T47" fmla="*/ 661 h 661"/>
              <a:gd name="T48" fmla="*/ 442 w 453"/>
              <a:gd name="T49" fmla="*/ 582 h 661"/>
              <a:gd name="T50" fmla="*/ 415 w 453"/>
              <a:gd name="T51" fmla="*/ 568 h 661"/>
              <a:gd name="T52" fmla="*/ 373 w 453"/>
              <a:gd name="T53" fmla="*/ 557 h 661"/>
              <a:gd name="T54" fmla="*/ 353 w 453"/>
              <a:gd name="T55" fmla="*/ 549 h 661"/>
              <a:gd name="T56" fmla="*/ 340 w 453"/>
              <a:gd name="T57" fmla="*/ 537 h 661"/>
              <a:gd name="T58" fmla="*/ 333 w 453"/>
              <a:gd name="T59" fmla="*/ 515 h 661"/>
              <a:gd name="T60" fmla="*/ 333 w 453"/>
              <a:gd name="T61" fmla="*/ 464 h 661"/>
              <a:gd name="T62" fmla="*/ 337 w 453"/>
              <a:gd name="T63" fmla="*/ 428 h 661"/>
              <a:gd name="T64" fmla="*/ 351 w 453"/>
              <a:gd name="T65" fmla="*/ 397 h 661"/>
              <a:gd name="T66" fmla="*/ 373 w 453"/>
              <a:gd name="T67" fmla="*/ 364 h 661"/>
              <a:gd name="T68" fmla="*/ 392 w 453"/>
              <a:gd name="T69" fmla="*/ 330 h 661"/>
              <a:gd name="T70" fmla="*/ 399 w 453"/>
              <a:gd name="T71" fmla="*/ 297 h 661"/>
              <a:gd name="T72" fmla="*/ 389 w 453"/>
              <a:gd name="T73" fmla="*/ 267 h 661"/>
              <a:gd name="T74" fmla="*/ 373 w 453"/>
              <a:gd name="T75" fmla="*/ 246 h 661"/>
              <a:gd name="T76" fmla="*/ 343 w 453"/>
              <a:gd name="T77" fmla="*/ 217 h 661"/>
              <a:gd name="T78" fmla="*/ 333 w 453"/>
              <a:gd name="T79" fmla="*/ 192 h 661"/>
              <a:gd name="T80" fmla="*/ 335 w 453"/>
              <a:gd name="T81" fmla="*/ 173 h 661"/>
              <a:gd name="T82" fmla="*/ 353 w 453"/>
              <a:gd name="T83" fmla="*/ 164 h 661"/>
              <a:gd name="T84" fmla="*/ 406 w 453"/>
              <a:gd name="T85" fmla="*/ 162 h 661"/>
              <a:gd name="T86" fmla="*/ 395 w 453"/>
              <a:gd name="T87" fmla="*/ 151 h 661"/>
              <a:gd name="T88" fmla="*/ 379 w 453"/>
              <a:gd name="T89" fmla="*/ 117 h 661"/>
              <a:gd name="T90" fmla="*/ 371 w 453"/>
              <a:gd name="T91" fmla="*/ 73 h 661"/>
              <a:gd name="T92" fmla="*/ 373 w 453"/>
              <a:gd name="T93" fmla="*/ 45 h 661"/>
              <a:gd name="T94" fmla="*/ 367 w 453"/>
              <a:gd name="T95" fmla="*/ 11 h 661"/>
              <a:gd name="T96" fmla="*/ 347 w 453"/>
              <a:gd name="T97" fmla="*/ 0 h 6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453" h="661">
                <a:moveTo>
                  <a:pt x="330" y="9"/>
                </a:moveTo>
                <a:lnTo>
                  <a:pt x="332" y="23"/>
                </a:lnTo>
                <a:lnTo>
                  <a:pt x="335" y="36"/>
                </a:lnTo>
                <a:lnTo>
                  <a:pt x="340" y="50"/>
                </a:lnTo>
                <a:lnTo>
                  <a:pt x="346" y="63"/>
                </a:lnTo>
                <a:lnTo>
                  <a:pt x="321" y="98"/>
                </a:lnTo>
                <a:lnTo>
                  <a:pt x="298" y="129"/>
                </a:lnTo>
                <a:lnTo>
                  <a:pt x="287" y="145"/>
                </a:lnTo>
                <a:lnTo>
                  <a:pt x="277" y="162"/>
                </a:lnTo>
                <a:lnTo>
                  <a:pt x="268" y="179"/>
                </a:lnTo>
                <a:lnTo>
                  <a:pt x="259" y="200"/>
                </a:lnTo>
                <a:lnTo>
                  <a:pt x="253" y="219"/>
                </a:lnTo>
                <a:lnTo>
                  <a:pt x="245" y="237"/>
                </a:lnTo>
                <a:lnTo>
                  <a:pt x="239" y="255"/>
                </a:lnTo>
                <a:lnTo>
                  <a:pt x="232" y="272"/>
                </a:lnTo>
                <a:lnTo>
                  <a:pt x="225" y="289"/>
                </a:lnTo>
                <a:lnTo>
                  <a:pt x="218" y="309"/>
                </a:lnTo>
                <a:lnTo>
                  <a:pt x="209" y="329"/>
                </a:lnTo>
                <a:lnTo>
                  <a:pt x="200" y="353"/>
                </a:lnTo>
                <a:lnTo>
                  <a:pt x="199" y="356"/>
                </a:lnTo>
                <a:lnTo>
                  <a:pt x="196" y="362"/>
                </a:lnTo>
                <a:lnTo>
                  <a:pt x="191" y="368"/>
                </a:lnTo>
                <a:lnTo>
                  <a:pt x="186" y="374"/>
                </a:lnTo>
                <a:lnTo>
                  <a:pt x="180" y="380"/>
                </a:lnTo>
                <a:lnTo>
                  <a:pt x="175" y="385"/>
                </a:lnTo>
                <a:lnTo>
                  <a:pt x="171" y="389"/>
                </a:lnTo>
                <a:lnTo>
                  <a:pt x="167" y="390"/>
                </a:lnTo>
                <a:lnTo>
                  <a:pt x="157" y="389"/>
                </a:lnTo>
                <a:lnTo>
                  <a:pt x="149" y="386"/>
                </a:lnTo>
                <a:lnTo>
                  <a:pt x="141" y="382"/>
                </a:lnTo>
                <a:lnTo>
                  <a:pt x="134" y="378"/>
                </a:lnTo>
                <a:lnTo>
                  <a:pt x="128" y="374"/>
                </a:lnTo>
                <a:lnTo>
                  <a:pt x="121" y="370"/>
                </a:lnTo>
                <a:lnTo>
                  <a:pt x="115" y="367"/>
                </a:lnTo>
                <a:lnTo>
                  <a:pt x="107" y="366"/>
                </a:lnTo>
                <a:lnTo>
                  <a:pt x="94" y="367"/>
                </a:lnTo>
                <a:lnTo>
                  <a:pt x="83" y="370"/>
                </a:lnTo>
                <a:lnTo>
                  <a:pt x="73" y="374"/>
                </a:lnTo>
                <a:lnTo>
                  <a:pt x="64" y="380"/>
                </a:lnTo>
                <a:lnTo>
                  <a:pt x="56" y="387"/>
                </a:lnTo>
                <a:lnTo>
                  <a:pt x="50" y="395"/>
                </a:lnTo>
                <a:lnTo>
                  <a:pt x="44" y="403"/>
                </a:lnTo>
                <a:lnTo>
                  <a:pt x="39" y="413"/>
                </a:lnTo>
                <a:lnTo>
                  <a:pt x="30" y="434"/>
                </a:lnTo>
                <a:lnTo>
                  <a:pt x="21" y="454"/>
                </a:lnTo>
                <a:lnTo>
                  <a:pt x="17" y="463"/>
                </a:lnTo>
                <a:lnTo>
                  <a:pt x="11" y="473"/>
                </a:lnTo>
                <a:lnTo>
                  <a:pt x="7" y="482"/>
                </a:lnTo>
                <a:lnTo>
                  <a:pt x="0" y="489"/>
                </a:lnTo>
                <a:lnTo>
                  <a:pt x="1" y="494"/>
                </a:lnTo>
                <a:lnTo>
                  <a:pt x="1" y="500"/>
                </a:lnTo>
                <a:lnTo>
                  <a:pt x="4" y="506"/>
                </a:lnTo>
                <a:lnTo>
                  <a:pt x="6" y="512"/>
                </a:lnTo>
                <a:lnTo>
                  <a:pt x="8" y="517"/>
                </a:lnTo>
                <a:lnTo>
                  <a:pt x="11" y="521"/>
                </a:lnTo>
                <a:lnTo>
                  <a:pt x="16" y="524"/>
                </a:lnTo>
                <a:lnTo>
                  <a:pt x="20" y="526"/>
                </a:lnTo>
                <a:lnTo>
                  <a:pt x="28" y="526"/>
                </a:lnTo>
                <a:lnTo>
                  <a:pt x="40" y="526"/>
                </a:lnTo>
                <a:lnTo>
                  <a:pt x="55" y="526"/>
                </a:lnTo>
                <a:lnTo>
                  <a:pt x="74" y="526"/>
                </a:lnTo>
                <a:lnTo>
                  <a:pt x="72" y="537"/>
                </a:lnTo>
                <a:lnTo>
                  <a:pt x="71" y="548"/>
                </a:lnTo>
                <a:lnTo>
                  <a:pt x="71" y="558"/>
                </a:lnTo>
                <a:lnTo>
                  <a:pt x="72" y="569"/>
                </a:lnTo>
                <a:lnTo>
                  <a:pt x="73" y="590"/>
                </a:lnTo>
                <a:lnTo>
                  <a:pt x="74" y="612"/>
                </a:lnTo>
                <a:lnTo>
                  <a:pt x="71" y="621"/>
                </a:lnTo>
                <a:lnTo>
                  <a:pt x="67" y="630"/>
                </a:lnTo>
                <a:lnTo>
                  <a:pt x="167" y="630"/>
                </a:lnTo>
                <a:lnTo>
                  <a:pt x="273" y="630"/>
                </a:lnTo>
                <a:lnTo>
                  <a:pt x="433" y="661"/>
                </a:lnTo>
                <a:lnTo>
                  <a:pt x="453" y="594"/>
                </a:lnTo>
                <a:lnTo>
                  <a:pt x="447" y="588"/>
                </a:lnTo>
                <a:lnTo>
                  <a:pt x="442" y="582"/>
                </a:lnTo>
                <a:lnTo>
                  <a:pt x="435" y="577"/>
                </a:lnTo>
                <a:lnTo>
                  <a:pt x="430" y="573"/>
                </a:lnTo>
                <a:lnTo>
                  <a:pt x="415" y="568"/>
                </a:lnTo>
                <a:lnTo>
                  <a:pt x="402" y="564"/>
                </a:lnTo>
                <a:lnTo>
                  <a:pt x="387" y="561"/>
                </a:lnTo>
                <a:lnTo>
                  <a:pt x="373" y="557"/>
                </a:lnTo>
                <a:lnTo>
                  <a:pt x="366" y="555"/>
                </a:lnTo>
                <a:lnTo>
                  <a:pt x="359" y="552"/>
                </a:lnTo>
                <a:lnTo>
                  <a:pt x="353" y="549"/>
                </a:lnTo>
                <a:lnTo>
                  <a:pt x="346" y="544"/>
                </a:lnTo>
                <a:lnTo>
                  <a:pt x="343" y="541"/>
                </a:lnTo>
                <a:lnTo>
                  <a:pt x="340" y="537"/>
                </a:lnTo>
                <a:lnTo>
                  <a:pt x="337" y="532"/>
                </a:lnTo>
                <a:lnTo>
                  <a:pt x="335" y="527"/>
                </a:lnTo>
                <a:lnTo>
                  <a:pt x="333" y="515"/>
                </a:lnTo>
                <a:lnTo>
                  <a:pt x="332" y="504"/>
                </a:lnTo>
                <a:lnTo>
                  <a:pt x="332" y="482"/>
                </a:lnTo>
                <a:lnTo>
                  <a:pt x="333" y="464"/>
                </a:lnTo>
                <a:lnTo>
                  <a:pt x="333" y="451"/>
                </a:lnTo>
                <a:lnTo>
                  <a:pt x="335" y="439"/>
                </a:lnTo>
                <a:lnTo>
                  <a:pt x="337" y="428"/>
                </a:lnTo>
                <a:lnTo>
                  <a:pt x="342" y="417"/>
                </a:lnTo>
                <a:lnTo>
                  <a:pt x="345" y="406"/>
                </a:lnTo>
                <a:lnTo>
                  <a:pt x="351" y="397"/>
                </a:lnTo>
                <a:lnTo>
                  <a:pt x="355" y="389"/>
                </a:lnTo>
                <a:lnTo>
                  <a:pt x="362" y="380"/>
                </a:lnTo>
                <a:lnTo>
                  <a:pt x="373" y="364"/>
                </a:lnTo>
                <a:lnTo>
                  <a:pt x="384" y="347"/>
                </a:lnTo>
                <a:lnTo>
                  <a:pt x="388" y="338"/>
                </a:lnTo>
                <a:lnTo>
                  <a:pt x="392" y="330"/>
                </a:lnTo>
                <a:lnTo>
                  <a:pt x="397" y="320"/>
                </a:lnTo>
                <a:lnTo>
                  <a:pt x="399" y="310"/>
                </a:lnTo>
                <a:lnTo>
                  <a:pt x="399" y="297"/>
                </a:lnTo>
                <a:lnTo>
                  <a:pt x="397" y="286"/>
                </a:lnTo>
                <a:lnTo>
                  <a:pt x="393" y="276"/>
                </a:lnTo>
                <a:lnTo>
                  <a:pt x="389" y="267"/>
                </a:lnTo>
                <a:lnTo>
                  <a:pt x="384" y="260"/>
                </a:lnTo>
                <a:lnTo>
                  <a:pt x="378" y="253"/>
                </a:lnTo>
                <a:lnTo>
                  <a:pt x="373" y="246"/>
                </a:lnTo>
                <a:lnTo>
                  <a:pt x="366" y="240"/>
                </a:lnTo>
                <a:lnTo>
                  <a:pt x="354" y="229"/>
                </a:lnTo>
                <a:lnTo>
                  <a:pt x="343" y="217"/>
                </a:lnTo>
                <a:lnTo>
                  <a:pt x="339" y="209"/>
                </a:lnTo>
                <a:lnTo>
                  <a:pt x="335" y="201"/>
                </a:lnTo>
                <a:lnTo>
                  <a:pt x="333" y="192"/>
                </a:lnTo>
                <a:lnTo>
                  <a:pt x="333" y="180"/>
                </a:lnTo>
                <a:lnTo>
                  <a:pt x="333" y="176"/>
                </a:lnTo>
                <a:lnTo>
                  <a:pt x="335" y="173"/>
                </a:lnTo>
                <a:lnTo>
                  <a:pt x="339" y="170"/>
                </a:lnTo>
                <a:lnTo>
                  <a:pt x="343" y="167"/>
                </a:lnTo>
                <a:lnTo>
                  <a:pt x="353" y="164"/>
                </a:lnTo>
                <a:lnTo>
                  <a:pt x="365" y="162"/>
                </a:lnTo>
                <a:lnTo>
                  <a:pt x="389" y="162"/>
                </a:lnTo>
                <a:lnTo>
                  <a:pt x="406" y="162"/>
                </a:lnTo>
                <a:lnTo>
                  <a:pt x="402" y="160"/>
                </a:lnTo>
                <a:lnTo>
                  <a:pt x="399" y="156"/>
                </a:lnTo>
                <a:lnTo>
                  <a:pt x="395" y="151"/>
                </a:lnTo>
                <a:lnTo>
                  <a:pt x="391" y="146"/>
                </a:lnTo>
                <a:lnTo>
                  <a:pt x="385" y="132"/>
                </a:lnTo>
                <a:lnTo>
                  <a:pt x="379" y="117"/>
                </a:lnTo>
                <a:lnTo>
                  <a:pt x="375" y="101"/>
                </a:lnTo>
                <a:lnTo>
                  <a:pt x="373" y="83"/>
                </a:lnTo>
                <a:lnTo>
                  <a:pt x="371" y="73"/>
                </a:lnTo>
                <a:lnTo>
                  <a:pt x="371" y="64"/>
                </a:lnTo>
                <a:lnTo>
                  <a:pt x="371" y="54"/>
                </a:lnTo>
                <a:lnTo>
                  <a:pt x="373" y="45"/>
                </a:lnTo>
                <a:lnTo>
                  <a:pt x="371" y="33"/>
                </a:lnTo>
                <a:lnTo>
                  <a:pt x="369" y="21"/>
                </a:lnTo>
                <a:lnTo>
                  <a:pt x="367" y="11"/>
                </a:lnTo>
                <a:lnTo>
                  <a:pt x="366" y="2"/>
                </a:lnTo>
                <a:lnTo>
                  <a:pt x="357" y="1"/>
                </a:lnTo>
                <a:lnTo>
                  <a:pt x="347" y="0"/>
                </a:lnTo>
                <a:lnTo>
                  <a:pt x="346" y="2"/>
                </a:lnTo>
                <a:lnTo>
                  <a:pt x="330" y="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497" name="Freeform 449"/>
          <p:cNvSpPr>
            <a:spLocks/>
          </p:cNvSpPr>
          <p:nvPr>
            <p:custDataLst>
              <p:tags r:id="rId287"/>
            </p:custDataLst>
          </p:nvPr>
        </p:nvSpPr>
        <p:spPr bwMode="auto">
          <a:xfrm>
            <a:off x="8201026" y="3017838"/>
            <a:ext cx="55563" cy="57150"/>
          </a:xfrm>
          <a:custGeom>
            <a:avLst/>
            <a:gdLst>
              <a:gd name="T0" fmla="*/ 0 w 126"/>
              <a:gd name="T1" fmla="*/ 56 h 105"/>
              <a:gd name="T2" fmla="*/ 4 w 126"/>
              <a:gd name="T3" fmla="*/ 49 h 105"/>
              <a:gd name="T4" fmla="*/ 10 w 126"/>
              <a:gd name="T5" fmla="*/ 41 h 105"/>
              <a:gd name="T6" fmla="*/ 16 w 126"/>
              <a:gd name="T7" fmla="*/ 33 h 105"/>
              <a:gd name="T8" fmla="*/ 24 w 126"/>
              <a:gd name="T9" fmla="*/ 25 h 105"/>
              <a:gd name="T10" fmla="*/ 37 w 126"/>
              <a:gd name="T11" fmla="*/ 11 h 105"/>
              <a:gd name="T12" fmla="*/ 47 w 126"/>
              <a:gd name="T13" fmla="*/ 0 h 105"/>
              <a:gd name="T14" fmla="*/ 113 w 126"/>
              <a:gd name="T15" fmla="*/ 0 h 105"/>
              <a:gd name="T16" fmla="*/ 114 w 126"/>
              <a:gd name="T17" fmla="*/ 4 h 105"/>
              <a:gd name="T18" fmla="*/ 115 w 126"/>
              <a:gd name="T19" fmla="*/ 8 h 105"/>
              <a:gd name="T20" fmla="*/ 117 w 126"/>
              <a:gd name="T21" fmla="*/ 12 h 105"/>
              <a:gd name="T22" fmla="*/ 119 w 126"/>
              <a:gd name="T23" fmla="*/ 14 h 105"/>
              <a:gd name="T24" fmla="*/ 124 w 126"/>
              <a:gd name="T25" fmla="*/ 20 h 105"/>
              <a:gd name="T26" fmla="*/ 126 w 126"/>
              <a:gd name="T27" fmla="*/ 24 h 105"/>
              <a:gd name="T28" fmla="*/ 126 w 126"/>
              <a:gd name="T29" fmla="*/ 32 h 105"/>
              <a:gd name="T30" fmla="*/ 125 w 126"/>
              <a:gd name="T31" fmla="*/ 41 h 105"/>
              <a:gd name="T32" fmla="*/ 124 w 126"/>
              <a:gd name="T33" fmla="*/ 48 h 105"/>
              <a:gd name="T34" fmla="*/ 122 w 126"/>
              <a:gd name="T35" fmla="*/ 55 h 105"/>
              <a:gd name="T36" fmla="*/ 119 w 126"/>
              <a:gd name="T37" fmla="*/ 62 h 105"/>
              <a:gd name="T38" fmla="*/ 116 w 126"/>
              <a:gd name="T39" fmla="*/ 69 h 105"/>
              <a:gd name="T40" fmla="*/ 112 w 126"/>
              <a:gd name="T41" fmla="*/ 75 h 105"/>
              <a:gd name="T42" fmla="*/ 108 w 126"/>
              <a:gd name="T43" fmla="*/ 81 h 105"/>
              <a:gd name="T44" fmla="*/ 104 w 126"/>
              <a:gd name="T45" fmla="*/ 86 h 105"/>
              <a:gd name="T46" fmla="*/ 99 w 126"/>
              <a:gd name="T47" fmla="*/ 90 h 105"/>
              <a:gd name="T48" fmla="*/ 93 w 126"/>
              <a:gd name="T49" fmla="*/ 94 h 105"/>
              <a:gd name="T50" fmla="*/ 88 w 126"/>
              <a:gd name="T51" fmla="*/ 99 h 105"/>
              <a:gd name="T52" fmla="*/ 81 w 126"/>
              <a:gd name="T53" fmla="*/ 101 h 105"/>
              <a:gd name="T54" fmla="*/ 74 w 126"/>
              <a:gd name="T55" fmla="*/ 103 h 105"/>
              <a:gd name="T56" fmla="*/ 67 w 126"/>
              <a:gd name="T57" fmla="*/ 105 h 105"/>
              <a:gd name="T58" fmla="*/ 60 w 126"/>
              <a:gd name="T59" fmla="*/ 105 h 105"/>
              <a:gd name="T60" fmla="*/ 48 w 126"/>
              <a:gd name="T61" fmla="*/ 104 h 105"/>
              <a:gd name="T62" fmla="*/ 38 w 126"/>
              <a:gd name="T63" fmla="*/ 102 h 105"/>
              <a:gd name="T64" fmla="*/ 31 w 126"/>
              <a:gd name="T65" fmla="*/ 98 h 105"/>
              <a:gd name="T66" fmla="*/ 24 w 126"/>
              <a:gd name="T67" fmla="*/ 92 h 105"/>
              <a:gd name="T68" fmla="*/ 20 w 126"/>
              <a:gd name="T69" fmla="*/ 86 h 105"/>
              <a:gd name="T70" fmla="*/ 16 w 126"/>
              <a:gd name="T71" fmla="*/ 78 h 105"/>
              <a:gd name="T72" fmla="*/ 14 w 126"/>
              <a:gd name="T73" fmla="*/ 70 h 105"/>
              <a:gd name="T74" fmla="*/ 13 w 126"/>
              <a:gd name="T75" fmla="*/ 62 h 105"/>
              <a:gd name="T76" fmla="*/ 0 w 126"/>
              <a:gd name="T77" fmla="*/ 56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26" h="105">
                <a:moveTo>
                  <a:pt x="0" y="56"/>
                </a:moveTo>
                <a:lnTo>
                  <a:pt x="4" y="49"/>
                </a:lnTo>
                <a:lnTo>
                  <a:pt x="10" y="41"/>
                </a:lnTo>
                <a:lnTo>
                  <a:pt x="16" y="33"/>
                </a:lnTo>
                <a:lnTo>
                  <a:pt x="24" y="25"/>
                </a:lnTo>
                <a:lnTo>
                  <a:pt x="37" y="11"/>
                </a:lnTo>
                <a:lnTo>
                  <a:pt x="47" y="0"/>
                </a:lnTo>
                <a:lnTo>
                  <a:pt x="113" y="0"/>
                </a:lnTo>
                <a:lnTo>
                  <a:pt x="114" y="4"/>
                </a:lnTo>
                <a:lnTo>
                  <a:pt x="115" y="8"/>
                </a:lnTo>
                <a:lnTo>
                  <a:pt x="117" y="12"/>
                </a:lnTo>
                <a:lnTo>
                  <a:pt x="119" y="14"/>
                </a:lnTo>
                <a:lnTo>
                  <a:pt x="124" y="20"/>
                </a:lnTo>
                <a:lnTo>
                  <a:pt x="126" y="24"/>
                </a:lnTo>
                <a:lnTo>
                  <a:pt x="126" y="32"/>
                </a:lnTo>
                <a:lnTo>
                  <a:pt x="125" y="41"/>
                </a:lnTo>
                <a:lnTo>
                  <a:pt x="124" y="48"/>
                </a:lnTo>
                <a:lnTo>
                  <a:pt x="122" y="55"/>
                </a:lnTo>
                <a:lnTo>
                  <a:pt x="119" y="62"/>
                </a:lnTo>
                <a:lnTo>
                  <a:pt x="116" y="69"/>
                </a:lnTo>
                <a:lnTo>
                  <a:pt x="112" y="75"/>
                </a:lnTo>
                <a:lnTo>
                  <a:pt x="108" y="81"/>
                </a:lnTo>
                <a:lnTo>
                  <a:pt x="104" y="86"/>
                </a:lnTo>
                <a:lnTo>
                  <a:pt x="99" y="90"/>
                </a:lnTo>
                <a:lnTo>
                  <a:pt x="93" y="94"/>
                </a:lnTo>
                <a:lnTo>
                  <a:pt x="88" y="99"/>
                </a:lnTo>
                <a:lnTo>
                  <a:pt x="81" y="101"/>
                </a:lnTo>
                <a:lnTo>
                  <a:pt x="74" y="103"/>
                </a:lnTo>
                <a:lnTo>
                  <a:pt x="67" y="105"/>
                </a:lnTo>
                <a:lnTo>
                  <a:pt x="60" y="105"/>
                </a:lnTo>
                <a:lnTo>
                  <a:pt x="48" y="104"/>
                </a:lnTo>
                <a:lnTo>
                  <a:pt x="38" y="102"/>
                </a:lnTo>
                <a:lnTo>
                  <a:pt x="31" y="98"/>
                </a:lnTo>
                <a:lnTo>
                  <a:pt x="24" y="92"/>
                </a:lnTo>
                <a:lnTo>
                  <a:pt x="20" y="86"/>
                </a:lnTo>
                <a:lnTo>
                  <a:pt x="16" y="78"/>
                </a:lnTo>
                <a:lnTo>
                  <a:pt x="14" y="70"/>
                </a:lnTo>
                <a:lnTo>
                  <a:pt x="13" y="62"/>
                </a:lnTo>
                <a:lnTo>
                  <a:pt x="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498" name="Freeform 450"/>
          <p:cNvSpPr>
            <a:spLocks/>
          </p:cNvSpPr>
          <p:nvPr>
            <p:custDataLst>
              <p:tags r:id="rId288"/>
            </p:custDataLst>
          </p:nvPr>
        </p:nvSpPr>
        <p:spPr bwMode="auto">
          <a:xfrm>
            <a:off x="3556000" y="3281364"/>
            <a:ext cx="298450" cy="523875"/>
          </a:xfrm>
          <a:custGeom>
            <a:avLst/>
            <a:gdLst>
              <a:gd name="T0" fmla="*/ 671 w 684"/>
              <a:gd name="T1" fmla="*/ 573 h 998"/>
              <a:gd name="T2" fmla="*/ 680 w 684"/>
              <a:gd name="T3" fmla="*/ 550 h 998"/>
              <a:gd name="T4" fmla="*/ 671 w 684"/>
              <a:gd name="T5" fmla="*/ 491 h 998"/>
              <a:gd name="T6" fmla="*/ 659 w 684"/>
              <a:gd name="T7" fmla="*/ 423 h 998"/>
              <a:gd name="T8" fmla="*/ 678 w 684"/>
              <a:gd name="T9" fmla="*/ 389 h 998"/>
              <a:gd name="T10" fmla="*/ 557 w 684"/>
              <a:gd name="T11" fmla="*/ 361 h 998"/>
              <a:gd name="T12" fmla="*/ 533 w 684"/>
              <a:gd name="T13" fmla="*/ 326 h 998"/>
              <a:gd name="T14" fmla="*/ 462 w 684"/>
              <a:gd name="T15" fmla="*/ 310 h 998"/>
              <a:gd name="T16" fmla="*/ 402 w 684"/>
              <a:gd name="T17" fmla="*/ 270 h 998"/>
              <a:gd name="T18" fmla="*/ 375 w 684"/>
              <a:gd name="T19" fmla="*/ 201 h 998"/>
              <a:gd name="T20" fmla="*/ 375 w 684"/>
              <a:gd name="T21" fmla="*/ 133 h 998"/>
              <a:gd name="T22" fmla="*/ 395 w 684"/>
              <a:gd name="T23" fmla="*/ 84 h 998"/>
              <a:gd name="T24" fmla="*/ 435 w 684"/>
              <a:gd name="T25" fmla="*/ 48 h 998"/>
              <a:gd name="T26" fmla="*/ 463 w 684"/>
              <a:gd name="T27" fmla="*/ 11 h 998"/>
              <a:gd name="T28" fmla="*/ 389 w 684"/>
              <a:gd name="T29" fmla="*/ 39 h 998"/>
              <a:gd name="T30" fmla="*/ 335 w 684"/>
              <a:gd name="T31" fmla="*/ 68 h 998"/>
              <a:gd name="T32" fmla="*/ 304 w 684"/>
              <a:gd name="T33" fmla="*/ 78 h 998"/>
              <a:gd name="T34" fmla="*/ 278 w 684"/>
              <a:gd name="T35" fmla="*/ 84 h 998"/>
              <a:gd name="T36" fmla="*/ 241 w 684"/>
              <a:gd name="T37" fmla="*/ 81 h 998"/>
              <a:gd name="T38" fmla="*/ 217 w 684"/>
              <a:gd name="T39" fmla="*/ 108 h 998"/>
              <a:gd name="T40" fmla="*/ 196 w 684"/>
              <a:gd name="T41" fmla="*/ 175 h 998"/>
              <a:gd name="T42" fmla="*/ 157 w 684"/>
              <a:gd name="T43" fmla="*/ 227 h 998"/>
              <a:gd name="T44" fmla="*/ 107 w 684"/>
              <a:gd name="T45" fmla="*/ 284 h 998"/>
              <a:gd name="T46" fmla="*/ 90 w 684"/>
              <a:gd name="T47" fmla="*/ 317 h 998"/>
              <a:gd name="T48" fmla="*/ 86 w 684"/>
              <a:gd name="T49" fmla="*/ 356 h 998"/>
              <a:gd name="T50" fmla="*/ 97 w 684"/>
              <a:gd name="T51" fmla="*/ 382 h 998"/>
              <a:gd name="T52" fmla="*/ 97 w 684"/>
              <a:gd name="T53" fmla="*/ 451 h 998"/>
              <a:gd name="T54" fmla="*/ 95 w 684"/>
              <a:gd name="T55" fmla="*/ 525 h 998"/>
              <a:gd name="T56" fmla="*/ 72 w 684"/>
              <a:gd name="T57" fmla="*/ 563 h 998"/>
              <a:gd name="T58" fmla="*/ 37 w 684"/>
              <a:gd name="T59" fmla="*/ 592 h 998"/>
              <a:gd name="T60" fmla="*/ 11 w 684"/>
              <a:gd name="T61" fmla="*/ 612 h 998"/>
              <a:gd name="T62" fmla="*/ 30 w 684"/>
              <a:gd name="T63" fmla="*/ 668 h 998"/>
              <a:gd name="T64" fmla="*/ 123 w 684"/>
              <a:gd name="T65" fmla="*/ 725 h 998"/>
              <a:gd name="T66" fmla="*/ 175 w 684"/>
              <a:gd name="T67" fmla="*/ 728 h 998"/>
              <a:gd name="T68" fmla="*/ 234 w 684"/>
              <a:gd name="T69" fmla="*/ 746 h 998"/>
              <a:gd name="T70" fmla="*/ 299 w 684"/>
              <a:gd name="T71" fmla="*/ 795 h 998"/>
              <a:gd name="T72" fmla="*/ 337 w 684"/>
              <a:gd name="T73" fmla="*/ 850 h 998"/>
              <a:gd name="T74" fmla="*/ 367 w 684"/>
              <a:gd name="T75" fmla="*/ 881 h 998"/>
              <a:gd name="T76" fmla="*/ 412 w 684"/>
              <a:gd name="T77" fmla="*/ 886 h 998"/>
              <a:gd name="T78" fmla="*/ 462 w 684"/>
              <a:gd name="T79" fmla="*/ 876 h 998"/>
              <a:gd name="T80" fmla="*/ 492 w 684"/>
              <a:gd name="T81" fmla="*/ 878 h 998"/>
              <a:gd name="T82" fmla="*/ 515 w 684"/>
              <a:gd name="T83" fmla="*/ 904 h 998"/>
              <a:gd name="T84" fmla="*/ 513 w 684"/>
              <a:gd name="T85" fmla="*/ 922 h 998"/>
              <a:gd name="T86" fmla="*/ 488 w 684"/>
              <a:gd name="T87" fmla="*/ 937 h 998"/>
              <a:gd name="T88" fmla="*/ 488 w 684"/>
              <a:gd name="T89" fmla="*/ 963 h 998"/>
              <a:gd name="T90" fmla="*/ 511 w 684"/>
              <a:gd name="T91" fmla="*/ 994 h 998"/>
              <a:gd name="T92" fmla="*/ 542 w 684"/>
              <a:gd name="T93" fmla="*/ 962 h 998"/>
              <a:gd name="T94" fmla="*/ 566 w 684"/>
              <a:gd name="T95" fmla="*/ 861 h 998"/>
              <a:gd name="T96" fmla="*/ 571 w 684"/>
              <a:gd name="T97" fmla="*/ 803 h 998"/>
              <a:gd name="T98" fmla="*/ 555 w 684"/>
              <a:gd name="T99" fmla="*/ 771 h 998"/>
              <a:gd name="T100" fmla="*/ 523 w 684"/>
              <a:gd name="T101" fmla="*/ 749 h 998"/>
              <a:gd name="T102" fmla="*/ 521 w 684"/>
              <a:gd name="T103" fmla="*/ 723 h 998"/>
              <a:gd name="T104" fmla="*/ 566 w 684"/>
              <a:gd name="T105" fmla="*/ 700 h 998"/>
              <a:gd name="T106" fmla="*/ 556 w 684"/>
              <a:gd name="T107" fmla="*/ 665 h 998"/>
              <a:gd name="T108" fmla="*/ 556 w 684"/>
              <a:gd name="T109" fmla="*/ 649 h 998"/>
              <a:gd name="T110" fmla="*/ 655 w 684"/>
              <a:gd name="T111" fmla="*/ 628 h 9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684" h="998">
                <a:moveTo>
                  <a:pt x="684" y="622"/>
                </a:moveTo>
                <a:lnTo>
                  <a:pt x="680" y="609"/>
                </a:lnTo>
                <a:lnTo>
                  <a:pt x="676" y="596"/>
                </a:lnTo>
                <a:lnTo>
                  <a:pt x="672" y="583"/>
                </a:lnTo>
                <a:lnTo>
                  <a:pt x="671" y="573"/>
                </a:lnTo>
                <a:lnTo>
                  <a:pt x="671" y="568"/>
                </a:lnTo>
                <a:lnTo>
                  <a:pt x="673" y="564"/>
                </a:lnTo>
                <a:lnTo>
                  <a:pt x="676" y="559"/>
                </a:lnTo>
                <a:lnTo>
                  <a:pt x="678" y="555"/>
                </a:lnTo>
                <a:lnTo>
                  <a:pt x="680" y="550"/>
                </a:lnTo>
                <a:lnTo>
                  <a:pt x="682" y="546"/>
                </a:lnTo>
                <a:lnTo>
                  <a:pt x="683" y="541"/>
                </a:lnTo>
                <a:lnTo>
                  <a:pt x="684" y="537"/>
                </a:lnTo>
                <a:lnTo>
                  <a:pt x="680" y="519"/>
                </a:lnTo>
                <a:lnTo>
                  <a:pt x="671" y="491"/>
                </a:lnTo>
                <a:lnTo>
                  <a:pt x="666" y="475"/>
                </a:lnTo>
                <a:lnTo>
                  <a:pt x="662" y="459"/>
                </a:lnTo>
                <a:lnTo>
                  <a:pt x="659" y="444"/>
                </a:lnTo>
                <a:lnTo>
                  <a:pt x="658" y="432"/>
                </a:lnTo>
                <a:lnTo>
                  <a:pt x="659" y="423"/>
                </a:lnTo>
                <a:lnTo>
                  <a:pt x="661" y="415"/>
                </a:lnTo>
                <a:lnTo>
                  <a:pt x="665" y="409"/>
                </a:lnTo>
                <a:lnTo>
                  <a:pt x="669" y="403"/>
                </a:lnTo>
                <a:lnTo>
                  <a:pt x="673" y="396"/>
                </a:lnTo>
                <a:lnTo>
                  <a:pt x="678" y="389"/>
                </a:lnTo>
                <a:lnTo>
                  <a:pt x="681" y="381"/>
                </a:lnTo>
                <a:lnTo>
                  <a:pt x="684" y="370"/>
                </a:lnTo>
                <a:lnTo>
                  <a:pt x="571" y="370"/>
                </a:lnTo>
                <a:lnTo>
                  <a:pt x="564" y="366"/>
                </a:lnTo>
                <a:lnTo>
                  <a:pt x="557" y="361"/>
                </a:lnTo>
                <a:lnTo>
                  <a:pt x="550" y="355"/>
                </a:lnTo>
                <a:lnTo>
                  <a:pt x="544" y="347"/>
                </a:lnTo>
                <a:lnTo>
                  <a:pt x="539" y="340"/>
                </a:lnTo>
                <a:lnTo>
                  <a:pt x="535" y="333"/>
                </a:lnTo>
                <a:lnTo>
                  <a:pt x="533" y="326"/>
                </a:lnTo>
                <a:lnTo>
                  <a:pt x="532" y="321"/>
                </a:lnTo>
                <a:lnTo>
                  <a:pt x="512" y="320"/>
                </a:lnTo>
                <a:lnTo>
                  <a:pt x="494" y="318"/>
                </a:lnTo>
                <a:lnTo>
                  <a:pt x="477" y="315"/>
                </a:lnTo>
                <a:lnTo>
                  <a:pt x="462" y="310"/>
                </a:lnTo>
                <a:lnTo>
                  <a:pt x="447" y="304"/>
                </a:lnTo>
                <a:lnTo>
                  <a:pt x="434" y="298"/>
                </a:lnTo>
                <a:lnTo>
                  <a:pt x="423" y="290"/>
                </a:lnTo>
                <a:lnTo>
                  <a:pt x="412" y="281"/>
                </a:lnTo>
                <a:lnTo>
                  <a:pt x="402" y="270"/>
                </a:lnTo>
                <a:lnTo>
                  <a:pt x="395" y="259"/>
                </a:lnTo>
                <a:lnTo>
                  <a:pt x="388" y="246"/>
                </a:lnTo>
                <a:lnTo>
                  <a:pt x="382" y="232"/>
                </a:lnTo>
                <a:lnTo>
                  <a:pt x="378" y="218"/>
                </a:lnTo>
                <a:lnTo>
                  <a:pt x="375" y="201"/>
                </a:lnTo>
                <a:lnTo>
                  <a:pt x="373" y="184"/>
                </a:lnTo>
                <a:lnTo>
                  <a:pt x="373" y="167"/>
                </a:lnTo>
                <a:lnTo>
                  <a:pt x="373" y="155"/>
                </a:lnTo>
                <a:lnTo>
                  <a:pt x="374" y="144"/>
                </a:lnTo>
                <a:lnTo>
                  <a:pt x="375" y="133"/>
                </a:lnTo>
                <a:lnTo>
                  <a:pt x="377" y="123"/>
                </a:lnTo>
                <a:lnTo>
                  <a:pt x="380" y="113"/>
                </a:lnTo>
                <a:lnTo>
                  <a:pt x="385" y="103"/>
                </a:lnTo>
                <a:lnTo>
                  <a:pt x="389" y="94"/>
                </a:lnTo>
                <a:lnTo>
                  <a:pt x="395" y="84"/>
                </a:lnTo>
                <a:lnTo>
                  <a:pt x="401" y="76"/>
                </a:lnTo>
                <a:lnTo>
                  <a:pt x="408" y="68"/>
                </a:lnTo>
                <a:lnTo>
                  <a:pt x="416" y="61"/>
                </a:lnTo>
                <a:lnTo>
                  <a:pt x="425" y="54"/>
                </a:lnTo>
                <a:lnTo>
                  <a:pt x="435" y="48"/>
                </a:lnTo>
                <a:lnTo>
                  <a:pt x="446" y="42"/>
                </a:lnTo>
                <a:lnTo>
                  <a:pt x="458" y="36"/>
                </a:lnTo>
                <a:lnTo>
                  <a:pt x="471" y="31"/>
                </a:lnTo>
                <a:lnTo>
                  <a:pt x="471" y="18"/>
                </a:lnTo>
                <a:lnTo>
                  <a:pt x="463" y="11"/>
                </a:lnTo>
                <a:lnTo>
                  <a:pt x="455" y="7"/>
                </a:lnTo>
                <a:lnTo>
                  <a:pt x="447" y="4"/>
                </a:lnTo>
                <a:lnTo>
                  <a:pt x="438" y="0"/>
                </a:lnTo>
                <a:lnTo>
                  <a:pt x="414" y="19"/>
                </a:lnTo>
                <a:lnTo>
                  <a:pt x="389" y="39"/>
                </a:lnTo>
                <a:lnTo>
                  <a:pt x="378" y="48"/>
                </a:lnTo>
                <a:lnTo>
                  <a:pt x="367" y="56"/>
                </a:lnTo>
                <a:lnTo>
                  <a:pt x="356" y="63"/>
                </a:lnTo>
                <a:lnTo>
                  <a:pt x="345" y="68"/>
                </a:lnTo>
                <a:lnTo>
                  <a:pt x="335" y="68"/>
                </a:lnTo>
                <a:lnTo>
                  <a:pt x="326" y="68"/>
                </a:lnTo>
                <a:lnTo>
                  <a:pt x="319" y="68"/>
                </a:lnTo>
                <a:lnTo>
                  <a:pt x="312" y="68"/>
                </a:lnTo>
                <a:lnTo>
                  <a:pt x="309" y="74"/>
                </a:lnTo>
                <a:lnTo>
                  <a:pt x="304" y="78"/>
                </a:lnTo>
                <a:lnTo>
                  <a:pt x="299" y="81"/>
                </a:lnTo>
                <a:lnTo>
                  <a:pt x="295" y="83"/>
                </a:lnTo>
                <a:lnTo>
                  <a:pt x="289" y="85"/>
                </a:lnTo>
                <a:lnTo>
                  <a:pt x="284" y="85"/>
                </a:lnTo>
                <a:lnTo>
                  <a:pt x="278" y="84"/>
                </a:lnTo>
                <a:lnTo>
                  <a:pt x="273" y="84"/>
                </a:lnTo>
                <a:lnTo>
                  <a:pt x="262" y="82"/>
                </a:lnTo>
                <a:lnTo>
                  <a:pt x="251" y="81"/>
                </a:lnTo>
                <a:lnTo>
                  <a:pt x="245" y="81"/>
                </a:lnTo>
                <a:lnTo>
                  <a:pt x="241" y="81"/>
                </a:lnTo>
                <a:lnTo>
                  <a:pt x="236" y="83"/>
                </a:lnTo>
                <a:lnTo>
                  <a:pt x="233" y="86"/>
                </a:lnTo>
                <a:lnTo>
                  <a:pt x="225" y="94"/>
                </a:lnTo>
                <a:lnTo>
                  <a:pt x="221" y="101"/>
                </a:lnTo>
                <a:lnTo>
                  <a:pt x="217" y="108"/>
                </a:lnTo>
                <a:lnTo>
                  <a:pt x="213" y="114"/>
                </a:lnTo>
                <a:lnTo>
                  <a:pt x="209" y="128"/>
                </a:lnTo>
                <a:lnTo>
                  <a:pt x="206" y="143"/>
                </a:lnTo>
                <a:lnTo>
                  <a:pt x="201" y="159"/>
                </a:lnTo>
                <a:lnTo>
                  <a:pt x="196" y="175"/>
                </a:lnTo>
                <a:lnTo>
                  <a:pt x="192" y="183"/>
                </a:lnTo>
                <a:lnTo>
                  <a:pt x="187" y="191"/>
                </a:lnTo>
                <a:lnTo>
                  <a:pt x="180" y="200"/>
                </a:lnTo>
                <a:lnTo>
                  <a:pt x="173" y="210"/>
                </a:lnTo>
                <a:lnTo>
                  <a:pt x="157" y="227"/>
                </a:lnTo>
                <a:lnTo>
                  <a:pt x="140" y="244"/>
                </a:lnTo>
                <a:lnTo>
                  <a:pt x="131" y="253"/>
                </a:lnTo>
                <a:lnTo>
                  <a:pt x="122" y="263"/>
                </a:lnTo>
                <a:lnTo>
                  <a:pt x="115" y="273"/>
                </a:lnTo>
                <a:lnTo>
                  <a:pt x="107" y="284"/>
                </a:lnTo>
                <a:lnTo>
                  <a:pt x="102" y="288"/>
                </a:lnTo>
                <a:lnTo>
                  <a:pt x="98" y="294"/>
                </a:lnTo>
                <a:lnTo>
                  <a:pt x="96" y="299"/>
                </a:lnTo>
                <a:lnTo>
                  <a:pt x="94" y="305"/>
                </a:lnTo>
                <a:lnTo>
                  <a:pt x="90" y="317"/>
                </a:lnTo>
                <a:lnTo>
                  <a:pt x="86" y="327"/>
                </a:lnTo>
                <a:lnTo>
                  <a:pt x="85" y="331"/>
                </a:lnTo>
                <a:lnTo>
                  <a:pt x="84" y="338"/>
                </a:lnTo>
                <a:lnTo>
                  <a:pt x="84" y="347"/>
                </a:lnTo>
                <a:lnTo>
                  <a:pt x="86" y="356"/>
                </a:lnTo>
                <a:lnTo>
                  <a:pt x="88" y="366"/>
                </a:lnTo>
                <a:lnTo>
                  <a:pt x="91" y="375"/>
                </a:lnTo>
                <a:lnTo>
                  <a:pt x="93" y="378"/>
                </a:lnTo>
                <a:lnTo>
                  <a:pt x="95" y="380"/>
                </a:lnTo>
                <a:lnTo>
                  <a:pt x="97" y="382"/>
                </a:lnTo>
                <a:lnTo>
                  <a:pt x="100" y="382"/>
                </a:lnTo>
                <a:lnTo>
                  <a:pt x="98" y="397"/>
                </a:lnTo>
                <a:lnTo>
                  <a:pt x="97" y="414"/>
                </a:lnTo>
                <a:lnTo>
                  <a:pt x="97" y="433"/>
                </a:lnTo>
                <a:lnTo>
                  <a:pt x="97" y="451"/>
                </a:lnTo>
                <a:lnTo>
                  <a:pt x="99" y="484"/>
                </a:lnTo>
                <a:lnTo>
                  <a:pt x="100" y="505"/>
                </a:lnTo>
                <a:lnTo>
                  <a:pt x="99" y="511"/>
                </a:lnTo>
                <a:lnTo>
                  <a:pt x="98" y="518"/>
                </a:lnTo>
                <a:lnTo>
                  <a:pt x="95" y="525"/>
                </a:lnTo>
                <a:lnTo>
                  <a:pt x="91" y="532"/>
                </a:lnTo>
                <a:lnTo>
                  <a:pt x="88" y="541"/>
                </a:lnTo>
                <a:lnTo>
                  <a:pt x="83" y="548"/>
                </a:lnTo>
                <a:lnTo>
                  <a:pt x="77" y="556"/>
                </a:lnTo>
                <a:lnTo>
                  <a:pt x="72" y="563"/>
                </a:lnTo>
                <a:lnTo>
                  <a:pt x="65" y="570"/>
                </a:lnTo>
                <a:lnTo>
                  <a:pt x="59" y="576"/>
                </a:lnTo>
                <a:lnTo>
                  <a:pt x="51" y="582"/>
                </a:lnTo>
                <a:lnTo>
                  <a:pt x="43" y="587"/>
                </a:lnTo>
                <a:lnTo>
                  <a:pt x="37" y="592"/>
                </a:lnTo>
                <a:lnTo>
                  <a:pt x="29" y="596"/>
                </a:lnTo>
                <a:lnTo>
                  <a:pt x="21" y="598"/>
                </a:lnTo>
                <a:lnTo>
                  <a:pt x="14" y="598"/>
                </a:lnTo>
                <a:lnTo>
                  <a:pt x="12" y="605"/>
                </a:lnTo>
                <a:lnTo>
                  <a:pt x="11" y="612"/>
                </a:lnTo>
                <a:lnTo>
                  <a:pt x="9" y="618"/>
                </a:lnTo>
                <a:lnTo>
                  <a:pt x="7" y="625"/>
                </a:lnTo>
                <a:lnTo>
                  <a:pt x="3" y="637"/>
                </a:lnTo>
                <a:lnTo>
                  <a:pt x="0" y="648"/>
                </a:lnTo>
                <a:lnTo>
                  <a:pt x="30" y="668"/>
                </a:lnTo>
                <a:lnTo>
                  <a:pt x="67" y="694"/>
                </a:lnTo>
                <a:lnTo>
                  <a:pt x="87" y="707"/>
                </a:lnTo>
                <a:lnTo>
                  <a:pt x="106" y="718"/>
                </a:lnTo>
                <a:lnTo>
                  <a:pt x="115" y="722"/>
                </a:lnTo>
                <a:lnTo>
                  <a:pt x="123" y="725"/>
                </a:lnTo>
                <a:lnTo>
                  <a:pt x="132" y="727"/>
                </a:lnTo>
                <a:lnTo>
                  <a:pt x="140" y="727"/>
                </a:lnTo>
                <a:lnTo>
                  <a:pt x="153" y="727"/>
                </a:lnTo>
                <a:lnTo>
                  <a:pt x="166" y="727"/>
                </a:lnTo>
                <a:lnTo>
                  <a:pt x="175" y="728"/>
                </a:lnTo>
                <a:lnTo>
                  <a:pt x="184" y="729"/>
                </a:lnTo>
                <a:lnTo>
                  <a:pt x="192" y="730"/>
                </a:lnTo>
                <a:lnTo>
                  <a:pt x="201" y="732"/>
                </a:lnTo>
                <a:lnTo>
                  <a:pt x="218" y="738"/>
                </a:lnTo>
                <a:lnTo>
                  <a:pt x="234" y="746"/>
                </a:lnTo>
                <a:lnTo>
                  <a:pt x="250" y="755"/>
                </a:lnTo>
                <a:lnTo>
                  <a:pt x="265" y="767"/>
                </a:lnTo>
                <a:lnTo>
                  <a:pt x="279" y="778"/>
                </a:lnTo>
                <a:lnTo>
                  <a:pt x="292" y="789"/>
                </a:lnTo>
                <a:lnTo>
                  <a:pt x="299" y="795"/>
                </a:lnTo>
                <a:lnTo>
                  <a:pt x="306" y="802"/>
                </a:lnTo>
                <a:lnTo>
                  <a:pt x="312" y="809"/>
                </a:lnTo>
                <a:lnTo>
                  <a:pt x="318" y="818"/>
                </a:lnTo>
                <a:lnTo>
                  <a:pt x="328" y="834"/>
                </a:lnTo>
                <a:lnTo>
                  <a:pt x="337" y="850"/>
                </a:lnTo>
                <a:lnTo>
                  <a:pt x="342" y="857"/>
                </a:lnTo>
                <a:lnTo>
                  <a:pt x="347" y="864"/>
                </a:lnTo>
                <a:lnTo>
                  <a:pt x="354" y="871"/>
                </a:lnTo>
                <a:lnTo>
                  <a:pt x="359" y="877"/>
                </a:lnTo>
                <a:lnTo>
                  <a:pt x="367" y="881"/>
                </a:lnTo>
                <a:lnTo>
                  <a:pt x="374" y="885"/>
                </a:lnTo>
                <a:lnTo>
                  <a:pt x="382" y="887"/>
                </a:lnTo>
                <a:lnTo>
                  <a:pt x="392" y="888"/>
                </a:lnTo>
                <a:lnTo>
                  <a:pt x="402" y="887"/>
                </a:lnTo>
                <a:lnTo>
                  <a:pt x="412" y="886"/>
                </a:lnTo>
                <a:lnTo>
                  <a:pt x="422" y="884"/>
                </a:lnTo>
                <a:lnTo>
                  <a:pt x="432" y="882"/>
                </a:lnTo>
                <a:lnTo>
                  <a:pt x="442" y="879"/>
                </a:lnTo>
                <a:lnTo>
                  <a:pt x="452" y="877"/>
                </a:lnTo>
                <a:lnTo>
                  <a:pt x="462" y="876"/>
                </a:lnTo>
                <a:lnTo>
                  <a:pt x="471" y="875"/>
                </a:lnTo>
                <a:lnTo>
                  <a:pt x="478" y="876"/>
                </a:lnTo>
                <a:lnTo>
                  <a:pt x="485" y="878"/>
                </a:lnTo>
                <a:lnTo>
                  <a:pt x="489" y="878"/>
                </a:lnTo>
                <a:lnTo>
                  <a:pt x="492" y="878"/>
                </a:lnTo>
                <a:lnTo>
                  <a:pt x="496" y="877"/>
                </a:lnTo>
                <a:lnTo>
                  <a:pt x="499" y="875"/>
                </a:lnTo>
                <a:lnTo>
                  <a:pt x="501" y="883"/>
                </a:lnTo>
                <a:lnTo>
                  <a:pt x="509" y="894"/>
                </a:lnTo>
                <a:lnTo>
                  <a:pt x="515" y="904"/>
                </a:lnTo>
                <a:lnTo>
                  <a:pt x="519" y="912"/>
                </a:lnTo>
                <a:lnTo>
                  <a:pt x="518" y="915"/>
                </a:lnTo>
                <a:lnTo>
                  <a:pt x="516" y="918"/>
                </a:lnTo>
                <a:lnTo>
                  <a:pt x="515" y="920"/>
                </a:lnTo>
                <a:lnTo>
                  <a:pt x="513" y="922"/>
                </a:lnTo>
                <a:lnTo>
                  <a:pt x="508" y="927"/>
                </a:lnTo>
                <a:lnTo>
                  <a:pt x="502" y="930"/>
                </a:lnTo>
                <a:lnTo>
                  <a:pt x="496" y="933"/>
                </a:lnTo>
                <a:lnTo>
                  <a:pt x="490" y="936"/>
                </a:lnTo>
                <a:lnTo>
                  <a:pt x="488" y="937"/>
                </a:lnTo>
                <a:lnTo>
                  <a:pt x="487" y="939"/>
                </a:lnTo>
                <a:lnTo>
                  <a:pt x="486" y="941"/>
                </a:lnTo>
                <a:lnTo>
                  <a:pt x="485" y="943"/>
                </a:lnTo>
                <a:lnTo>
                  <a:pt x="486" y="954"/>
                </a:lnTo>
                <a:lnTo>
                  <a:pt x="488" y="963"/>
                </a:lnTo>
                <a:lnTo>
                  <a:pt x="490" y="970"/>
                </a:lnTo>
                <a:lnTo>
                  <a:pt x="494" y="977"/>
                </a:lnTo>
                <a:lnTo>
                  <a:pt x="499" y="984"/>
                </a:lnTo>
                <a:lnTo>
                  <a:pt x="504" y="989"/>
                </a:lnTo>
                <a:lnTo>
                  <a:pt x="511" y="994"/>
                </a:lnTo>
                <a:lnTo>
                  <a:pt x="519" y="998"/>
                </a:lnTo>
                <a:lnTo>
                  <a:pt x="538" y="998"/>
                </a:lnTo>
                <a:lnTo>
                  <a:pt x="538" y="986"/>
                </a:lnTo>
                <a:lnTo>
                  <a:pt x="539" y="973"/>
                </a:lnTo>
                <a:lnTo>
                  <a:pt x="542" y="962"/>
                </a:lnTo>
                <a:lnTo>
                  <a:pt x="544" y="950"/>
                </a:lnTo>
                <a:lnTo>
                  <a:pt x="548" y="928"/>
                </a:lnTo>
                <a:lnTo>
                  <a:pt x="555" y="906"/>
                </a:lnTo>
                <a:lnTo>
                  <a:pt x="561" y="884"/>
                </a:lnTo>
                <a:lnTo>
                  <a:pt x="566" y="861"/>
                </a:lnTo>
                <a:lnTo>
                  <a:pt x="568" y="850"/>
                </a:lnTo>
                <a:lnTo>
                  <a:pt x="570" y="838"/>
                </a:lnTo>
                <a:lnTo>
                  <a:pt x="571" y="826"/>
                </a:lnTo>
                <a:lnTo>
                  <a:pt x="571" y="813"/>
                </a:lnTo>
                <a:lnTo>
                  <a:pt x="571" y="803"/>
                </a:lnTo>
                <a:lnTo>
                  <a:pt x="569" y="794"/>
                </a:lnTo>
                <a:lnTo>
                  <a:pt x="567" y="786"/>
                </a:lnTo>
                <a:lnTo>
                  <a:pt x="564" y="780"/>
                </a:lnTo>
                <a:lnTo>
                  <a:pt x="559" y="775"/>
                </a:lnTo>
                <a:lnTo>
                  <a:pt x="555" y="771"/>
                </a:lnTo>
                <a:lnTo>
                  <a:pt x="549" y="768"/>
                </a:lnTo>
                <a:lnTo>
                  <a:pt x="545" y="765"/>
                </a:lnTo>
                <a:lnTo>
                  <a:pt x="535" y="759"/>
                </a:lnTo>
                <a:lnTo>
                  <a:pt x="526" y="752"/>
                </a:lnTo>
                <a:lnTo>
                  <a:pt x="523" y="749"/>
                </a:lnTo>
                <a:lnTo>
                  <a:pt x="521" y="745"/>
                </a:lnTo>
                <a:lnTo>
                  <a:pt x="519" y="740"/>
                </a:lnTo>
                <a:lnTo>
                  <a:pt x="519" y="733"/>
                </a:lnTo>
                <a:lnTo>
                  <a:pt x="519" y="728"/>
                </a:lnTo>
                <a:lnTo>
                  <a:pt x="521" y="723"/>
                </a:lnTo>
                <a:lnTo>
                  <a:pt x="523" y="719"/>
                </a:lnTo>
                <a:lnTo>
                  <a:pt x="526" y="716"/>
                </a:lnTo>
                <a:lnTo>
                  <a:pt x="535" y="710"/>
                </a:lnTo>
                <a:lnTo>
                  <a:pt x="546" y="706"/>
                </a:lnTo>
                <a:lnTo>
                  <a:pt x="566" y="700"/>
                </a:lnTo>
                <a:lnTo>
                  <a:pt x="578" y="696"/>
                </a:lnTo>
                <a:lnTo>
                  <a:pt x="578" y="678"/>
                </a:lnTo>
                <a:lnTo>
                  <a:pt x="568" y="673"/>
                </a:lnTo>
                <a:lnTo>
                  <a:pt x="560" y="668"/>
                </a:lnTo>
                <a:lnTo>
                  <a:pt x="556" y="665"/>
                </a:lnTo>
                <a:lnTo>
                  <a:pt x="554" y="662"/>
                </a:lnTo>
                <a:lnTo>
                  <a:pt x="552" y="658"/>
                </a:lnTo>
                <a:lnTo>
                  <a:pt x="552" y="654"/>
                </a:lnTo>
                <a:lnTo>
                  <a:pt x="553" y="651"/>
                </a:lnTo>
                <a:lnTo>
                  <a:pt x="556" y="649"/>
                </a:lnTo>
                <a:lnTo>
                  <a:pt x="563" y="646"/>
                </a:lnTo>
                <a:lnTo>
                  <a:pt x="569" y="644"/>
                </a:lnTo>
                <a:lnTo>
                  <a:pt x="588" y="639"/>
                </a:lnTo>
                <a:lnTo>
                  <a:pt x="611" y="635"/>
                </a:lnTo>
                <a:lnTo>
                  <a:pt x="655" y="628"/>
                </a:lnTo>
                <a:lnTo>
                  <a:pt x="684" y="62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499" name="Freeform 451"/>
          <p:cNvSpPr>
            <a:spLocks/>
          </p:cNvSpPr>
          <p:nvPr>
            <p:custDataLst>
              <p:tags r:id="rId289"/>
            </p:custDataLst>
          </p:nvPr>
        </p:nvSpPr>
        <p:spPr bwMode="auto">
          <a:xfrm>
            <a:off x="5808664" y="3549650"/>
            <a:ext cx="187325" cy="274638"/>
          </a:xfrm>
          <a:custGeom>
            <a:avLst/>
            <a:gdLst>
              <a:gd name="T0" fmla="*/ 429 w 429"/>
              <a:gd name="T1" fmla="*/ 22 h 524"/>
              <a:gd name="T2" fmla="*/ 428 w 429"/>
              <a:gd name="T3" fmla="*/ 43 h 524"/>
              <a:gd name="T4" fmla="*/ 424 w 429"/>
              <a:gd name="T5" fmla="*/ 54 h 524"/>
              <a:gd name="T6" fmla="*/ 415 w 429"/>
              <a:gd name="T7" fmla="*/ 67 h 524"/>
              <a:gd name="T8" fmla="*/ 413 w 429"/>
              <a:gd name="T9" fmla="*/ 81 h 524"/>
              <a:gd name="T10" fmla="*/ 414 w 429"/>
              <a:gd name="T11" fmla="*/ 160 h 524"/>
              <a:gd name="T12" fmla="*/ 408 w 429"/>
              <a:gd name="T13" fmla="*/ 207 h 524"/>
              <a:gd name="T14" fmla="*/ 396 w 429"/>
              <a:gd name="T15" fmla="*/ 241 h 524"/>
              <a:gd name="T16" fmla="*/ 372 w 429"/>
              <a:gd name="T17" fmla="*/ 278 h 524"/>
              <a:gd name="T18" fmla="*/ 338 w 429"/>
              <a:gd name="T19" fmla="*/ 309 h 524"/>
              <a:gd name="T20" fmla="*/ 319 w 429"/>
              <a:gd name="T21" fmla="*/ 333 h 524"/>
              <a:gd name="T22" fmla="*/ 312 w 429"/>
              <a:gd name="T23" fmla="*/ 412 h 524"/>
              <a:gd name="T24" fmla="*/ 304 w 429"/>
              <a:gd name="T25" fmla="*/ 439 h 524"/>
              <a:gd name="T26" fmla="*/ 290 w 429"/>
              <a:gd name="T27" fmla="*/ 448 h 524"/>
              <a:gd name="T28" fmla="*/ 269 w 429"/>
              <a:gd name="T29" fmla="*/ 455 h 524"/>
              <a:gd name="T30" fmla="*/ 253 w 429"/>
              <a:gd name="T31" fmla="*/ 472 h 524"/>
              <a:gd name="T32" fmla="*/ 234 w 429"/>
              <a:gd name="T33" fmla="*/ 500 h 524"/>
              <a:gd name="T34" fmla="*/ 223 w 429"/>
              <a:gd name="T35" fmla="*/ 505 h 524"/>
              <a:gd name="T36" fmla="*/ 201 w 429"/>
              <a:gd name="T37" fmla="*/ 504 h 524"/>
              <a:gd name="T38" fmla="*/ 189 w 429"/>
              <a:gd name="T39" fmla="*/ 498 h 524"/>
              <a:gd name="T40" fmla="*/ 145 w 429"/>
              <a:gd name="T41" fmla="*/ 500 h 524"/>
              <a:gd name="T42" fmla="*/ 123 w 429"/>
              <a:gd name="T43" fmla="*/ 500 h 524"/>
              <a:gd name="T44" fmla="*/ 113 w 429"/>
              <a:gd name="T45" fmla="*/ 494 h 524"/>
              <a:gd name="T46" fmla="*/ 95 w 429"/>
              <a:gd name="T47" fmla="*/ 493 h 524"/>
              <a:gd name="T48" fmla="*/ 78 w 429"/>
              <a:gd name="T49" fmla="*/ 502 h 524"/>
              <a:gd name="T50" fmla="*/ 62 w 429"/>
              <a:gd name="T51" fmla="*/ 519 h 524"/>
              <a:gd name="T52" fmla="*/ 27 w 429"/>
              <a:gd name="T53" fmla="*/ 491 h 524"/>
              <a:gd name="T54" fmla="*/ 6 w 429"/>
              <a:gd name="T55" fmla="*/ 447 h 524"/>
              <a:gd name="T56" fmla="*/ 25 w 429"/>
              <a:gd name="T57" fmla="*/ 430 h 524"/>
              <a:gd name="T58" fmla="*/ 42 w 429"/>
              <a:gd name="T59" fmla="*/ 424 h 524"/>
              <a:gd name="T60" fmla="*/ 61 w 429"/>
              <a:gd name="T61" fmla="*/ 428 h 524"/>
              <a:gd name="T62" fmla="*/ 58 w 429"/>
              <a:gd name="T63" fmla="*/ 418 h 524"/>
              <a:gd name="T64" fmla="*/ 45 w 429"/>
              <a:gd name="T65" fmla="*/ 386 h 524"/>
              <a:gd name="T66" fmla="*/ 47 w 429"/>
              <a:gd name="T67" fmla="*/ 366 h 524"/>
              <a:gd name="T68" fmla="*/ 57 w 429"/>
              <a:gd name="T69" fmla="*/ 356 h 524"/>
              <a:gd name="T70" fmla="*/ 71 w 429"/>
              <a:gd name="T71" fmla="*/ 352 h 524"/>
              <a:gd name="T72" fmla="*/ 89 w 429"/>
              <a:gd name="T73" fmla="*/ 337 h 524"/>
              <a:gd name="T74" fmla="*/ 104 w 429"/>
              <a:gd name="T75" fmla="*/ 333 h 524"/>
              <a:gd name="T76" fmla="*/ 115 w 429"/>
              <a:gd name="T77" fmla="*/ 342 h 524"/>
              <a:gd name="T78" fmla="*/ 135 w 429"/>
              <a:gd name="T79" fmla="*/ 359 h 524"/>
              <a:gd name="T80" fmla="*/ 154 w 429"/>
              <a:gd name="T81" fmla="*/ 351 h 524"/>
              <a:gd name="T82" fmla="*/ 181 w 429"/>
              <a:gd name="T83" fmla="*/ 353 h 524"/>
              <a:gd name="T84" fmla="*/ 199 w 429"/>
              <a:gd name="T85" fmla="*/ 340 h 524"/>
              <a:gd name="T86" fmla="*/ 210 w 429"/>
              <a:gd name="T87" fmla="*/ 315 h 524"/>
              <a:gd name="T88" fmla="*/ 213 w 429"/>
              <a:gd name="T89" fmla="*/ 290 h 524"/>
              <a:gd name="T90" fmla="*/ 215 w 429"/>
              <a:gd name="T91" fmla="*/ 269 h 524"/>
              <a:gd name="T92" fmla="*/ 201 w 429"/>
              <a:gd name="T93" fmla="*/ 236 h 524"/>
              <a:gd name="T94" fmla="*/ 188 w 429"/>
              <a:gd name="T95" fmla="*/ 203 h 524"/>
              <a:gd name="T96" fmla="*/ 207 w 429"/>
              <a:gd name="T97" fmla="*/ 177 h 524"/>
              <a:gd name="T98" fmla="*/ 210 w 429"/>
              <a:gd name="T99" fmla="*/ 164 h 524"/>
              <a:gd name="T100" fmla="*/ 200 w 429"/>
              <a:gd name="T101" fmla="*/ 155 h 524"/>
              <a:gd name="T102" fmla="*/ 197 w 429"/>
              <a:gd name="T103" fmla="*/ 137 h 524"/>
              <a:gd name="T104" fmla="*/ 188 w 429"/>
              <a:gd name="T105" fmla="*/ 129 h 524"/>
              <a:gd name="T106" fmla="*/ 161 w 429"/>
              <a:gd name="T107" fmla="*/ 132 h 524"/>
              <a:gd name="T108" fmla="*/ 137 w 429"/>
              <a:gd name="T109" fmla="*/ 131 h 524"/>
              <a:gd name="T110" fmla="*/ 125 w 429"/>
              <a:gd name="T111" fmla="*/ 119 h 524"/>
              <a:gd name="T112" fmla="*/ 123 w 429"/>
              <a:gd name="T113" fmla="*/ 103 h 524"/>
              <a:gd name="T114" fmla="*/ 132 w 429"/>
              <a:gd name="T115" fmla="*/ 76 h 524"/>
              <a:gd name="T116" fmla="*/ 306 w 429"/>
              <a:gd name="T117" fmla="*/ 38 h 524"/>
              <a:gd name="T118" fmla="*/ 323 w 429"/>
              <a:gd name="T119" fmla="*/ 17 h 524"/>
              <a:gd name="T120" fmla="*/ 343 w 429"/>
              <a:gd name="T121" fmla="*/ 7 h 524"/>
              <a:gd name="T122" fmla="*/ 374 w 429"/>
              <a:gd name="T123" fmla="*/ 5 h 524"/>
              <a:gd name="T124" fmla="*/ 408 w 429"/>
              <a:gd name="T125" fmla="*/ 4 h 5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29" h="524">
                <a:moveTo>
                  <a:pt x="426" y="0"/>
                </a:moveTo>
                <a:lnTo>
                  <a:pt x="427" y="12"/>
                </a:lnTo>
                <a:lnTo>
                  <a:pt x="429" y="22"/>
                </a:lnTo>
                <a:lnTo>
                  <a:pt x="429" y="31"/>
                </a:lnTo>
                <a:lnTo>
                  <a:pt x="429" y="38"/>
                </a:lnTo>
                <a:lnTo>
                  <a:pt x="428" y="43"/>
                </a:lnTo>
                <a:lnTo>
                  <a:pt x="427" y="48"/>
                </a:lnTo>
                <a:lnTo>
                  <a:pt x="426" y="51"/>
                </a:lnTo>
                <a:lnTo>
                  <a:pt x="424" y="54"/>
                </a:lnTo>
                <a:lnTo>
                  <a:pt x="419" y="60"/>
                </a:lnTo>
                <a:lnTo>
                  <a:pt x="416" y="64"/>
                </a:lnTo>
                <a:lnTo>
                  <a:pt x="415" y="67"/>
                </a:lnTo>
                <a:lnTo>
                  <a:pt x="413" y="71"/>
                </a:lnTo>
                <a:lnTo>
                  <a:pt x="413" y="75"/>
                </a:lnTo>
                <a:lnTo>
                  <a:pt x="413" y="81"/>
                </a:lnTo>
                <a:lnTo>
                  <a:pt x="413" y="109"/>
                </a:lnTo>
                <a:lnTo>
                  <a:pt x="414" y="135"/>
                </a:lnTo>
                <a:lnTo>
                  <a:pt x="414" y="160"/>
                </a:lnTo>
                <a:lnTo>
                  <a:pt x="413" y="183"/>
                </a:lnTo>
                <a:lnTo>
                  <a:pt x="410" y="196"/>
                </a:lnTo>
                <a:lnTo>
                  <a:pt x="408" y="207"/>
                </a:lnTo>
                <a:lnTo>
                  <a:pt x="405" y="218"/>
                </a:lnTo>
                <a:lnTo>
                  <a:pt x="401" y="229"/>
                </a:lnTo>
                <a:lnTo>
                  <a:pt x="396" y="241"/>
                </a:lnTo>
                <a:lnTo>
                  <a:pt x="390" y="254"/>
                </a:lnTo>
                <a:lnTo>
                  <a:pt x="382" y="266"/>
                </a:lnTo>
                <a:lnTo>
                  <a:pt x="372" y="278"/>
                </a:lnTo>
                <a:lnTo>
                  <a:pt x="360" y="288"/>
                </a:lnTo>
                <a:lnTo>
                  <a:pt x="346" y="300"/>
                </a:lnTo>
                <a:lnTo>
                  <a:pt x="338" y="309"/>
                </a:lnTo>
                <a:lnTo>
                  <a:pt x="331" y="316"/>
                </a:lnTo>
                <a:lnTo>
                  <a:pt x="325" y="324"/>
                </a:lnTo>
                <a:lnTo>
                  <a:pt x="319" y="333"/>
                </a:lnTo>
                <a:lnTo>
                  <a:pt x="318" y="361"/>
                </a:lnTo>
                <a:lnTo>
                  <a:pt x="314" y="395"/>
                </a:lnTo>
                <a:lnTo>
                  <a:pt x="312" y="412"/>
                </a:lnTo>
                <a:lnTo>
                  <a:pt x="308" y="428"/>
                </a:lnTo>
                <a:lnTo>
                  <a:pt x="306" y="434"/>
                </a:lnTo>
                <a:lnTo>
                  <a:pt x="304" y="439"/>
                </a:lnTo>
                <a:lnTo>
                  <a:pt x="302" y="442"/>
                </a:lnTo>
                <a:lnTo>
                  <a:pt x="300" y="444"/>
                </a:lnTo>
                <a:lnTo>
                  <a:pt x="290" y="448"/>
                </a:lnTo>
                <a:lnTo>
                  <a:pt x="280" y="451"/>
                </a:lnTo>
                <a:lnTo>
                  <a:pt x="274" y="453"/>
                </a:lnTo>
                <a:lnTo>
                  <a:pt x="269" y="455"/>
                </a:lnTo>
                <a:lnTo>
                  <a:pt x="264" y="458"/>
                </a:lnTo>
                <a:lnTo>
                  <a:pt x="259" y="462"/>
                </a:lnTo>
                <a:lnTo>
                  <a:pt x="253" y="472"/>
                </a:lnTo>
                <a:lnTo>
                  <a:pt x="245" y="487"/>
                </a:lnTo>
                <a:lnTo>
                  <a:pt x="239" y="494"/>
                </a:lnTo>
                <a:lnTo>
                  <a:pt x="234" y="500"/>
                </a:lnTo>
                <a:lnTo>
                  <a:pt x="230" y="502"/>
                </a:lnTo>
                <a:lnTo>
                  <a:pt x="227" y="504"/>
                </a:lnTo>
                <a:lnTo>
                  <a:pt x="223" y="505"/>
                </a:lnTo>
                <a:lnTo>
                  <a:pt x="219" y="506"/>
                </a:lnTo>
                <a:lnTo>
                  <a:pt x="210" y="505"/>
                </a:lnTo>
                <a:lnTo>
                  <a:pt x="201" y="504"/>
                </a:lnTo>
                <a:lnTo>
                  <a:pt x="196" y="503"/>
                </a:lnTo>
                <a:lnTo>
                  <a:pt x="192" y="501"/>
                </a:lnTo>
                <a:lnTo>
                  <a:pt x="189" y="498"/>
                </a:lnTo>
                <a:lnTo>
                  <a:pt x="186" y="494"/>
                </a:lnTo>
                <a:lnTo>
                  <a:pt x="166" y="496"/>
                </a:lnTo>
                <a:lnTo>
                  <a:pt x="145" y="500"/>
                </a:lnTo>
                <a:lnTo>
                  <a:pt x="135" y="502"/>
                </a:lnTo>
                <a:lnTo>
                  <a:pt x="126" y="501"/>
                </a:lnTo>
                <a:lnTo>
                  <a:pt x="123" y="500"/>
                </a:lnTo>
                <a:lnTo>
                  <a:pt x="119" y="499"/>
                </a:lnTo>
                <a:lnTo>
                  <a:pt x="116" y="497"/>
                </a:lnTo>
                <a:lnTo>
                  <a:pt x="113" y="494"/>
                </a:lnTo>
                <a:lnTo>
                  <a:pt x="106" y="493"/>
                </a:lnTo>
                <a:lnTo>
                  <a:pt x="100" y="493"/>
                </a:lnTo>
                <a:lnTo>
                  <a:pt x="95" y="493"/>
                </a:lnTo>
                <a:lnTo>
                  <a:pt x="91" y="494"/>
                </a:lnTo>
                <a:lnTo>
                  <a:pt x="83" y="497"/>
                </a:lnTo>
                <a:lnTo>
                  <a:pt x="78" y="502"/>
                </a:lnTo>
                <a:lnTo>
                  <a:pt x="73" y="507"/>
                </a:lnTo>
                <a:lnTo>
                  <a:pt x="68" y="513"/>
                </a:lnTo>
                <a:lnTo>
                  <a:pt x="62" y="519"/>
                </a:lnTo>
                <a:lnTo>
                  <a:pt x="54" y="524"/>
                </a:lnTo>
                <a:lnTo>
                  <a:pt x="39" y="507"/>
                </a:lnTo>
                <a:lnTo>
                  <a:pt x="27" y="491"/>
                </a:lnTo>
                <a:lnTo>
                  <a:pt x="14" y="474"/>
                </a:lnTo>
                <a:lnTo>
                  <a:pt x="0" y="456"/>
                </a:lnTo>
                <a:lnTo>
                  <a:pt x="6" y="447"/>
                </a:lnTo>
                <a:lnTo>
                  <a:pt x="13" y="440"/>
                </a:lnTo>
                <a:lnTo>
                  <a:pt x="18" y="434"/>
                </a:lnTo>
                <a:lnTo>
                  <a:pt x="25" y="430"/>
                </a:lnTo>
                <a:lnTo>
                  <a:pt x="31" y="427"/>
                </a:lnTo>
                <a:lnTo>
                  <a:pt x="36" y="425"/>
                </a:lnTo>
                <a:lnTo>
                  <a:pt x="42" y="424"/>
                </a:lnTo>
                <a:lnTo>
                  <a:pt x="46" y="424"/>
                </a:lnTo>
                <a:lnTo>
                  <a:pt x="55" y="425"/>
                </a:lnTo>
                <a:lnTo>
                  <a:pt x="61" y="428"/>
                </a:lnTo>
                <a:lnTo>
                  <a:pt x="65" y="431"/>
                </a:lnTo>
                <a:lnTo>
                  <a:pt x="67" y="432"/>
                </a:lnTo>
                <a:lnTo>
                  <a:pt x="58" y="418"/>
                </a:lnTo>
                <a:lnTo>
                  <a:pt x="51" y="405"/>
                </a:lnTo>
                <a:lnTo>
                  <a:pt x="47" y="395"/>
                </a:lnTo>
                <a:lnTo>
                  <a:pt x="45" y="386"/>
                </a:lnTo>
                <a:lnTo>
                  <a:pt x="45" y="378"/>
                </a:lnTo>
                <a:lnTo>
                  <a:pt x="45" y="372"/>
                </a:lnTo>
                <a:lnTo>
                  <a:pt x="47" y="366"/>
                </a:lnTo>
                <a:lnTo>
                  <a:pt x="50" y="362"/>
                </a:lnTo>
                <a:lnTo>
                  <a:pt x="54" y="359"/>
                </a:lnTo>
                <a:lnTo>
                  <a:pt x="57" y="356"/>
                </a:lnTo>
                <a:lnTo>
                  <a:pt x="61" y="354"/>
                </a:lnTo>
                <a:lnTo>
                  <a:pt x="65" y="353"/>
                </a:lnTo>
                <a:lnTo>
                  <a:pt x="71" y="352"/>
                </a:lnTo>
                <a:lnTo>
                  <a:pt x="73" y="351"/>
                </a:lnTo>
                <a:lnTo>
                  <a:pt x="81" y="343"/>
                </a:lnTo>
                <a:lnTo>
                  <a:pt x="89" y="337"/>
                </a:lnTo>
                <a:lnTo>
                  <a:pt x="94" y="334"/>
                </a:lnTo>
                <a:lnTo>
                  <a:pt x="100" y="333"/>
                </a:lnTo>
                <a:lnTo>
                  <a:pt x="104" y="333"/>
                </a:lnTo>
                <a:lnTo>
                  <a:pt x="109" y="335"/>
                </a:lnTo>
                <a:lnTo>
                  <a:pt x="112" y="339"/>
                </a:lnTo>
                <a:lnTo>
                  <a:pt x="115" y="342"/>
                </a:lnTo>
                <a:lnTo>
                  <a:pt x="123" y="350"/>
                </a:lnTo>
                <a:lnTo>
                  <a:pt x="130" y="356"/>
                </a:lnTo>
                <a:lnTo>
                  <a:pt x="135" y="359"/>
                </a:lnTo>
                <a:lnTo>
                  <a:pt x="140" y="359"/>
                </a:lnTo>
                <a:lnTo>
                  <a:pt x="146" y="356"/>
                </a:lnTo>
                <a:lnTo>
                  <a:pt x="154" y="351"/>
                </a:lnTo>
                <a:lnTo>
                  <a:pt x="163" y="354"/>
                </a:lnTo>
                <a:lnTo>
                  <a:pt x="172" y="354"/>
                </a:lnTo>
                <a:lnTo>
                  <a:pt x="181" y="353"/>
                </a:lnTo>
                <a:lnTo>
                  <a:pt x="188" y="350"/>
                </a:lnTo>
                <a:lnTo>
                  <a:pt x="193" y="345"/>
                </a:lnTo>
                <a:lnTo>
                  <a:pt x="199" y="340"/>
                </a:lnTo>
                <a:lnTo>
                  <a:pt x="202" y="334"/>
                </a:lnTo>
                <a:lnTo>
                  <a:pt x="205" y="328"/>
                </a:lnTo>
                <a:lnTo>
                  <a:pt x="210" y="315"/>
                </a:lnTo>
                <a:lnTo>
                  <a:pt x="212" y="302"/>
                </a:lnTo>
                <a:lnTo>
                  <a:pt x="213" y="293"/>
                </a:lnTo>
                <a:lnTo>
                  <a:pt x="213" y="290"/>
                </a:lnTo>
                <a:lnTo>
                  <a:pt x="215" y="283"/>
                </a:lnTo>
                <a:lnTo>
                  <a:pt x="215" y="276"/>
                </a:lnTo>
                <a:lnTo>
                  <a:pt x="215" y="269"/>
                </a:lnTo>
                <a:lnTo>
                  <a:pt x="213" y="262"/>
                </a:lnTo>
                <a:lnTo>
                  <a:pt x="208" y="249"/>
                </a:lnTo>
                <a:lnTo>
                  <a:pt x="201" y="236"/>
                </a:lnTo>
                <a:lnTo>
                  <a:pt x="186" y="217"/>
                </a:lnTo>
                <a:lnTo>
                  <a:pt x="180" y="210"/>
                </a:lnTo>
                <a:lnTo>
                  <a:pt x="188" y="203"/>
                </a:lnTo>
                <a:lnTo>
                  <a:pt x="202" y="187"/>
                </a:lnTo>
                <a:lnTo>
                  <a:pt x="205" y="182"/>
                </a:lnTo>
                <a:lnTo>
                  <a:pt x="207" y="177"/>
                </a:lnTo>
                <a:lnTo>
                  <a:pt x="210" y="173"/>
                </a:lnTo>
                <a:lnTo>
                  <a:pt x="211" y="168"/>
                </a:lnTo>
                <a:lnTo>
                  <a:pt x="210" y="164"/>
                </a:lnTo>
                <a:lnTo>
                  <a:pt x="208" y="161"/>
                </a:lnTo>
                <a:lnTo>
                  <a:pt x="205" y="157"/>
                </a:lnTo>
                <a:lnTo>
                  <a:pt x="200" y="155"/>
                </a:lnTo>
                <a:lnTo>
                  <a:pt x="200" y="148"/>
                </a:lnTo>
                <a:lnTo>
                  <a:pt x="200" y="142"/>
                </a:lnTo>
                <a:lnTo>
                  <a:pt x="197" y="137"/>
                </a:lnTo>
                <a:lnTo>
                  <a:pt x="195" y="133"/>
                </a:lnTo>
                <a:lnTo>
                  <a:pt x="192" y="131"/>
                </a:lnTo>
                <a:lnTo>
                  <a:pt x="188" y="129"/>
                </a:lnTo>
                <a:lnTo>
                  <a:pt x="183" y="129"/>
                </a:lnTo>
                <a:lnTo>
                  <a:pt x="179" y="129"/>
                </a:lnTo>
                <a:lnTo>
                  <a:pt x="161" y="132"/>
                </a:lnTo>
                <a:lnTo>
                  <a:pt x="154" y="137"/>
                </a:lnTo>
                <a:lnTo>
                  <a:pt x="144" y="134"/>
                </a:lnTo>
                <a:lnTo>
                  <a:pt x="137" y="131"/>
                </a:lnTo>
                <a:lnTo>
                  <a:pt x="132" y="128"/>
                </a:lnTo>
                <a:lnTo>
                  <a:pt x="127" y="124"/>
                </a:lnTo>
                <a:lnTo>
                  <a:pt x="125" y="119"/>
                </a:lnTo>
                <a:lnTo>
                  <a:pt x="123" y="114"/>
                </a:lnTo>
                <a:lnTo>
                  <a:pt x="123" y="109"/>
                </a:lnTo>
                <a:lnTo>
                  <a:pt x="123" y="103"/>
                </a:lnTo>
                <a:lnTo>
                  <a:pt x="125" y="93"/>
                </a:lnTo>
                <a:lnTo>
                  <a:pt x="128" y="84"/>
                </a:lnTo>
                <a:lnTo>
                  <a:pt x="132" y="76"/>
                </a:lnTo>
                <a:lnTo>
                  <a:pt x="133" y="74"/>
                </a:lnTo>
                <a:lnTo>
                  <a:pt x="293" y="105"/>
                </a:lnTo>
                <a:lnTo>
                  <a:pt x="306" y="38"/>
                </a:lnTo>
                <a:lnTo>
                  <a:pt x="311" y="30"/>
                </a:lnTo>
                <a:lnTo>
                  <a:pt x="317" y="22"/>
                </a:lnTo>
                <a:lnTo>
                  <a:pt x="323" y="17"/>
                </a:lnTo>
                <a:lnTo>
                  <a:pt x="329" y="12"/>
                </a:lnTo>
                <a:lnTo>
                  <a:pt x="336" y="9"/>
                </a:lnTo>
                <a:lnTo>
                  <a:pt x="343" y="7"/>
                </a:lnTo>
                <a:lnTo>
                  <a:pt x="350" y="6"/>
                </a:lnTo>
                <a:lnTo>
                  <a:pt x="358" y="5"/>
                </a:lnTo>
                <a:lnTo>
                  <a:pt x="374" y="5"/>
                </a:lnTo>
                <a:lnTo>
                  <a:pt x="391" y="4"/>
                </a:lnTo>
                <a:lnTo>
                  <a:pt x="399" y="4"/>
                </a:lnTo>
                <a:lnTo>
                  <a:pt x="408" y="4"/>
                </a:lnTo>
                <a:lnTo>
                  <a:pt x="417" y="2"/>
                </a:lnTo>
                <a:lnTo>
                  <a:pt x="42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00" name="Freeform 452"/>
          <p:cNvSpPr>
            <a:spLocks/>
          </p:cNvSpPr>
          <p:nvPr>
            <p:custDataLst>
              <p:tags r:id="rId290"/>
            </p:custDataLst>
          </p:nvPr>
        </p:nvSpPr>
        <p:spPr bwMode="auto">
          <a:xfrm>
            <a:off x="5840413" y="2192338"/>
            <a:ext cx="127000" cy="114300"/>
          </a:xfrm>
          <a:custGeom>
            <a:avLst/>
            <a:gdLst>
              <a:gd name="T0" fmla="*/ 259 w 292"/>
              <a:gd name="T1" fmla="*/ 93 h 223"/>
              <a:gd name="T2" fmla="*/ 166 w 292"/>
              <a:gd name="T3" fmla="*/ 77 h 223"/>
              <a:gd name="T4" fmla="*/ 152 w 292"/>
              <a:gd name="T5" fmla="*/ 79 h 223"/>
              <a:gd name="T6" fmla="*/ 139 w 292"/>
              <a:gd name="T7" fmla="*/ 79 h 223"/>
              <a:gd name="T8" fmla="*/ 126 w 292"/>
              <a:gd name="T9" fmla="*/ 77 h 223"/>
              <a:gd name="T10" fmla="*/ 119 w 292"/>
              <a:gd name="T11" fmla="*/ 93 h 223"/>
              <a:gd name="T12" fmla="*/ 144 w 292"/>
              <a:gd name="T13" fmla="*/ 131 h 223"/>
              <a:gd name="T14" fmla="*/ 168 w 292"/>
              <a:gd name="T15" fmla="*/ 157 h 223"/>
              <a:gd name="T16" fmla="*/ 189 w 292"/>
              <a:gd name="T17" fmla="*/ 185 h 223"/>
              <a:gd name="T18" fmla="*/ 197 w 292"/>
              <a:gd name="T19" fmla="*/ 202 h 223"/>
              <a:gd name="T20" fmla="*/ 205 w 292"/>
              <a:gd name="T21" fmla="*/ 222 h 223"/>
              <a:gd name="T22" fmla="*/ 175 w 292"/>
              <a:gd name="T23" fmla="*/ 223 h 223"/>
              <a:gd name="T24" fmla="*/ 161 w 292"/>
              <a:gd name="T25" fmla="*/ 222 h 223"/>
              <a:gd name="T26" fmla="*/ 146 w 292"/>
              <a:gd name="T27" fmla="*/ 216 h 223"/>
              <a:gd name="T28" fmla="*/ 134 w 292"/>
              <a:gd name="T29" fmla="*/ 209 h 223"/>
              <a:gd name="T30" fmla="*/ 127 w 292"/>
              <a:gd name="T31" fmla="*/ 198 h 223"/>
              <a:gd name="T32" fmla="*/ 121 w 292"/>
              <a:gd name="T33" fmla="*/ 187 h 223"/>
              <a:gd name="T34" fmla="*/ 113 w 292"/>
              <a:gd name="T35" fmla="*/ 180 h 223"/>
              <a:gd name="T36" fmla="*/ 91 w 292"/>
              <a:gd name="T37" fmla="*/ 145 h 223"/>
              <a:gd name="T38" fmla="*/ 68 w 292"/>
              <a:gd name="T39" fmla="*/ 113 h 223"/>
              <a:gd name="T40" fmla="*/ 55 w 292"/>
              <a:gd name="T41" fmla="*/ 99 h 223"/>
              <a:gd name="T42" fmla="*/ 42 w 292"/>
              <a:gd name="T43" fmla="*/ 87 h 223"/>
              <a:gd name="T44" fmla="*/ 27 w 292"/>
              <a:gd name="T45" fmla="*/ 79 h 223"/>
              <a:gd name="T46" fmla="*/ 13 w 292"/>
              <a:gd name="T47" fmla="*/ 75 h 223"/>
              <a:gd name="T48" fmla="*/ 4 w 292"/>
              <a:gd name="T49" fmla="*/ 65 h 223"/>
              <a:gd name="T50" fmla="*/ 1 w 292"/>
              <a:gd name="T51" fmla="*/ 58 h 223"/>
              <a:gd name="T52" fmla="*/ 0 w 292"/>
              <a:gd name="T53" fmla="*/ 49 h 223"/>
              <a:gd name="T54" fmla="*/ 40 w 292"/>
              <a:gd name="T55" fmla="*/ 55 h 223"/>
              <a:gd name="T56" fmla="*/ 70 w 292"/>
              <a:gd name="T57" fmla="*/ 55 h 223"/>
              <a:gd name="T58" fmla="*/ 91 w 292"/>
              <a:gd name="T59" fmla="*/ 50 h 223"/>
              <a:gd name="T60" fmla="*/ 106 w 292"/>
              <a:gd name="T61" fmla="*/ 41 h 223"/>
              <a:gd name="T62" fmla="*/ 127 w 292"/>
              <a:gd name="T63" fmla="*/ 20 h 223"/>
              <a:gd name="T64" fmla="*/ 138 w 292"/>
              <a:gd name="T65" fmla="*/ 9 h 223"/>
              <a:gd name="T66" fmla="*/ 152 w 292"/>
              <a:gd name="T67" fmla="*/ 0 h 223"/>
              <a:gd name="T68" fmla="*/ 172 w 292"/>
              <a:gd name="T69" fmla="*/ 14 h 223"/>
              <a:gd name="T70" fmla="*/ 194 w 292"/>
              <a:gd name="T71" fmla="*/ 26 h 223"/>
              <a:gd name="T72" fmla="*/ 218 w 292"/>
              <a:gd name="T73" fmla="*/ 34 h 223"/>
              <a:gd name="T74" fmla="*/ 246 w 292"/>
              <a:gd name="T75" fmla="*/ 37 h 223"/>
              <a:gd name="T76" fmla="*/ 262 w 292"/>
              <a:gd name="T77" fmla="*/ 34 h 223"/>
              <a:gd name="T78" fmla="*/ 279 w 292"/>
              <a:gd name="T79" fmla="*/ 31 h 223"/>
              <a:gd name="T80" fmla="*/ 285 w 292"/>
              <a:gd name="T81" fmla="*/ 47 h 223"/>
              <a:gd name="T82" fmla="*/ 287 w 292"/>
              <a:gd name="T83" fmla="*/ 49 h 223"/>
              <a:gd name="T84" fmla="*/ 292 w 292"/>
              <a:gd name="T85" fmla="*/ 69 h 2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2" h="223">
                <a:moveTo>
                  <a:pt x="292" y="69"/>
                </a:moveTo>
                <a:lnTo>
                  <a:pt x="259" y="93"/>
                </a:lnTo>
                <a:lnTo>
                  <a:pt x="172" y="75"/>
                </a:lnTo>
                <a:lnTo>
                  <a:pt x="166" y="77"/>
                </a:lnTo>
                <a:lnTo>
                  <a:pt x="159" y="78"/>
                </a:lnTo>
                <a:lnTo>
                  <a:pt x="152" y="79"/>
                </a:lnTo>
                <a:lnTo>
                  <a:pt x="146" y="79"/>
                </a:lnTo>
                <a:lnTo>
                  <a:pt x="139" y="79"/>
                </a:lnTo>
                <a:lnTo>
                  <a:pt x="133" y="78"/>
                </a:lnTo>
                <a:lnTo>
                  <a:pt x="126" y="77"/>
                </a:lnTo>
                <a:lnTo>
                  <a:pt x="119" y="75"/>
                </a:lnTo>
                <a:lnTo>
                  <a:pt x="119" y="93"/>
                </a:lnTo>
                <a:lnTo>
                  <a:pt x="132" y="113"/>
                </a:lnTo>
                <a:lnTo>
                  <a:pt x="144" y="131"/>
                </a:lnTo>
                <a:lnTo>
                  <a:pt x="156" y="145"/>
                </a:lnTo>
                <a:lnTo>
                  <a:pt x="168" y="157"/>
                </a:lnTo>
                <a:lnTo>
                  <a:pt x="179" y="170"/>
                </a:lnTo>
                <a:lnTo>
                  <a:pt x="189" y="185"/>
                </a:lnTo>
                <a:lnTo>
                  <a:pt x="193" y="193"/>
                </a:lnTo>
                <a:lnTo>
                  <a:pt x="197" y="202"/>
                </a:lnTo>
                <a:lnTo>
                  <a:pt x="202" y="211"/>
                </a:lnTo>
                <a:lnTo>
                  <a:pt x="205" y="222"/>
                </a:lnTo>
                <a:lnTo>
                  <a:pt x="191" y="223"/>
                </a:lnTo>
                <a:lnTo>
                  <a:pt x="175" y="223"/>
                </a:lnTo>
                <a:lnTo>
                  <a:pt x="168" y="223"/>
                </a:lnTo>
                <a:lnTo>
                  <a:pt x="161" y="222"/>
                </a:lnTo>
                <a:lnTo>
                  <a:pt x="154" y="220"/>
                </a:lnTo>
                <a:lnTo>
                  <a:pt x="146" y="216"/>
                </a:lnTo>
                <a:lnTo>
                  <a:pt x="139" y="213"/>
                </a:lnTo>
                <a:lnTo>
                  <a:pt x="134" y="209"/>
                </a:lnTo>
                <a:lnTo>
                  <a:pt x="130" y="203"/>
                </a:lnTo>
                <a:lnTo>
                  <a:pt x="127" y="198"/>
                </a:lnTo>
                <a:lnTo>
                  <a:pt x="124" y="192"/>
                </a:lnTo>
                <a:lnTo>
                  <a:pt x="121" y="187"/>
                </a:lnTo>
                <a:lnTo>
                  <a:pt x="117" y="183"/>
                </a:lnTo>
                <a:lnTo>
                  <a:pt x="113" y="180"/>
                </a:lnTo>
                <a:lnTo>
                  <a:pt x="102" y="162"/>
                </a:lnTo>
                <a:lnTo>
                  <a:pt x="91" y="145"/>
                </a:lnTo>
                <a:lnTo>
                  <a:pt x="80" y="129"/>
                </a:lnTo>
                <a:lnTo>
                  <a:pt x="68" y="113"/>
                </a:lnTo>
                <a:lnTo>
                  <a:pt x="61" y="105"/>
                </a:lnTo>
                <a:lnTo>
                  <a:pt x="55" y="99"/>
                </a:lnTo>
                <a:lnTo>
                  <a:pt x="48" y="93"/>
                </a:lnTo>
                <a:lnTo>
                  <a:pt x="42" y="87"/>
                </a:lnTo>
                <a:lnTo>
                  <a:pt x="35" y="83"/>
                </a:lnTo>
                <a:lnTo>
                  <a:pt x="27" y="79"/>
                </a:lnTo>
                <a:lnTo>
                  <a:pt x="21" y="76"/>
                </a:lnTo>
                <a:lnTo>
                  <a:pt x="13" y="75"/>
                </a:lnTo>
                <a:lnTo>
                  <a:pt x="9" y="70"/>
                </a:lnTo>
                <a:lnTo>
                  <a:pt x="4" y="65"/>
                </a:lnTo>
                <a:lnTo>
                  <a:pt x="2" y="62"/>
                </a:lnTo>
                <a:lnTo>
                  <a:pt x="1" y="58"/>
                </a:lnTo>
                <a:lnTo>
                  <a:pt x="0" y="54"/>
                </a:lnTo>
                <a:lnTo>
                  <a:pt x="0" y="49"/>
                </a:lnTo>
                <a:lnTo>
                  <a:pt x="22" y="53"/>
                </a:lnTo>
                <a:lnTo>
                  <a:pt x="40" y="55"/>
                </a:lnTo>
                <a:lnTo>
                  <a:pt x="57" y="56"/>
                </a:lnTo>
                <a:lnTo>
                  <a:pt x="70" y="55"/>
                </a:lnTo>
                <a:lnTo>
                  <a:pt x="82" y="53"/>
                </a:lnTo>
                <a:lnTo>
                  <a:pt x="91" y="50"/>
                </a:lnTo>
                <a:lnTo>
                  <a:pt x="99" y="46"/>
                </a:lnTo>
                <a:lnTo>
                  <a:pt x="106" y="41"/>
                </a:lnTo>
                <a:lnTo>
                  <a:pt x="117" y="31"/>
                </a:lnTo>
                <a:lnTo>
                  <a:pt x="127" y="20"/>
                </a:lnTo>
                <a:lnTo>
                  <a:pt x="132" y="14"/>
                </a:lnTo>
                <a:lnTo>
                  <a:pt x="138" y="9"/>
                </a:lnTo>
                <a:lnTo>
                  <a:pt x="145" y="4"/>
                </a:lnTo>
                <a:lnTo>
                  <a:pt x="152" y="0"/>
                </a:lnTo>
                <a:lnTo>
                  <a:pt x="162" y="8"/>
                </a:lnTo>
                <a:lnTo>
                  <a:pt x="172" y="14"/>
                </a:lnTo>
                <a:lnTo>
                  <a:pt x="183" y="21"/>
                </a:lnTo>
                <a:lnTo>
                  <a:pt x="194" y="26"/>
                </a:lnTo>
                <a:lnTo>
                  <a:pt x="205" y="31"/>
                </a:lnTo>
                <a:lnTo>
                  <a:pt x="218" y="34"/>
                </a:lnTo>
                <a:lnTo>
                  <a:pt x="231" y="37"/>
                </a:lnTo>
                <a:lnTo>
                  <a:pt x="246" y="37"/>
                </a:lnTo>
                <a:lnTo>
                  <a:pt x="255" y="36"/>
                </a:lnTo>
                <a:lnTo>
                  <a:pt x="262" y="34"/>
                </a:lnTo>
                <a:lnTo>
                  <a:pt x="270" y="32"/>
                </a:lnTo>
                <a:lnTo>
                  <a:pt x="279" y="31"/>
                </a:lnTo>
                <a:lnTo>
                  <a:pt x="283" y="42"/>
                </a:lnTo>
                <a:lnTo>
                  <a:pt x="285" y="47"/>
                </a:lnTo>
                <a:lnTo>
                  <a:pt x="287" y="49"/>
                </a:lnTo>
                <a:lnTo>
                  <a:pt x="287" y="49"/>
                </a:lnTo>
                <a:lnTo>
                  <a:pt x="289" y="52"/>
                </a:lnTo>
                <a:lnTo>
                  <a:pt x="292" y="6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01" name="Freeform 453"/>
          <p:cNvSpPr>
            <a:spLocks/>
          </p:cNvSpPr>
          <p:nvPr>
            <p:custDataLst>
              <p:tags r:id="rId291"/>
            </p:custDataLst>
          </p:nvPr>
        </p:nvSpPr>
        <p:spPr bwMode="auto">
          <a:xfrm>
            <a:off x="5791201" y="2051050"/>
            <a:ext cx="168275" cy="77788"/>
          </a:xfrm>
          <a:custGeom>
            <a:avLst/>
            <a:gdLst>
              <a:gd name="T0" fmla="*/ 375 w 379"/>
              <a:gd name="T1" fmla="*/ 94 h 147"/>
              <a:gd name="T2" fmla="*/ 360 w 379"/>
              <a:gd name="T3" fmla="*/ 101 h 147"/>
              <a:gd name="T4" fmla="*/ 354 w 379"/>
              <a:gd name="T5" fmla="*/ 108 h 147"/>
              <a:gd name="T6" fmla="*/ 347 w 379"/>
              <a:gd name="T7" fmla="*/ 117 h 147"/>
              <a:gd name="T8" fmla="*/ 333 w 379"/>
              <a:gd name="T9" fmla="*/ 127 h 147"/>
              <a:gd name="T10" fmla="*/ 320 w 379"/>
              <a:gd name="T11" fmla="*/ 131 h 147"/>
              <a:gd name="T12" fmla="*/ 311 w 379"/>
              <a:gd name="T13" fmla="*/ 132 h 147"/>
              <a:gd name="T14" fmla="*/ 301 w 379"/>
              <a:gd name="T15" fmla="*/ 130 h 147"/>
              <a:gd name="T16" fmla="*/ 291 w 379"/>
              <a:gd name="T17" fmla="*/ 126 h 147"/>
              <a:gd name="T18" fmla="*/ 281 w 379"/>
              <a:gd name="T19" fmla="*/ 119 h 147"/>
              <a:gd name="T20" fmla="*/ 275 w 379"/>
              <a:gd name="T21" fmla="*/ 116 h 147"/>
              <a:gd name="T22" fmla="*/ 269 w 379"/>
              <a:gd name="T23" fmla="*/ 118 h 147"/>
              <a:gd name="T24" fmla="*/ 267 w 379"/>
              <a:gd name="T25" fmla="*/ 123 h 147"/>
              <a:gd name="T26" fmla="*/ 266 w 379"/>
              <a:gd name="T27" fmla="*/ 140 h 147"/>
              <a:gd name="T28" fmla="*/ 257 w 379"/>
              <a:gd name="T29" fmla="*/ 145 h 147"/>
              <a:gd name="T30" fmla="*/ 244 w 379"/>
              <a:gd name="T31" fmla="*/ 140 h 147"/>
              <a:gd name="T32" fmla="*/ 229 w 379"/>
              <a:gd name="T33" fmla="*/ 131 h 147"/>
              <a:gd name="T34" fmla="*/ 113 w 379"/>
              <a:gd name="T35" fmla="*/ 141 h 147"/>
              <a:gd name="T36" fmla="*/ 80 w 379"/>
              <a:gd name="T37" fmla="*/ 124 h 147"/>
              <a:gd name="T38" fmla="*/ 58 w 379"/>
              <a:gd name="T39" fmla="*/ 109 h 147"/>
              <a:gd name="T40" fmla="*/ 45 w 379"/>
              <a:gd name="T41" fmla="*/ 94 h 147"/>
              <a:gd name="T42" fmla="*/ 37 w 379"/>
              <a:gd name="T43" fmla="*/ 82 h 147"/>
              <a:gd name="T44" fmla="*/ 26 w 379"/>
              <a:gd name="T45" fmla="*/ 59 h 147"/>
              <a:gd name="T46" fmla="*/ 16 w 379"/>
              <a:gd name="T47" fmla="*/ 48 h 147"/>
              <a:gd name="T48" fmla="*/ 0 w 379"/>
              <a:gd name="T49" fmla="*/ 36 h 147"/>
              <a:gd name="T50" fmla="*/ 29 w 379"/>
              <a:gd name="T51" fmla="*/ 40 h 147"/>
              <a:gd name="T52" fmla="*/ 52 w 379"/>
              <a:gd name="T53" fmla="*/ 38 h 147"/>
              <a:gd name="T54" fmla="*/ 72 w 379"/>
              <a:gd name="T55" fmla="*/ 33 h 147"/>
              <a:gd name="T56" fmla="*/ 87 w 379"/>
              <a:gd name="T57" fmla="*/ 25 h 147"/>
              <a:gd name="T58" fmla="*/ 119 w 379"/>
              <a:gd name="T59" fmla="*/ 8 h 147"/>
              <a:gd name="T60" fmla="*/ 138 w 379"/>
              <a:gd name="T61" fmla="*/ 2 h 147"/>
              <a:gd name="T62" fmla="*/ 159 w 379"/>
              <a:gd name="T63" fmla="*/ 0 h 147"/>
              <a:gd name="T64" fmla="*/ 200 w 379"/>
              <a:gd name="T65" fmla="*/ 23 h 147"/>
              <a:gd name="T66" fmla="*/ 244 w 379"/>
              <a:gd name="T67" fmla="*/ 45 h 147"/>
              <a:gd name="T68" fmla="*/ 292 w 379"/>
              <a:gd name="T69" fmla="*/ 67 h 147"/>
              <a:gd name="T70" fmla="*/ 333 w 379"/>
              <a:gd name="T71" fmla="*/ 80 h 147"/>
              <a:gd name="T72" fmla="*/ 354 w 379"/>
              <a:gd name="T73" fmla="*/ 86 h 147"/>
              <a:gd name="T74" fmla="*/ 379 w 379"/>
              <a:gd name="T75" fmla="*/ 92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79" h="147">
                <a:moveTo>
                  <a:pt x="379" y="92"/>
                </a:moveTo>
                <a:lnTo>
                  <a:pt x="375" y="94"/>
                </a:lnTo>
                <a:lnTo>
                  <a:pt x="366" y="98"/>
                </a:lnTo>
                <a:lnTo>
                  <a:pt x="360" y="101"/>
                </a:lnTo>
                <a:lnTo>
                  <a:pt x="357" y="105"/>
                </a:lnTo>
                <a:lnTo>
                  <a:pt x="354" y="108"/>
                </a:lnTo>
                <a:lnTo>
                  <a:pt x="353" y="111"/>
                </a:lnTo>
                <a:lnTo>
                  <a:pt x="347" y="117"/>
                </a:lnTo>
                <a:lnTo>
                  <a:pt x="341" y="123"/>
                </a:lnTo>
                <a:lnTo>
                  <a:pt x="333" y="127"/>
                </a:lnTo>
                <a:lnTo>
                  <a:pt x="324" y="130"/>
                </a:lnTo>
                <a:lnTo>
                  <a:pt x="320" y="131"/>
                </a:lnTo>
                <a:lnTo>
                  <a:pt x="315" y="132"/>
                </a:lnTo>
                <a:lnTo>
                  <a:pt x="311" y="132"/>
                </a:lnTo>
                <a:lnTo>
                  <a:pt x="306" y="131"/>
                </a:lnTo>
                <a:lnTo>
                  <a:pt x="301" y="130"/>
                </a:lnTo>
                <a:lnTo>
                  <a:pt x="296" y="128"/>
                </a:lnTo>
                <a:lnTo>
                  <a:pt x="291" y="126"/>
                </a:lnTo>
                <a:lnTo>
                  <a:pt x="286" y="123"/>
                </a:lnTo>
                <a:lnTo>
                  <a:pt x="281" y="119"/>
                </a:lnTo>
                <a:lnTo>
                  <a:pt x="277" y="117"/>
                </a:lnTo>
                <a:lnTo>
                  <a:pt x="275" y="116"/>
                </a:lnTo>
                <a:lnTo>
                  <a:pt x="271" y="116"/>
                </a:lnTo>
                <a:lnTo>
                  <a:pt x="269" y="118"/>
                </a:lnTo>
                <a:lnTo>
                  <a:pt x="268" y="120"/>
                </a:lnTo>
                <a:lnTo>
                  <a:pt x="267" y="123"/>
                </a:lnTo>
                <a:lnTo>
                  <a:pt x="266" y="126"/>
                </a:lnTo>
                <a:lnTo>
                  <a:pt x="266" y="140"/>
                </a:lnTo>
                <a:lnTo>
                  <a:pt x="266" y="147"/>
                </a:lnTo>
                <a:lnTo>
                  <a:pt x="257" y="145"/>
                </a:lnTo>
                <a:lnTo>
                  <a:pt x="251" y="143"/>
                </a:lnTo>
                <a:lnTo>
                  <a:pt x="244" y="140"/>
                </a:lnTo>
                <a:lnTo>
                  <a:pt x="240" y="137"/>
                </a:lnTo>
                <a:lnTo>
                  <a:pt x="229" y="131"/>
                </a:lnTo>
                <a:lnTo>
                  <a:pt x="213" y="123"/>
                </a:lnTo>
                <a:lnTo>
                  <a:pt x="113" y="141"/>
                </a:lnTo>
                <a:lnTo>
                  <a:pt x="95" y="132"/>
                </a:lnTo>
                <a:lnTo>
                  <a:pt x="80" y="124"/>
                </a:lnTo>
                <a:lnTo>
                  <a:pt x="68" y="116"/>
                </a:lnTo>
                <a:lnTo>
                  <a:pt x="58" y="109"/>
                </a:lnTo>
                <a:lnTo>
                  <a:pt x="51" y="101"/>
                </a:lnTo>
                <a:lnTo>
                  <a:pt x="45" y="94"/>
                </a:lnTo>
                <a:lnTo>
                  <a:pt x="40" y="88"/>
                </a:lnTo>
                <a:lnTo>
                  <a:pt x="37" y="82"/>
                </a:lnTo>
                <a:lnTo>
                  <a:pt x="31" y="70"/>
                </a:lnTo>
                <a:lnTo>
                  <a:pt x="26" y="59"/>
                </a:lnTo>
                <a:lnTo>
                  <a:pt x="21" y="54"/>
                </a:lnTo>
                <a:lnTo>
                  <a:pt x="16" y="48"/>
                </a:lnTo>
                <a:lnTo>
                  <a:pt x="9" y="42"/>
                </a:lnTo>
                <a:lnTo>
                  <a:pt x="0" y="36"/>
                </a:lnTo>
                <a:lnTo>
                  <a:pt x="16" y="39"/>
                </a:lnTo>
                <a:lnTo>
                  <a:pt x="29" y="40"/>
                </a:lnTo>
                <a:lnTo>
                  <a:pt x="41" y="40"/>
                </a:lnTo>
                <a:lnTo>
                  <a:pt x="52" y="38"/>
                </a:lnTo>
                <a:lnTo>
                  <a:pt x="62" y="36"/>
                </a:lnTo>
                <a:lnTo>
                  <a:pt x="72" y="33"/>
                </a:lnTo>
                <a:lnTo>
                  <a:pt x="79" y="29"/>
                </a:lnTo>
                <a:lnTo>
                  <a:pt x="87" y="25"/>
                </a:lnTo>
                <a:lnTo>
                  <a:pt x="102" y="16"/>
                </a:lnTo>
                <a:lnTo>
                  <a:pt x="119" y="8"/>
                </a:lnTo>
                <a:lnTo>
                  <a:pt x="128" y="5"/>
                </a:lnTo>
                <a:lnTo>
                  <a:pt x="138" y="2"/>
                </a:lnTo>
                <a:lnTo>
                  <a:pt x="149" y="1"/>
                </a:lnTo>
                <a:lnTo>
                  <a:pt x="159" y="0"/>
                </a:lnTo>
                <a:lnTo>
                  <a:pt x="179" y="11"/>
                </a:lnTo>
                <a:lnTo>
                  <a:pt x="200" y="23"/>
                </a:lnTo>
                <a:lnTo>
                  <a:pt x="222" y="34"/>
                </a:lnTo>
                <a:lnTo>
                  <a:pt x="244" y="45"/>
                </a:lnTo>
                <a:lnTo>
                  <a:pt x="278" y="61"/>
                </a:lnTo>
                <a:lnTo>
                  <a:pt x="292" y="67"/>
                </a:lnTo>
                <a:lnTo>
                  <a:pt x="314" y="73"/>
                </a:lnTo>
                <a:lnTo>
                  <a:pt x="333" y="80"/>
                </a:lnTo>
                <a:lnTo>
                  <a:pt x="343" y="83"/>
                </a:lnTo>
                <a:lnTo>
                  <a:pt x="354" y="86"/>
                </a:lnTo>
                <a:lnTo>
                  <a:pt x="365" y="89"/>
                </a:lnTo>
                <a:lnTo>
                  <a:pt x="379" y="9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02" name="Freeform 454"/>
          <p:cNvSpPr>
            <a:spLocks/>
          </p:cNvSpPr>
          <p:nvPr>
            <p:custDataLst>
              <p:tags r:id="rId292"/>
            </p:custDataLst>
          </p:nvPr>
        </p:nvSpPr>
        <p:spPr bwMode="auto">
          <a:xfrm>
            <a:off x="5754688" y="1906589"/>
            <a:ext cx="30162" cy="60325"/>
          </a:xfrm>
          <a:custGeom>
            <a:avLst/>
            <a:gdLst>
              <a:gd name="T0" fmla="*/ 0 w 61"/>
              <a:gd name="T1" fmla="*/ 0 h 67"/>
              <a:gd name="T2" fmla="*/ 0 w 61"/>
              <a:gd name="T3" fmla="*/ 9 h 67"/>
              <a:gd name="T4" fmla="*/ 0 w 61"/>
              <a:gd name="T5" fmla="*/ 18 h 67"/>
              <a:gd name="T6" fmla="*/ 1 w 61"/>
              <a:gd name="T7" fmla="*/ 24 h 67"/>
              <a:gd name="T8" fmla="*/ 2 w 61"/>
              <a:gd name="T9" fmla="*/ 30 h 67"/>
              <a:gd name="T10" fmla="*/ 3 w 61"/>
              <a:gd name="T11" fmla="*/ 36 h 67"/>
              <a:gd name="T12" fmla="*/ 6 w 61"/>
              <a:gd name="T13" fmla="*/ 42 h 67"/>
              <a:gd name="T14" fmla="*/ 12 w 61"/>
              <a:gd name="T15" fmla="*/ 55 h 67"/>
              <a:gd name="T16" fmla="*/ 21 w 61"/>
              <a:gd name="T17" fmla="*/ 67 h 67"/>
              <a:gd name="T18" fmla="*/ 28 w 61"/>
              <a:gd name="T19" fmla="*/ 65 h 67"/>
              <a:gd name="T20" fmla="*/ 35 w 61"/>
              <a:gd name="T21" fmla="*/ 61 h 67"/>
              <a:gd name="T22" fmla="*/ 42 w 61"/>
              <a:gd name="T23" fmla="*/ 58 h 67"/>
              <a:gd name="T24" fmla="*/ 48 w 61"/>
              <a:gd name="T25" fmla="*/ 53 h 67"/>
              <a:gd name="T26" fmla="*/ 53 w 61"/>
              <a:gd name="T27" fmla="*/ 47 h 67"/>
              <a:gd name="T28" fmla="*/ 57 w 61"/>
              <a:gd name="T29" fmla="*/ 40 h 67"/>
              <a:gd name="T30" fmla="*/ 59 w 61"/>
              <a:gd name="T31" fmla="*/ 32 h 67"/>
              <a:gd name="T32" fmla="*/ 61 w 61"/>
              <a:gd name="T33" fmla="*/ 24 h 67"/>
              <a:gd name="T34" fmla="*/ 53 w 61"/>
              <a:gd name="T35" fmla="*/ 14 h 67"/>
              <a:gd name="T36" fmla="*/ 41 w 61"/>
              <a:gd name="T37" fmla="*/ 0 h 67"/>
              <a:gd name="T38" fmla="*/ 28 w 61"/>
              <a:gd name="T39" fmla="*/ 3 h 67"/>
              <a:gd name="T40" fmla="*/ 18 w 61"/>
              <a:gd name="T41" fmla="*/ 4 h 67"/>
              <a:gd name="T42" fmla="*/ 13 w 61"/>
              <a:gd name="T43" fmla="*/ 4 h 67"/>
              <a:gd name="T44" fmla="*/ 10 w 61"/>
              <a:gd name="T45" fmla="*/ 3 h 67"/>
              <a:gd name="T46" fmla="*/ 6 w 61"/>
              <a:gd name="T47" fmla="*/ 2 h 67"/>
              <a:gd name="T48" fmla="*/ 0 w 61"/>
              <a:gd name="T49" fmla="*/ 0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1" h="67">
                <a:moveTo>
                  <a:pt x="0" y="0"/>
                </a:moveTo>
                <a:lnTo>
                  <a:pt x="0" y="9"/>
                </a:lnTo>
                <a:lnTo>
                  <a:pt x="0" y="18"/>
                </a:lnTo>
                <a:lnTo>
                  <a:pt x="1" y="24"/>
                </a:lnTo>
                <a:lnTo>
                  <a:pt x="2" y="30"/>
                </a:lnTo>
                <a:lnTo>
                  <a:pt x="3" y="36"/>
                </a:lnTo>
                <a:lnTo>
                  <a:pt x="6" y="42"/>
                </a:lnTo>
                <a:lnTo>
                  <a:pt x="12" y="55"/>
                </a:lnTo>
                <a:lnTo>
                  <a:pt x="21" y="67"/>
                </a:lnTo>
                <a:lnTo>
                  <a:pt x="28" y="65"/>
                </a:lnTo>
                <a:lnTo>
                  <a:pt x="35" y="61"/>
                </a:lnTo>
                <a:lnTo>
                  <a:pt x="42" y="58"/>
                </a:lnTo>
                <a:lnTo>
                  <a:pt x="48" y="53"/>
                </a:lnTo>
                <a:lnTo>
                  <a:pt x="53" y="47"/>
                </a:lnTo>
                <a:lnTo>
                  <a:pt x="57" y="40"/>
                </a:lnTo>
                <a:lnTo>
                  <a:pt x="59" y="32"/>
                </a:lnTo>
                <a:lnTo>
                  <a:pt x="61" y="24"/>
                </a:lnTo>
                <a:lnTo>
                  <a:pt x="53" y="14"/>
                </a:lnTo>
                <a:lnTo>
                  <a:pt x="41" y="0"/>
                </a:lnTo>
                <a:lnTo>
                  <a:pt x="28" y="3"/>
                </a:lnTo>
                <a:lnTo>
                  <a:pt x="18" y="4"/>
                </a:lnTo>
                <a:lnTo>
                  <a:pt x="13" y="4"/>
                </a:lnTo>
                <a:lnTo>
                  <a:pt x="10" y="3"/>
                </a:lnTo>
                <a:lnTo>
                  <a:pt x="6" y="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03" name="Freeform 455"/>
          <p:cNvSpPr>
            <a:spLocks/>
          </p:cNvSpPr>
          <p:nvPr>
            <p:custDataLst>
              <p:tags r:id="rId293"/>
            </p:custDataLst>
          </p:nvPr>
        </p:nvSpPr>
        <p:spPr bwMode="auto">
          <a:xfrm>
            <a:off x="5726113" y="1911350"/>
            <a:ext cx="25400" cy="58738"/>
          </a:xfrm>
          <a:custGeom>
            <a:avLst/>
            <a:gdLst>
              <a:gd name="T0" fmla="*/ 0 w 60"/>
              <a:gd name="T1" fmla="*/ 6 h 55"/>
              <a:gd name="T2" fmla="*/ 0 w 60"/>
              <a:gd name="T3" fmla="*/ 24 h 55"/>
              <a:gd name="T4" fmla="*/ 5 w 60"/>
              <a:gd name="T5" fmla="*/ 32 h 55"/>
              <a:gd name="T6" fmla="*/ 10 w 60"/>
              <a:gd name="T7" fmla="*/ 40 h 55"/>
              <a:gd name="T8" fmla="*/ 16 w 60"/>
              <a:gd name="T9" fmla="*/ 45 h 55"/>
              <a:gd name="T10" fmla="*/ 21 w 60"/>
              <a:gd name="T11" fmla="*/ 49 h 55"/>
              <a:gd name="T12" fmla="*/ 27 w 60"/>
              <a:gd name="T13" fmla="*/ 52 h 55"/>
              <a:gd name="T14" fmla="*/ 33 w 60"/>
              <a:gd name="T15" fmla="*/ 54 h 55"/>
              <a:gd name="T16" fmla="*/ 40 w 60"/>
              <a:gd name="T17" fmla="*/ 55 h 55"/>
              <a:gd name="T18" fmla="*/ 46 w 60"/>
              <a:gd name="T19" fmla="*/ 55 h 55"/>
              <a:gd name="T20" fmla="*/ 53 w 60"/>
              <a:gd name="T21" fmla="*/ 52 h 55"/>
              <a:gd name="T22" fmla="*/ 60 w 60"/>
              <a:gd name="T23" fmla="*/ 49 h 55"/>
              <a:gd name="T24" fmla="*/ 50 w 60"/>
              <a:gd name="T25" fmla="*/ 34 h 55"/>
              <a:gd name="T26" fmla="*/ 42 w 60"/>
              <a:gd name="T27" fmla="*/ 22 h 55"/>
              <a:gd name="T28" fmla="*/ 39 w 60"/>
              <a:gd name="T29" fmla="*/ 17 h 55"/>
              <a:gd name="T30" fmla="*/ 35 w 60"/>
              <a:gd name="T31" fmla="*/ 12 h 55"/>
              <a:gd name="T32" fmla="*/ 34 w 60"/>
              <a:gd name="T33" fmla="*/ 6 h 55"/>
              <a:gd name="T34" fmla="*/ 33 w 60"/>
              <a:gd name="T35" fmla="*/ 0 h 55"/>
              <a:gd name="T36" fmla="*/ 23 w 60"/>
              <a:gd name="T37" fmla="*/ 1 h 55"/>
              <a:gd name="T38" fmla="*/ 15 w 60"/>
              <a:gd name="T39" fmla="*/ 3 h 55"/>
              <a:gd name="T40" fmla="*/ 7 w 60"/>
              <a:gd name="T41" fmla="*/ 5 h 55"/>
              <a:gd name="T42" fmla="*/ 0 w 60"/>
              <a:gd name="T43" fmla="*/ 6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60" h="55">
                <a:moveTo>
                  <a:pt x="0" y="6"/>
                </a:moveTo>
                <a:lnTo>
                  <a:pt x="0" y="24"/>
                </a:lnTo>
                <a:lnTo>
                  <a:pt x="5" y="32"/>
                </a:lnTo>
                <a:lnTo>
                  <a:pt x="10" y="40"/>
                </a:lnTo>
                <a:lnTo>
                  <a:pt x="16" y="45"/>
                </a:lnTo>
                <a:lnTo>
                  <a:pt x="21" y="49"/>
                </a:lnTo>
                <a:lnTo>
                  <a:pt x="27" y="52"/>
                </a:lnTo>
                <a:lnTo>
                  <a:pt x="33" y="54"/>
                </a:lnTo>
                <a:lnTo>
                  <a:pt x="40" y="55"/>
                </a:lnTo>
                <a:lnTo>
                  <a:pt x="46" y="55"/>
                </a:lnTo>
                <a:lnTo>
                  <a:pt x="53" y="52"/>
                </a:lnTo>
                <a:lnTo>
                  <a:pt x="60" y="49"/>
                </a:lnTo>
                <a:lnTo>
                  <a:pt x="50" y="34"/>
                </a:lnTo>
                <a:lnTo>
                  <a:pt x="42" y="22"/>
                </a:lnTo>
                <a:lnTo>
                  <a:pt x="39" y="17"/>
                </a:lnTo>
                <a:lnTo>
                  <a:pt x="35" y="12"/>
                </a:lnTo>
                <a:lnTo>
                  <a:pt x="34" y="6"/>
                </a:lnTo>
                <a:lnTo>
                  <a:pt x="33" y="0"/>
                </a:lnTo>
                <a:lnTo>
                  <a:pt x="23" y="1"/>
                </a:lnTo>
                <a:lnTo>
                  <a:pt x="15" y="3"/>
                </a:lnTo>
                <a:lnTo>
                  <a:pt x="7" y="5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04" name="Freeform 456"/>
          <p:cNvSpPr>
            <a:spLocks/>
          </p:cNvSpPr>
          <p:nvPr>
            <p:custDataLst>
              <p:tags r:id="rId294"/>
            </p:custDataLst>
          </p:nvPr>
        </p:nvSpPr>
        <p:spPr bwMode="auto">
          <a:xfrm>
            <a:off x="5695950" y="1857375"/>
            <a:ext cx="52388" cy="77788"/>
          </a:xfrm>
          <a:custGeom>
            <a:avLst/>
            <a:gdLst>
              <a:gd name="T0" fmla="*/ 74 w 120"/>
              <a:gd name="T1" fmla="*/ 129 h 148"/>
              <a:gd name="T2" fmla="*/ 70 w 120"/>
              <a:gd name="T3" fmla="*/ 131 h 148"/>
              <a:gd name="T4" fmla="*/ 67 w 120"/>
              <a:gd name="T5" fmla="*/ 132 h 148"/>
              <a:gd name="T6" fmla="*/ 64 w 120"/>
              <a:gd name="T7" fmla="*/ 133 h 148"/>
              <a:gd name="T8" fmla="*/ 60 w 120"/>
              <a:gd name="T9" fmla="*/ 133 h 148"/>
              <a:gd name="T10" fmla="*/ 56 w 120"/>
              <a:gd name="T11" fmla="*/ 133 h 148"/>
              <a:gd name="T12" fmla="*/ 53 w 120"/>
              <a:gd name="T13" fmla="*/ 132 h 148"/>
              <a:gd name="T14" fmla="*/ 50 w 120"/>
              <a:gd name="T15" fmla="*/ 131 h 148"/>
              <a:gd name="T16" fmla="*/ 47 w 120"/>
              <a:gd name="T17" fmla="*/ 129 h 148"/>
              <a:gd name="T18" fmla="*/ 41 w 120"/>
              <a:gd name="T19" fmla="*/ 128 h 148"/>
              <a:gd name="T20" fmla="*/ 34 w 120"/>
              <a:gd name="T21" fmla="*/ 125 h 148"/>
              <a:gd name="T22" fmla="*/ 26 w 120"/>
              <a:gd name="T23" fmla="*/ 120 h 148"/>
              <a:gd name="T24" fmla="*/ 19 w 120"/>
              <a:gd name="T25" fmla="*/ 115 h 148"/>
              <a:gd name="T26" fmla="*/ 11 w 120"/>
              <a:gd name="T27" fmla="*/ 108 h 148"/>
              <a:gd name="T28" fmla="*/ 6 w 120"/>
              <a:gd name="T29" fmla="*/ 101 h 148"/>
              <a:gd name="T30" fmla="*/ 3 w 120"/>
              <a:gd name="T31" fmla="*/ 97 h 148"/>
              <a:gd name="T32" fmla="*/ 2 w 120"/>
              <a:gd name="T33" fmla="*/ 94 h 148"/>
              <a:gd name="T34" fmla="*/ 1 w 120"/>
              <a:gd name="T35" fmla="*/ 90 h 148"/>
              <a:gd name="T36" fmla="*/ 0 w 120"/>
              <a:gd name="T37" fmla="*/ 87 h 148"/>
              <a:gd name="T38" fmla="*/ 2 w 120"/>
              <a:gd name="T39" fmla="*/ 73 h 148"/>
              <a:gd name="T40" fmla="*/ 8 w 120"/>
              <a:gd name="T41" fmla="*/ 55 h 148"/>
              <a:gd name="T42" fmla="*/ 14 w 120"/>
              <a:gd name="T43" fmla="*/ 35 h 148"/>
              <a:gd name="T44" fmla="*/ 20 w 120"/>
              <a:gd name="T45" fmla="*/ 18 h 148"/>
              <a:gd name="T46" fmla="*/ 32 w 120"/>
              <a:gd name="T47" fmla="*/ 17 h 148"/>
              <a:gd name="T48" fmla="*/ 42 w 120"/>
              <a:gd name="T49" fmla="*/ 16 h 148"/>
              <a:gd name="T50" fmla="*/ 51 w 120"/>
              <a:gd name="T51" fmla="*/ 14 h 148"/>
              <a:gd name="T52" fmla="*/ 58 w 120"/>
              <a:gd name="T53" fmla="*/ 11 h 148"/>
              <a:gd name="T54" fmla="*/ 70 w 120"/>
              <a:gd name="T55" fmla="*/ 5 h 148"/>
              <a:gd name="T56" fmla="*/ 80 w 120"/>
              <a:gd name="T57" fmla="*/ 0 h 148"/>
              <a:gd name="T58" fmla="*/ 85 w 120"/>
              <a:gd name="T59" fmla="*/ 2 h 148"/>
              <a:gd name="T60" fmla="*/ 93 w 120"/>
              <a:gd name="T61" fmla="*/ 7 h 148"/>
              <a:gd name="T62" fmla="*/ 98 w 120"/>
              <a:gd name="T63" fmla="*/ 10 h 148"/>
              <a:gd name="T64" fmla="*/ 102 w 120"/>
              <a:gd name="T65" fmla="*/ 13 h 148"/>
              <a:gd name="T66" fmla="*/ 106 w 120"/>
              <a:gd name="T67" fmla="*/ 16 h 148"/>
              <a:gd name="T68" fmla="*/ 107 w 120"/>
              <a:gd name="T69" fmla="*/ 18 h 148"/>
              <a:gd name="T70" fmla="*/ 100 w 120"/>
              <a:gd name="T71" fmla="*/ 28 h 148"/>
              <a:gd name="T72" fmla="*/ 93 w 120"/>
              <a:gd name="T73" fmla="*/ 37 h 148"/>
              <a:gd name="T74" fmla="*/ 95 w 120"/>
              <a:gd name="T75" fmla="*/ 42 h 148"/>
              <a:gd name="T76" fmla="*/ 98 w 120"/>
              <a:gd name="T77" fmla="*/ 49 h 148"/>
              <a:gd name="T78" fmla="*/ 102 w 120"/>
              <a:gd name="T79" fmla="*/ 56 h 148"/>
              <a:gd name="T80" fmla="*/ 107 w 120"/>
              <a:gd name="T81" fmla="*/ 63 h 148"/>
              <a:gd name="T82" fmla="*/ 115 w 120"/>
              <a:gd name="T83" fmla="*/ 75 h 148"/>
              <a:gd name="T84" fmla="*/ 120 w 120"/>
              <a:gd name="T85" fmla="*/ 79 h 148"/>
              <a:gd name="T86" fmla="*/ 113 w 120"/>
              <a:gd name="T87" fmla="*/ 81 h 148"/>
              <a:gd name="T88" fmla="*/ 107 w 120"/>
              <a:gd name="T89" fmla="*/ 84 h 148"/>
              <a:gd name="T90" fmla="*/ 100 w 120"/>
              <a:gd name="T91" fmla="*/ 87 h 148"/>
              <a:gd name="T92" fmla="*/ 96 w 120"/>
              <a:gd name="T93" fmla="*/ 91 h 148"/>
              <a:gd name="T94" fmla="*/ 90 w 120"/>
              <a:gd name="T95" fmla="*/ 95 h 148"/>
              <a:gd name="T96" fmla="*/ 87 w 120"/>
              <a:gd name="T97" fmla="*/ 99 h 148"/>
              <a:gd name="T98" fmla="*/ 82 w 120"/>
              <a:gd name="T99" fmla="*/ 104 h 148"/>
              <a:gd name="T100" fmla="*/ 80 w 120"/>
              <a:gd name="T101" fmla="*/ 109 h 148"/>
              <a:gd name="T102" fmla="*/ 78 w 120"/>
              <a:gd name="T103" fmla="*/ 114 h 148"/>
              <a:gd name="T104" fmla="*/ 77 w 120"/>
              <a:gd name="T105" fmla="*/ 120 h 148"/>
              <a:gd name="T106" fmla="*/ 76 w 120"/>
              <a:gd name="T107" fmla="*/ 125 h 148"/>
              <a:gd name="T108" fmla="*/ 75 w 120"/>
              <a:gd name="T109" fmla="*/ 130 h 148"/>
              <a:gd name="T110" fmla="*/ 76 w 120"/>
              <a:gd name="T111" fmla="*/ 135 h 148"/>
              <a:gd name="T112" fmla="*/ 77 w 120"/>
              <a:gd name="T113" fmla="*/ 140 h 148"/>
              <a:gd name="T114" fmla="*/ 78 w 120"/>
              <a:gd name="T115" fmla="*/ 144 h 148"/>
              <a:gd name="T116" fmla="*/ 80 w 120"/>
              <a:gd name="T117" fmla="*/ 148 h 148"/>
              <a:gd name="T118" fmla="*/ 74 w 120"/>
              <a:gd name="T119" fmla="*/ 129 h 1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20" h="148">
                <a:moveTo>
                  <a:pt x="74" y="129"/>
                </a:moveTo>
                <a:lnTo>
                  <a:pt x="70" y="131"/>
                </a:lnTo>
                <a:lnTo>
                  <a:pt x="67" y="132"/>
                </a:lnTo>
                <a:lnTo>
                  <a:pt x="64" y="133"/>
                </a:lnTo>
                <a:lnTo>
                  <a:pt x="60" y="133"/>
                </a:lnTo>
                <a:lnTo>
                  <a:pt x="56" y="133"/>
                </a:lnTo>
                <a:lnTo>
                  <a:pt x="53" y="132"/>
                </a:lnTo>
                <a:lnTo>
                  <a:pt x="50" y="131"/>
                </a:lnTo>
                <a:lnTo>
                  <a:pt x="47" y="129"/>
                </a:lnTo>
                <a:lnTo>
                  <a:pt x="41" y="128"/>
                </a:lnTo>
                <a:lnTo>
                  <a:pt x="34" y="125"/>
                </a:lnTo>
                <a:lnTo>
                  <a:pt x="26" y="120"/>
                </a:lnTo>
                <a:lnTo>
                  <a:pt x="19" y="115"/>
                </a:lnTo>
                <a:lnTo>
                  <a:pt x="11" y="108"/>
                </a:lnTo>
                <a:lnTo>
                  <a:pt x="6" y="101"/>
                </a:lnTo>
                <a:lnTo>
                  <a:pt x="3" y="97"/>
                </a:lnTo>
                <a:lnTo>
                  <a:pt x="2" y="94"/>
                </a:lnTo>
                <a:lnTo>
                  <a:pt x="1" y="90"/>
                </a:lnTo>
                <a:lnTo>
                  <a:pt x="0" y="87"/>
                </a:lnTo>
                <a:lnTo>
                  <a:pt x="2" y="73"/>
                </a:lnTo>
                <a:lnTo>
                  <a:pt x="8" y="55"/>
                </a:lnTo>
                <a:lnTo>
                  <a:pt x="14" y="35"/>
                </a:lnTo>
                <a:lnTo>
                  <a:pt x="20" y="18"/>
                </a:lnTo>
                <a:lnTo>
                  <a:pt x="32" y="17"/>
                </a:lnTo>
                <a:lnTo>
                  <a:pt x="42" y="16"/>
                </a:lnTo>
                <a:lnTo>
                  <a:pt x="51" y="14"/>
                </a:lnTo>
                <a:lnTo>
                  <a:pt x="58" y="11"/>
                </a:lnTo>
                <a:lnTo>
                  <a:pt x="70" y="5"/>
                </a:lnTo>
                <a:lnTo>
                  <a:pt x="80" y="0"/>
                </a:lnTo>
                <a:lnTo>
                  <a:pt x="85" y="2"/>
                </a:lnTo>
                <a:lnTo>
                  <a:pt x="93" y="7"/>
                </a:lnTo>
                <a:lnTo>
                  <a:pt x="98" y="10"/>
                </a:lnTo>
                <a:lnTo>
                  <a:pt x="102" y="13"/>
                </a:lnTo>
                <a:lnTo>
                  <a:pt x="106" y="16"/>
                </a:lnTo>
                <a:lnTo>
                  <a:pt x="107" y="18"/>
                </a:lnTo>
                <a:lnTo>
                  <a:pt x="100" y="28"/>
                </a:lnTo>
                <a:lnTo>
                  <a:pt x="93" y="37"/>
                </a:lnTo>
                <a:lnTo>
                  <a:pt x="95" y="42"/>
                </a:lnTo>
                <a:lnTo>
                  <a:pt x="98" y="49"/>
                </a:lnTo>
                <a:lnTo>
                  <a:pt x="102" y="56"/>
                </a:lnTo>
                <a:lnTo>
                  <a:pt x="107" y="63"/>
                </a:lnTo>
                <a:lnTo>
                  <a:pt x="115" y="75"/>
                </a:lnTo>
                <a:lnTo>
                  <a:pt x="120" y="79"/>
                </a:lnTo>
                <a:lnTo>
                  <a:pt x="113" y="81"/>
                </a:lnTo>
                <a:lnTo>
                  <a:pt x="107" y="84"/>
                </a:lnTo>
                <a:lnTo>
                  <a:pt x="100" y="87"/>
                </a:lnTo>
                <a:lnTo>
                  <a:pt x="96" y="91"/>
                </a:lnTo>
                <a:lnTo>
                  <a:pt x="90" y="95"/>
                </a:lnTo>
                <a:lnTo>
                  <a:pt x="87" y="99"/>
                </a:lnTo>
                <a:lnTo>
                  <a:pt x="82" y="104"/>
                </a:lnTo>
                <a:lnTo>
                  <a:pt x="80" y="109"/>
                </a:lnTo>
                <a:lnTo>
                  <a:pt x="78" y="114"/>
                </a:lnTo>
                <a:lnTo>
                  <a:pt x="77" y="120"/>
                </a:lnTo>
                <a:lnTo>
                  <a:pt x="76" y="125"/>
                </a:lnTo>
                <a:lnTo>
                  <a:pt x="75" y="130"/>
                </a:lnTo>
                <a:lnTo>
                  <a:pt x="76" y="135"/>
                </a:lnTo>
                <a:lnTo>
                  <a:pt x="77" y="140"/>
                </a:lnTo>
                <a:lnTo>
                  <a:pt x="78" y="144"/>
                </a:lnTo>
                <a:lnTo>
                  <a:pt x="80" y="148"/>
                </a:lnTo>
                <a:lnTo>
                  <a:pt x="74" y="12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05" name="Freeform 457"/>
          <p:cNvSpPr>
            <a:spLocks/>
          </p:cNvSpPr>
          <p:nvPr>
            <p:custDataLst>
              <p:tags r:id="rId295"/>
            </p:custDataLst>
          </p:nvPr>
        </p:nvSpPr>
        <p:spPr bwMode="auto">
          <a:xfrm>
            <a:off x="6127750" y="2662239"/>
            <a:ext cx="273050" cy="307975"/>
          </a:xfrm>
          <a:custGeom>
            <a:avLst/>
            <a:gdLst>
              <a:gd name="T0" fmla="*/ 21 w 631"/>
              <a:gd name="T1" fmla="*/ 2 h 592"/>
              <a:gd name="T2" fmla="*/ 32 w 631"/>
              <a:gd name="T3" fmla="*/ 4 h 592"/>
              <a:gd name="T4" fmla="*/ 54 w 631"/>
              <a:gd name="T5" fmla="*/ 8 h 592"/>
              <a:gd name="T6" fmla="*/ 78 w 631"/>
              <a:gd name="T7" fmla="*/ 11 h 592"/>
              <a:gd name="T8" fmla="*/ 104 w 631"/>
              <a:gd name="T9" fmla="*/ 19 h 592"/>
              <a:gd name="T10" fmla="*/ 130 w 631"/>
              <a:gd name="T11" fmla="*/ 32 h 592"/>
              <a:gd name="T12" fmla="*/ 146 w 631"/>
              <a:gd name="T13" fmla="*/ 40 h 592"/>
              <a:gd name="T14" fmla="*/ 159 w 631"/>
              <a:gd name="T15" fmla="*/ 43 h 592"/>
              <a:gd name="T16" fmla="*/ 189 w 631"/>
              <a:gd name="T17" fmla="*/ 43 h 592"/>
              <a:gd name="T18" fmla="*/ 227 w 631"/>
              <a:gd name="T19" fmla="*/ 37 h 592"/>
              <a:gd name="T20" fmla="*/ 277 w 631"/>
              <a:gd name="T21" fmla="*/ 23 h 592"/>
              <a:gd name="T22" fmla="*/ 399 w 631"/>
              <a:gd name="T23" fmla="*/ 38 h 592"/>
              <a:gd name="T24" fmla="*/ 403 w 631"/>
              <a:gd name="T25" fmla="*/ 69 h 592"/>
              <a:gd name="T26" fmla="*/ 410 w 631"/>
              <a:gd name="T27" fmla="*/ 95 h 592"/>
              <a:gd name="T28" fmla="*/ 417 w 631"/>
              <a:gd name="T29" fmla="*/ 119 h 592"/>
              <a:gd name="T30" fmla="*/ 427 w 631"/>
              <a:gd name="T31" fmla="*/ 140 h 592"/>
              <a:gd name="T32" fmla="*/ 450 w 631"/>
              <a:gd name="T33" fmla="*/ 175 h 592"/>
              <a:gd name="T34" fmla="*/ 472 w 631"/>
              <a:gd name="T35" fmla="*/ 204 h 592"/>
              <a:gd name="T36" fmla="*/ 482 w 631"/>
              <a:gd name="T37" fmla="*/ 222 h 592"/>
              <a:gd name="T38" fmla="*/ 485 w 631"/>
              <a:gd name="T39" fmla="*/ 240 h 592"/>
              <a:gd name="T40" fmla="*/ 491 w 631"/>
              <a:gd name="T41" fmla="*/ 255 h 592"/>
              <a:gd name="T42" fmla="*/ 496 w 631"/>
              <a:gd name="T43" fmla="*/ 261 h 592"/>
              <a:gd name="T44" fmla="*/ 505 w 631"/>
              <a:gd name="T45" fmla="*/ 266 h 592"/>
              <a:gd name="T46" fmla="*/ 513 w 631"/>
              <a:gd name="T47" fmla="*/ 270 h 592"/>
              <a:gd name="T48" fmla="*/ 519 w 631"/>
              <a:gd name="T49" fmla="*/ 278 h 592"/>
              <a:gd name="T50" fmla="*/ 533 w 631"/>
              <a:gd name="T51" fmla="*/ 303 h 592"/>
              <a:gd name="T52" fmla="*/ 541 w 631"/>
              <a:gd name="T53" fmla="*/ 331 h 592"/>
              <a:gd name="T54" fmla="*/ 545 w 631"/>
              <a:gd name="T55" fmla="*/ 358 h 592"/>
              <a:gd name="T56" fmla="*/ 548 w 631"/>
              <a:gd name="T57" fmla="*/ 368 h 592"/>
              <a:gd name="T58" fmla="*/ 557 w 631"/>
              <a:gd name="T59" fmla="*/ 381 h 592"/>
              <a:gd name="T60" fmla="*/ 583 w 631"/>
              <a:gd name="T61" fmla="*/ 415 h 592"/>
              <a:gd name="T62" fmla="*/ 612 w 631"/>
              <a:gd name="T63" fmla="*/ 447 h 592"/>
              <a:gd name="T64" fmla="*/ 631 w 631"/>
              <a:gd name="T65" fmla="*/ 463 h 592"/>
              <a:gd name="T66" fmla="*/ 612 w 631"/>
              <a:gd name="T67" fmla="*/ 481 h 592"/>
              <a:gd name="T68" fmla="*/ 624 w 631"/>
              <a:gd name="T69" fmla="*/ 496 h 592"/>
              <a:gd name="T70" fmla="*/ 626 w 631"/>
              <a:gd name="T71" fmla="*/ 507 h 592"/>
              <a:gd name="T72" fmla="*/ 626 w 631"/>
              <a:gd name="T73" fmla="*/ 516 h 592"/>
              <a:gd name="T74" fmla="*/ 631 w 631"/>
              <a:gd name="T75" fmla="*/ 531 h 592"/>
              <a:gd name="T76" fmla="*/ 626 w 631"/>
              <a:gd name="T77" fmla="*/ 539 h 592"/>
              <a:gd name="T78" fmla="*/ 617 w 631"/>
              <a:gd name="T79" fmla="*/ 548 h 592"/>
              <a:gd name="T80" fmla="*/ 592 w 631"/>
              <a:gd name="T81" fmla="*/ 569 h 592"/>
              <a:gd name="T82" fmla="*/ 558 w 631"/>
              <a:gd name="T83" fmla="*/ 592 h 592"/>
              <a:gd name="T84" fmla="*/ 46 w 631"/>
              <a:gd name="T85" fmla="*/ 174 h 592"/>
              <a:gd name="T86" fmla="*/ 25 w 631"/>
              <a:gd name="T87" fmla="*/ 157 h 592"/>
              <a:gd name="T88" fmla="*/ 11 w 631"/>
              <a:gd name="T89" fmla="*/ 138 h 592"/>
              <a:gd name="T90" fmla="*/ 2 w 631"/>
              <a:gd name="T91" fmla="*/ 117 h 592"/>
              <a:gd name="T92" fmla="*/ 0 w 631"/>
              <a:gd name="T93" fmla="*/ 93 h 592"/>
              <a:gd name="T94" fmla="*/ 3 w 631"/>
              <a:gd name="T95" fmla="*/ 89 h 592"/>
              <a:gd name="T96" fmla="*/ 10 w 631"/>
              <a:gd name="T97" fmla="*/ 83 h 592"/>
              <a:gd name="T98" fmla="*/ 17 w 631"/>
              <a:gd name="T99" fmla="*/ 77 h 592"/>
              <a:gd name="T100" fmla="*/ 20 w 631"/>
              <a:gd name="T101" fmla="*/ 69 h 592"/>
              <a:gd name="T102" fmla="*/ 18 w 631"/>
              <a:gd name="T103" fmla="*/ 53 h 592"/>
              <a:gd name="T104" fmla="*/ 13 w 631"/>
              <a:gd name="T105" fmla="*/ 42 h 592"/>
              <a:gd name="T106" fmla="*/ 9 w 631"/>
              <a:gd name="T107" fmla="*/ 34 h 592"/>
              <a:gd name="T108" fmla="*/ 7 w 631"/>
              <a:gd name="T109" fmla="*/ 26 h 592"/>
              <a:gd name="T110" fmla="*/ 13 w 631"/>
              <a:gd name="T111" fmla="*/ 0 h 5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631" h="592">
                <a:moveTo>
                  <a:pt x="13" y="0"/>
                </a:moveTo>
                <a:lnTo>
                  <a:pt x="21" y="2"/>
                </a:lnTo>
                <a:lnTo>
                  <a:pt x="26" y="2"/>
                </a:lnTo>
                <a:lnTo>
                  <a:pt x="32" y="4"/>
                </a:lnTo>
                <a:lnTo>
                  <a:pt x="40" y="7"/>
                </a:lnTo>
                <a:lnTo>
                  <a:pt x="54" y="8"/>
                </a:lnTo>
                <a:lnTo>
                  <a:pt x="67" y="9"/>
                </a:lnTo>
                <a:lnTo>
                  <a:pt x="78" y="11"/>
                </a:lnTo>
                <a:lnTo>
                  <a:pt x="88" y="13"/>
                </a:lnTo>
                <a:lnTo>
                  <a:pt x="104" y="19"/>
                </a:lnTo>
                <a:lnTo>
                  <a:pt x="118" y="26"/>
                </a:lnTo>
                <a:lnTo>
                  <a:pt x="130" y="32"/>
                </a:lnTo>
                <a:lnTo>
                  <a:pt x="141" y="38"/>
                </a:lnTo>
                <a:lnTo>
                  <a:pt x="146" y="40"/>
                </a:lnTo>
                <a:lnTo>
                  <a:pt x="153" y="42"/>
                </a:lnTo>
                <a:lnTo>
                  <a:pt x="159" y="43"/>
                </a:lnTo>
                <a:lnTo>
                  <a:pt x="166" y="44"/>
                </a:lnTo>
                <a:lnTo>
                  <a:pt x="189" y="43"/>
                </a:lnTo>
                <a:lnTo>
                  <a:pt x="210" y="41"/>
                </a:lnTo>
                <a:lnTo>
                  <a:pt x="227" y="37"/>
                </a:lnTo>
                <a:lnTo>
                  <a:pt x="244" y="33"/>
                </a:lnTo>
                <a:lnTo>
                  <a:pt x="277" y="23"/>
                </a:lnTo>
                <a:lnTo>
                  <a:pt x="312" y="14"/>
                </a:lnTo>
                <a:lnTo>
                  <a:pt x="399" y="38"/>
                </a:lnTo>
                <a:lnTo>
                  <a:pt x="400" y="53"/>
                </a:lnTo>
                <a:lnTo>
                  <a:pt x="403" y="69"/>
                </a:lnTo>
                <a:lnTo>
                  <a:pt x="405" y="82"/>
                </a:lnTo>
                <a:lnTo>
                  <a:pt x="410" y="95"/>
                </a:lnTo>
                <a:lnTo>
                  <a:pt x="413" y="107"/>
                </a:lnTo>
                <a:lnTo>
                  <a:pt x="417" y="119"/>
                </a:lnTo>
                <a:lnTo>
                  <a:pt x="423" y="130"/>
                </a:lnTo>
                <a:lnTo>
                  <a:pt x="427" y="140"/>
                </a:lnTo>
                <a:lnTo>
                  <a:pt x="438" y="158"/>
                </a:lnTo>
                <a:lnTo>
                  <a:pt x="450" y="175"/>
                </a:lnTo>
                <a:lnTo>
                  <a:pt x="461" y="190"/>
                </a:lnTo>
                <a:lnTo>
                  <a:pt x="472" y="204"/>
                </a:lnTo>
                <a:lnTo>
                  <a:pt x="478" y="213"/>
                </a:lnTo>
                <a:lnTo>
                  <a:pt x="482" y="222"/>
                </a:lnTo>
                <a:lnTo>
                  <a:pt x="484" y="232"/>
                </a:lnTo>
                <a:lnTo>
                  <a:pt x="485" y="240"/>
                </a:lnTo>
                <a:lnTo>
                  <a:pt x="488" y="248"/>
                </a:lnTo>
                <a:lnTo>
                  <a:pt x="491" y="255"/>
                </a:lnTo>
                <a:lnTo>
                  <a:pt x="494" y="258"/>
                </a:lnTo>
                <a:lnTo>
                  <a:pt x="496" y="261"/>
                </a:lnTo>
                <a:lnTo>
                  <a:pt x="501" y="263"/>
                </a:lnTo>
                <a:lnTo>
                  <a:pt x="505" y="266"/>
                </a:lnTo>
                <a:lnTo>
                  <a:pt x="508" y="267"/>
                </a:lnTo>
                <a:lnTo>
                  <a:pt x="513" y="270"/>
                </a:lnTo>
                <a:lnTo>
                  <a:pt x="516" y="274"/>
                </a:lnTo>
                <a:lnTo>
                  <a:pt x="519" y="278"/>
                </a:lnTo>
                <a:lnTo>
                  <a:pt x="526" y="290"/>
                </a:lnTo>
                <a:lnTo>
                  <a:pt x="533" y="303"/>
                </a:lnTo>
                <a:lnTo>
                  <a:pt x="537" y="317"/>
                </a:lnTo>
                <a:lnTo>
                  <a:pt x="541" y="331"/>
                </a:lnTo>
                <a:lnTo>
                  <a:pt x="544" y="346"/>
                </a:lnTo>
                <a:lnTo>
                  <a:pt x="545" y="358"/>
                </a:lnTo>
                <a:lnTo>
                  <a:pt x="546" y="363"/>
                </a:lnTo>
                <a:lnTo>
                  <a:pt x="548" y="368"/>
                </a:lnTo>
                <a:lnTo>
                  <a:pt x="551" y="374"/>
                </a:lnTo>
                <a:lnTo>
                  <a:pt x="557" y="381"/>
                </a:lnTo>
                <a:lnTo>
                  <a:pt x="569" y="398"/>
                </a:lnTo>
                <a:lnTo>
                  <a:pt x="583" y="415"/>
                </a:lnTo>
                <a:lnTo>
                  <a:pt x="598" y="432"/>
                </a:lnTo>
                <a:lnTo>
                  <a:pt x="612" y="447"/>
                </a:lnTo>
                <a:lnTo>
                  <a:pt x="624" y="458"/>
                </a:lnTo>
                <a:lnTo>
                  <a:pt x="631" y="463"/>
                </a:lnTo>
                <a:lnTo>
                  <a:pt x="622" y="472"/>
                </a:lnTo>
                <a:lnTo>
                  <a:pt x="612" y="481"/>
                </a:lnTo>
                <a:lnTo>
                  <a:pt x="619" y="489"/>
                </a:lnTo>
                <a:lnTo>
                  <a:pt x="624" y="496"/>
                </a:lnTo>
                <a:lnTo>
                  <a:pt x="626" y="501"/>
                </a:lnTo>
                <a:lnTo>
                  <a:pt x="626" y="507"/>
                </a:lnTo>
                <a:lnTo>
                  <a:pt x="626" y="511"/>
                </a:lnTo>
                <a:lnTo>
                  <a:pt x="626" y="516"/>
                </a:lnTo>
                <a:lnTo>
                  <a:pt x="627" y="523"/>
                </a:lnTo>
                <a:lnTo>
                  <a:pt x="631" y="531"/>
                </a:lnTo>
                <a:lnTo>
                  <a:pt x="629" y="535"/>
                </a:lnTo>
                <a:lnTo>
                  <a:pt x="626" y="539"/>
                </a:lnTo>
                <a:lnTo>
                  <a:pt x="622" y="543"/>
                </a:lnTo>
                <a:lnTo>
                  <a:pt x="617" y="548"/>
                </a:lnTo>
                <a:lnTo>
                  <a:pt x="605" y="559"/>
                </a:lnTo>
                <a:lnTo>
                  <a:pt x="592" y="569"/>
                </a:lnTo>
                <a:lnTo>
                  <a:pt x="569" y="585"/>
                </a:lnTo>
                <a:lnTo>
                  <a:pt x="558" y="592"/>
                </a:lnTo>
                <a:lnTo>
                  <a:pt x="53" y="592"/>
                </a:lnTo>
                <a:lnTo>
                  <a:pt x="46" y="174"/>
                </a:lnTo>
                <a:lnTo>
                  <a:pt x="35" y="166"/>
                </a:lnTo>
                <a:lnTo>
                  <a:pt x="25" y="157"/>
                </a:lnTo>
                <a:lnTo>
                  <a:pt x="18" y="148"/>
                </a:lnTo>
                <a:lnTo>
                  <a:pt x="11" y="138"/>
                </a:lnTo>
                <a:lnTo>
                  <a:pt x="6" y="128"/>
                </a:lnTo>
                <a:lnTo>
                  <a:pt x="2" y="117"/>
                </a:lnTo>
                <a:lnTo>
                  <a:pt x="1" y="105"/>
                </a:lnTo>
                <a:lnTo>
                  <a:pt x="0" y="93"/>
                </a:lnTo>
                <a:lnTo>
                  <a:pt x="1" y="91"/>
                </a:lnTo>
                <a:lnTo>
                  <a:pt x="3" y="89"/>
                </a:lnTo>
                <a:lnTo>
                  <a:pt x="7" y="86"/>
                </a:lnTo>
                <a:lnTo>
                  <a:pt x="10" y="83"/>
                </a:lnTo>
                <a:lnTo>
                  <a:pt x="13" y="80"/>
                </a:lnTo>
                <a:lnTo>
                  <a:pt x="17" y="77"/>
                </a:lnTo>
                <a:lnTo>
                  <a:pt x="19" y="73"/>
                </a:lnTo>
                <a:lnTo>
                  <a:pt x="20" y="69"/>
                </a:lnTo>
                <a:lnTo>
                  <a:pt x="20" y="61"/>
                </a:lnTo>
                <a:lnTo>
                  <a:pt x="18" y="53"/>
                </a:lnTo>
                <a:lnTo>
                  <a:pt x="15" y="47"/>
                </a:lnTo>
                <a:lnTo>
                  <a:pt x="13" y="42"/>
                </a:lnTo>
                <a:lnTo>
                  <a:pt x="11" y="38"/>
                </a:lnTo>
                <a:lnTo>
                  <a:pt x="9" y="34"/>
                </a:lnTo>
                <a:lnTo>
                  <a:pt x="7" y="30"/>
                </a:lnTo>
                <a:lnTo>
                  <a:pt x="7" y="26"/>
                </a:lnTo>
                <a:lnTo>
                  <a:pt x="10" y="11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06" name="Freeform 458"/>
          <p:cNvSpPr>
            <a:spLocks/>
          </p:cNvSpPr>
          <p:nvPr>
            <p:custDataLst>
              <p:tags r:id="rId296"/>
            </p:custDataLst>
          </p:nvPr>
        </p:nvSpPr>
        <p:spPr bwMode="auto">
          <a:xfrm>
            <a:off x="5722938" y="2297113"/>
            <a:ext cx="17462" cy="57150"/>
          </a:xfrm>
          <a:custGeom>
            <a:avLst/>
            <a:gdLst>
              <a:gd name="T0" fmla="*/ 7 w 40"/>
              <a:gd name="T1" fmla="*/ 31 h 93"/>
              <a:gd name="T2" fmla="*/ 10 w 40"/>
              <a:gd name="T3" fmla="*/ 30 h 93"/>
              <a:gd name="T4" fmla="*/ 14 w 40"/>
              <a:gd name="T5" fmla="*/ 26 h 93"/>
              <a:gd name="T6" fmla="*/ 20 w 40"/>
              <a:gd name="T7" fmla="*/ 20 h 93"/>
              <a:gd name="T8" fmla="*/ 25 w 40"/>
              <a:gd name="T9" fmla="*/ 15 h 93"/>
              <a:gd name="T10" fmla="*/ 35 w 40"/>
              <a:gd name="T11" fmla="*/ 4 h 93"/>
              <a:gd name="T12" fmla="*/ 40 w 40"/>
              <a:gd name="T13" fmla="*/ 0 h 93"/>
              <a:gd name="T14" fmla="*/ 37 w 40"/>
              <a:gd name="T15" fmla="*/ 26 h 93"/>
              <a:gd name="T16" fmla="*/ 35 w 40"/>
              <a:gd name="T17" fmla="*/ 53 h 93"/>
              <a:gd name="T18" fmla="*/ 34 w 40"/>
              <a:gd name="T19" fmla="*/ 65 h 93"/>
              <a:gd name="T20" fmla="*/ 34 w 40"/>
              <a:gd name="T21" fmla="*/ 77 h 93"/>
              <a:gd name="T22" fmla="*/ 35 w 40"/>
              <a:gd name="T23" fmla="*/ 82 h 93"/>
              <a:gd name="T24" fmla="*/ 36 w 40"/>
              <a:gd name="T25" fmla="*/ 86 h 93"/>
              <a:gd name="T26" fmla="*/ 37 w 40"/>
              <a:gd name="T27" fmla="*/ 90 h 93"/>
              <a:gd name="T28" fmla="*/ 40 w 40"/>
              <a:gd name="T29" fmla="*/ 93 h 93"/>
              <a:gd name="T30" fmla="*/ 26 w 40"/>
              <a:gd name="T31" fmla="*/ 93 h 93"/>
              <a:gd name="T32" fmla="*/ 13 w 40"/>
              <a:gd name="T33" fmla="*/ 93 h 93"/>
              <a:gd name="T34" fmla="*/ 11 w 40"/>
              <a:gd name="T35" fmla="*/ 92 h 93"/>
              <a:gd name="T36" fmla="*/ 8 w 40"/>
              <a:gd name="T37" fmla="*/ 91 h 93"/>
              <a:gd name="T38" fmla="*/ 6 w 40"/>
              <a:gd name="T39" fmla="*/ 88 h 93"/>
              <a:gd name="T40" fmla="*/ 4 w 40"/>
              <a:gd name="T41" fmla="*/ 86 h 93"/>
              <a:gd name="T42" fmla="*/ 1 w 40"/>
              <a:gd name="T43" fmla="*/ 80 h 93"/>
              <a:gd name="T44" fmla="*/ 0 w 40"/>
              <a:gd name="T45" fmla="*/ 73 h 93"/>
              <a:gd name="T46" fmla="*/ 1 w 40"/>
              <a:gd name="T47" fmla="*/ 64 h 93"/>
              <a:gd name="T48" fmla="*/ 3 w 40"/>
              <a:gd name="T49" fmla="*/ 50 h 93"/>
              <a:gd name="T50" fmla="*/ 6 w 40"/>
              <a:gd name="T51" fmla="*/ 37 h 93"/>
              <a:gd name="T52" fmla="*/ 7 w 40"/>
              <a:gd name="T53" fmla="*/ 31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40" h="93">
                <a:moveTo>
                  <a:pt x="7" y="31"/>
                </a:moveTo>
                <a:lnTo>
                  <a:pt x="10" y="30"/>
                </a:lnTo>
                <a:lnTo>
                  <a:pt x="14" y="26"/>
                </a:lnTo>
                <a:lnTo>
                  <a:pt x="20" y="20"/>
                </a:lnTo>
                <a:lnTo>
                  <a:pt x="25" y="15"/>
                </a:lnTo>
                <a:lnTo>
                  <a:pt x="35" y="4"/>
                </a:lnTo>
                <a:lnTo>
                  <a:pt x="40" y="0"/>
                </a:lnTo>
                <a:lnTo>
                  <a:pt x="37" y="26"/>
                </a:lnTo>
                <a:lnTo>
                  <a:pt x="35" y="53"/>
                </a:lnTo>
                <a:lnTo>
                  <a:pt x="34" y="65"/>
                </a:lnTo>
                <a:lnTo>
                  <a:pt x="34" y="77"/>
                </a:lnTo>
                <a:lnTo>
                  <a:pt x="35" y="82"/>
                </a:lnTo>
                <a:lnTo>
                  <a:pt x="36" y="86"/>
                </a:lnTo>
                <a:lnTo>
                  <a:pt x="37" y="90"/>
                </a:lnTo>
                <a:lnTo>
                  <a:pt x="40" y="93"/>
                </a:lnTo>
                <a:lnTo>
                  <a:pt x="26" y="93"/>
                </a:lnTo>
                <a:lnTo>
                  <a:pt x="13" y="93"/>
                </a:lnTo>
                <a:lnTo>
                  <a:pt x="11" y="92"/>
                </a:lnTo>
                <a:lnTo>
                  <a:pt x="8" y="91"/>
                </a:lnTo>
                <a:lnTo>
                  <a:pt x="6" y="88"/>
                </a:lnTo>
                <a:lnTo>
                  <a:pt x="4" y="86"/>
                </a:lnTo>
                <a:lnTo>
                  <a:pt x="1" y="80"/>
                </a:lnTo>
                <a:lnTo>
                  <a:pt x="0" y="73"/>
                </a:lnTo>
                <a:lnTo>
                  <a:pt x="1" y="64"/>
                </a:lnTo>
                <a:lnTo>
                  <a:pt x="3" y="50"/>
                </a:lnTo>
                <a:lnTo>
                  <a:pt x="6" y="37"/>
                </a:lnTo>
                <a:lnTo>
                  <a:pt x="7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07" name="Freeform 459"/>
          <p:cNvSpPr>
            <a:spLocks/>
          </p:cNvSpPr>
          <p:nvPr>
            <p:custDataLst>
              <p:tags r:id="rId297"/>
            </p:custDataLst>
          </p:nvPr>
        </p:nvSpPr>
        <p:spPr bwMode="auto">
          <a:xfrm>
            <a:off x="5434013" y="2047083"/>
            <a:ext cx="295275" cy="273050"/>
          </a:xfrm>
          <a:custGeom>
            <a:avLst/>
            <a:gdLst>
              <a:gd name="T0" fmla="*/ 149 w 664"/>
              <a:gd name="T1" fmla="*/ 445 h 518"/>
              <a:gd name="T2" fmla="*/ 151 w 664"/>
              <a:gd name="T3" fmla="*/ 431 h 518"/>
              <a:gd name="T4" fmla="*/ 146 w 664"/>
              <a:gd name="T5" fmla="*/ 400 h 518"/>
              <a:gd name="T6" fmla="*/ 151 w 664"/>
              <a:gd name="T7" fmla="*/ 353 h 518"/>
              <a:gd name="T8" fmla="*/ 146 w 664"/>
              <a:gd name="T9" fmla="*/ 298 h 518"/>
              <a:gd name="T10" fmla="*/ 134 w 664"/>
              <a:gd name="T11" fmla="*/ 251 h 518"/>
              <a:gd name="T12" fmla="*/ 109 w 664"/>
              <a:gd name="T13" fmla="*/ 241 h 518"/>
              <a:gd name="T14" fmla="*/ 20 w 664"/>
              <a:gd name="T15" fmla="*/ 192 h 518"/>
              <a:gd name="T16" fmla="*/ 24 w 664"/>
              <a:gd name="T17" fmla="*/ 171 h 518"/>
              <a:gd name="T18" fmla="*/ 36 w 664"/>
              <a:gd name="T19" fmla="*/ 159 h 518"/>
              <a:gd name="T20" fmla="*/ 48 w 664"/>
              <a:gd name="T21" fmla="*/ 148 h 518"/>
              <a:gd name="T22" fmla="*/ 100 w 664"/>
              <a:gd name="T23" fmla="*/ 155 h 518"/>
              <a:gd name="T24" fmla="*/ 125 w 664"/>
              <a:gd name="T25" fmla="*/ 152 h 518"/>
              <a:gd name="T26" fmla="*/ 147 w 664"/>
              <a:gd name="T27" fmla="*/ 157 h 518"/>
              <a:gd name="T28" fmla="*/ 165 w 664"/>
              <a:gd name="T29" fmla="*/ 94 h 518"/>
              <a:gd name="T30" fmla="*/ 185 w 664"/>
              <a:gd name="T31" fmla="*/ 109 h 518"/>
              <a:gd name="T32" fmla="*/ 207 w 664"/>
              <a:gd name="T33" fmla="*/ 110 h 518"/>
              <a:gd name="T34" fmla="*/ 236 w 664"/>
              <a:gd name="T35" fmla="*/ 99 h 518"/>
              <a:gd name="T36" fmla="*/ 264 w 664"/>
              <a:gd name="T37" fmla="*/ 80 h 518"/>
              <a:gd name="T38" fmla="*/ 289 w 664"/>
              <a:gd name="T39" fmla="*/ 57 h 518"/>
              <a:gd name="T40" fmla="*/ 308 w 664"/>
              <a:gd name="T41" fmla="*/ 32 h 518"/>
              <a:gd name="T42" fmla="*/ 318 w 664"/>
              <a:gd name="T43" fmla="*/ 12 h 518"/>
              <a:gd name="T44" fmla="*/ 370 w 664"/>
              <a:gd name="T45" fmla="*/ 4 h 518"/>
              <a:gd name="T46" fmla="*/ 404 w 664"/>
              <a:gd name="T47" fmla="*/ 32 h 518"/>
              <a:gd name="T48" fmla="*/ 457 w 664"/>
              <a:gd name="T49" fmla="*/ 61 h 518"/>
              <a:gd name="T50" fmla="*/ 511 w 664"/>
              <a:gd name="T51" fmla="*/ 90 h 518"/>
              <a:gd name="T52" fmla="*/ 552 w 664"/>
              <a:gd name="T53" fmla="*/ 107 h 518"/>
              <a:gd name="T54" fmla="*/ 578 w 664"/>
              <a:gd name="T55" fmla="*/ 116 h 518"/>
              <a:gd name="T56" fmla="*/ 623 w 664"/>
              <a:gd name="T57" fmla="*/ 121 h 518"/>
              <a:gd name="T58" fmla="*/ 658 w 664"/>
              <a:gd name="T59" fmla="*/ 136 h 518"/>
              <a:gd name="T60" fmla="*/ 645 w 664"/>
              <a:gd name="T61" fmla="*/ 166 h 518"/>
              <a:gd name="T62" fmla="*/ 620 w 664"/>
              <a:gd name="T63" fmla="*/ 236 h 518"/>
              <a:gd name="T64" fmla="*/ 598 w 664"/>
              <a:gd name="T65" fmla="*/ 272 h 518"/>
              <a:gd name="T66" fmla="*/ 585 w 664"/>
              <a:gd name="T67" fmla="*/ 286 h 518"/>
              <a:gd name="T68" fmla="*/ 599 w 664"/>
              <a:gd name="T69" fmla="*/ 298 h 518"/>
              <a:gd name="T70" fmla="*/ 618 w 664"/>
              <a:gd name="T71" fmla="*/ 307 h 518"/>
              <a:gd name="T72" fmla="*/ 623 w 664"/>
              <a:gd name="T73" fmla="*/ 334 h 518"/>
              <a:gd name="T74" fmla="*/ 620 w 664"/>
              <a:gd name="T75" fmla="*/ 347 h 518"/>
              <a:gd name="T76" fmla="*/ 618 w 664"/>
              <a:gd name="T77" fmla="*/ 372 h 518"/>
              <a:gd name="T78" fmla="*/ 622 w 664"/>
              <a:gd name="T79" fmla="*/ 399 h 518"/>
              <a:gd name="T80" fmla="*/ 632 w 664"/>
              <a:gd name="T81" fmla="*/ 423 h 518"/>
              <a:gd name="T82" fmla="*/ 608 w 664"/>
              <a:gd name="T83" fmla="*/ 457 h 518"/>
              <a:gd name="T84" fmla="*/ 569 w 664"/>
              <a:gd name="T85" fmla="*/ 484 h 518"/>
              <a:gd name="T86" fmla="*/ 542 w 664"/>
              <a:gd name="T87" fmla="*/ 489 h 518"/>
              <a:gd name="T88" fmla="*/ 509 w 664"/>
              <a:gd name="T89" fmla="*/ 481 h 518"/>
              <a:gd name="T90" fmla="*/ 477 w 664"/>
              <a:gd name="T91" fmla="*/ 460 h 518"/>
              <a:gd name="T92" fmla="*/ 463 w 664"/>
              <a:gd name="T93" fmla="*/ 456 h 518"/>
              <a:gd name="T94" fmla="*/ 443 w 664"/>
              <a:gd name="T95" fmla="*/ 457 h 518"/>
              <a:gd name="T96" fmla="*/ 423 w 664"/>
              <a:gd name="T97" fmla="*/ 465 h 518"/>
              <a:gd name="T98" fmla="*/ 406 w 664"/>
              <a:gd name="T99" fmla="*/ 477 h 518"/>
              <a:gd name="T100" fmla="*/ 388 w 664"/>
              <a:gd name="T101" fmla="*/ 503 h 518"/>
              <a:gd name="T102" fmla="*/ 385 w 664"/>
              <a:gd name="T103" fmla="*/ 517 h 518"/>
              <a:gd name="T104" fmla="*/ 333 w 664"/>
              <a:gd name="T105" fmla="*/ 515 h 518"/>
              <a:gd name="T106" fmla="*/ 317 w 664"/>
              <a:gd name="T107" fmla="*/ 507 h 518"/>
              <a:gd name="T108" fmla="*/ 307 w 664"/>
              <a:gd name="T109" fmla="*/ 500 h 518"/>
              <a:gd name="T110" fmla="*/ 296 w 664"/>
              <a:gd name="T111" fmla="*/ 508 h 518"/>
              <a:gd name="T112" fmla="*/ 287 w 664"/>
              <a:gd name="T113" fmla="*/ 516 h 518"/>
              <a:gd name="T114" fmla="*/ 268 w 664"/>
              <a:gd name="T115" fmla="*/ 516 h 518"/>
              <a:gd name="T116" fmla="*/ 227 w 664"/>
              <a:gd name="T117" fmla="*/ 506 h 518"/>
              <a:gd name="T118" fmla="*/ 185 w 664"/>
              <a:gd name="T119" fmla="*/ 487 h 518"/>
              <a:gd name="T120" fmla="*/ 160 w 664"/>
              <a:gd name="T121" fmla="*/ 469 h 518"/>
              <a:gd name="T122" fmla="*/ 146 w 664"/>
              <a:gd name="T123" fmla="*/ 450 h 5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64" h="518">
                <a:moveTo>
                  <a:pt x="146" y="450"/>
                </a:moveTo>
                <a:lnTo>
                  <a:pt x="148" y="447"/>
                </a:lnTo>
                <a:lnTo>
                  <a:pt x="149" y="445"/>
                </a:lnTo>
                <a:lnTo>
                  <a:pt x="150" y="441"/>
                </a:lnTo>
                <a:lnTo>
                  <a:pt x="151" y="438"/>
                </a:lnTo>
                <a:lnTo>
                  <a:pt x="151" y="431"/>
                </a:lnTo>
                <a:lnTo>
                  <a:pt x="150" y="424"/>
                </a:lnTo>
                <a:lnTo>
                  <a:pt x="147" y="411"/>
                </a:lnTo>
                <a:lnTo>
                  <a:pt x="146" y="400"/>
                </a:lnTo>
                <a:lnTo>
                  <a:pt x="147" y="378"/>
                </a:lnTo>
                <a:lnTo>
                  <a:pt x="149" y="364"/>
                </a:lnTo>
                <a:lnTo>
                  <a:pt x="151" y="353"/>
                </a:lnTo>
                <a:lnTo>
                  <a:pt x="152" y="339"/>
                </a:lnTo>
                <a:lnTo>
                  <a:pt x="150" y="320"/>
                </a:lnTo>
                <a:lnTo>
                  <a:pt x="146" y="298"/>
                </a:lnTo>
                <a:lnTo>
                  <a:pt x="141" y="273"/>
                </a:lnTo>
                <a:lnTo>
                  <a:pt x="139" y="252"/>
                </a:lnTo>
                <a:lnTo>
                  <a:pt x="134" y="251"/>
                </a:lnTo>
                <a:lnTo>
                  <a:pt x="127" y="249"/>
                </a:lnTo>
                <a:lnTo>
                  <a:pt x="119" y="246"/>
                </a:lnTo>
                <a:lnTo>
                  <a:pt x="109" y="241"/>
                </a:lnTo>
                <a:lnTo>
                  <a:pt x="87" y="231"/>
                </a:lnTo>
                <a:lnTo>
                  <a:pt x="64" y="217"/>
                </a:lnTo>
                <a:lnTo>
                  <a:pt x="20" y="192"/>
                </a:lnTo>
                <a:lnTo>
                  <a:pt x="0" y="178"/>
                </a:lnTo>
                <a:lnTo>
                  <a:pt x="19" y="172"/>
                </a:lnTo>
                <a:lnTo>
                  <a:pt x="24" y="171"/>
                </a:lnTo>
                <a:lnTo>
                  <a:pt x="28" y="168"/>
                </a:lnTo>
                <a:lnTo>
                  <a:pt x="31" y="165"/>
                </a:lnTo>
                <a:lnTo>
                  <a:pt x="36" y="159"/>
                </a:lnTo>
                <a:lnTo>
                  <a:pt x="39" y="155"/>
                </a:lnTo>
                <a:lnTo>
                  <a:pt x="44" y="151"/>
                </a:lnTo>
                <a:lnTo>
                  <a:pt x="48" y="148"/>
                </a:lnTo>
                <a:lnTo>
                  <a:pt x="52" y="147"/>
                </a:lnTo>
                <a:lnTo>
                  <a:pt x="92" y="159"/>
                </a:lnTo>
                <a:lnTo>
                  <a:pt x="100" y="155"/>
                </a:lnTo>
                <a:lnTo>
                  <a:pt x="108" y="153"/>
                </a:lnTo>
                <a:lnTo>
                  <a:pt x="116" y="152"/>
                </a:lnTo>
                <a:lnTo>
                  <a:pt x="125" y="152"/>
                </a:lnTo>
                <a:lnTo>
                  <a:pt x="132" y="153"/>
                </a:lnTo>
                <a:lnTo>
                  <a:pt x="140" y="155"/>
                </a:lnTo>
                <a:lnTo>
                  <a:pt x="147" y="157"/>
                </a:lnTo>
                <a:lnTo>
                  <a:pt x="152" y="159"/>
                </a:lnTo>
                <a:lnTo>
                  <a:pt x="152" y="86"/>
                </a:lnTo>
                <a:lnTo>
                  <a:pt x="165" y="94"/>
                </a:lnTo>
                <a:lnTo>
                  <a:pt x="175" y="102"/>
                </a:lnTo>
                <a:lnTo>
                  <a:pt x="181" y="105"/>
                </a:lnTo>
                <a:lnTo>
                  <a:pt x="185" y="109"/>
                </a:lnTo>
                <a:lnTo>
                  <a:pt x="192" y="110"/>
                </a:lnTo>
                <a:lnTo>
                  <a:pt x="198" y="111"/>
                </a:lnTo>
                <a:lnTo>
                  <a:pt x="207" y="110"/>
                </a:lnTo>
                <a:lnTo>
                  <a:pt x="217" y="107"/>
                </a:lnTo>
                <a:lnTo>
                  <a:pt x="226" y="103"/>
                </a:lnTo>
                <a:lnTo>
                  <a:pt x="236" y="99"/>
                </a:lnTo>
                <a:lnTo>
                  <a:pt x="246" y="93"/>
                </a:lnTo>
                <a:lnTo>
                  <a:pt x="255" y="87"/>
                </a:lnTo>
                <a:lnTo>
                  <a:pt x="264" y="80"/>
                </a:lnTo>
                <a:lnTo>
                  <a:pt x="273" y="73"/>
                </a:lnTo>
                <a:lnTo>
                  <a:pt x="282" y="65"/>
                </a:lnTo>
                <a:lnTo>
                  <a:pt x="289" y="57"/>
                </a:lnTo>
                <a:lnTo>
                  <a:pt x="297" y="48"/>
                </a:lnTo>
                <a:lnTo>
                  <a:pt x="303" y="40"/>
                </a:lnTo>
                <a:lnTo>
                  <a:pt x="308" y="32"/>
                </a:lnTo>
                <a:lnTo>
                  <a:pt x="313" y="25"/>
                </a:lnTo>
                <a:lnTo>
                  <a:pt x="316" y="18"/>
                </a:lnTo>
                <a:lnTo>
                  <a:pt x="318" y="12"/>
                </a:lnTo>
                <a:lnTo>
                  <a:pt x="337" y="11"/>
                </a:lnTo>
                <a:lnTo>
                  <a:pt x="354" y="8"/>
                </a:lnTo>
                <a:lnTo>
                  <a:pt x="370" y="4"/>
                </a:lnTo>
                <a:lnTo>
                  <a:pt x="385" y="0"/>
                </a:lnTo>
                <a:lnTo>
                  <a:pt x="385" y="24"/>
                </a:lnTo>
                <a:lnTo>
                  <a:pt x="404" y="32"/>
                </a:lnTo>
                <a:lnTo>
                  <a:pt x="422" y="40"/>
                </a:lnTo>
                <a:lnTo>
                  <a:pt x="440" y="50"/>
                </a:lnTo>
                <a:lnTo>
                  <a:pt x="457" y="61"/>
                </a:lnTo>
                <a:lnTo>
                  <a:pt x="475" y="72"/>
                </a:lnTo>
                <a:lnTo>
                  <a:pt x="493" y="81"/>
                </a:lnTo>
                <a:lnTo>
                  <a:pt x="511" y="90"/>
                </a:lnTo>
                <a:lnTo>
                  <a:pt x="531" y="98"/>
                </a:lnTo>
                <a:lnTo>
                  <a:pt x="538" y="101"/>
                </a:lnTo>
                <a:lnTo>
                  <a:pt x="552" y="107"/>
                </a:lnTo>
                <a:lnTo>
                  <a:pt x="561" y="111"/>
                </a:lnTo>
                <a:lnTo>
                  <a:pt x="569" y="114"/>
                </a:lnTo>
                <a:lnTo>
                  <a:pt x="578" y="116"/>
                </a:lnTo>
                <a:lnTo>
                  <a:pt x="584" y="117"/>
                </a:lnTo>
                <a:lnTo>
                  <a:pt x="604" y="118"/>
                </a:lnTo>
                <a:lnTo>
                  <a:pt x="623" y="121"/>
                </a:lnTo>
                <a:lnTo>
                  <a:pt x="644" y="124"/>
                </a:lnTo>
                <a:lnTo>
                  <a:pt x="664" y="129"/>
                </a:lnTo>
                <a:lnTo>
                  <a:pt x="658" y="136"/>
                </a:lnTo>
                <a:lnTo>
                  <a:pt x="654" y="145"/>
                </a:lnTo>
                <a:lnTo>
                  <a:pt x="650" y="155"/>
                </a:lnTo>
                <a:lnTo>
                  <a:pt x="645" y="166"/>
                </a:lnTo>
                <a:lnTo>
                  <a:pt x="638" y="189"/>
                </a:lnTo>
                <a:lnTo>
                  <a:pt x="629" y="212"/>
                </a:lnTo>
                <a:lnTo>
                  <a:pt x="620" y="236"/>
                </a:lnTo>
                <a:lnTo>
                  <a:pt x="609" y="256"/>
                </a:lnTo>
                <a:lnTo>
                  <a:pt x="604" y="265"/>
                </a:lnTo>
                <a:lnTo>
                  <a:pt x="598" y="272"/>
                </a:lnTo>
                <a:lnTo>
                  <a:pt x="591" y="279"/>
                </a:lnTo>
                <a:lnTo>
                  <a:pt x="584" y="283"/>
                </a:lnTo>
                <a:lnTo>
                  <a:pt x="585" y="286"/>
                </a:lnTo>
                <a:lnTo>
                  <a:pt x="588" y="290"/>
                </a:lnTo>
                <a:lnTo>
                  <a:pt x="593" y="294"/>
                </a:lnTo>
                <a:lnTo>
                  <a:pt x="599" y="298"/>
                </a:lnTo>
                <a:lnTo>
                  <a:pt x="606" y="301"/>
                </a:lnTo>
                <a:lnTo>
                  <a:pt x="612" y="304"/>
                </a:lnTo>
                <a:lnTo>
                  <a:pt x="618" y="307"/>
                </a:lnTo>
                <a:lnTo>
                  <a:pt x="623" y="307"/>
                </a:lnTo>
                <a:lnTo>
                  <a:pt x="623" y="326"/>
                </a:lnTo>
                <a:lnTo>
                  <a:pt x="623" y="334"/>
                </a:lnTo>
                <a:lnTo>
                  <a:pt x="622" y="340"/>
                </a:lnTo>
                <a:lnTo>
                  <a:pt x="622" y="344"/>
                </a:lnTo>
                <a:lnTo>
                  <a:pt x="620" y="347"/>
                </a:lnTo>
                <a:lnTo>
                  <a:pt x="618" y="353"/>
                </a:lnTo>
                <a:lnTo>
                  <a:pt x="617" y="363"/>
                </a:lnTo>
                <a:lnTo>
                  <a:pt x="618" y="372"/>
                </a:lnTo>
                <a:lnTo>
                  <a:pt x="618" y="381"/>
                </a:lnTo>
                <a:lnTo>
                  <a:pt x="620" y="391"/>
                </a:lnTo>
                <a:lnTo>
                  <a:pt x="622" y="399"/>
                </a:lnTo>
                <a:lnTo>
                  <a:pt x="624" y="408"/>
                </a:lnTo>
                <a:lnTo>
                  <a:pt x="629" y="416"/>
                </a:lnTo>
                <a:lnTo>
                  <a:pt x="632" y="423"/>
                </a:lnTo>
                <a:lnTo>
                  <a:pt x="638" y="430"/>
                </a:lnTo>
                <a:lnTo>
                  <a:pt x="622" y="444"/>
                </a:lnTo>
                <a:lnTo>
                  <a:pt x="608" y="457"/>
                </a:lnTo>
                <a:lnTo>
                  <a:pt x="593" y="469"/>
                </a:lnTo>
                <a:lnTo>
                  <a:pt x="577" y="480"/>
                </a:lnTo>
                <a:lnTo>
                  <a:pt x="569" y="484"/>
                </a:lnTo>
                <a:lnTo>
                  <a:pt x="561" y="487"/>
                </a:lnTo>
                <a:lnTo>
                  <a:pt x="551" y="489"/>
                </a:lnTo>
                <a:lnTo>
                  <a:pt x="542" y="489"/>
                </a:lnTo>
                <a:lnTo>
                  <a:pt x="532" y="488"/>
                </a:lnTo>
                <a:lnTo>
                  <a:pt x="521" y="485"/>
                </a:lnTo>
                <a:lnTo>
                  <a:pt x="509" y="481"/>
                </a:lnTo>
                <a:lnTo>
                  <a:pt x="497" y="474"/>
                </a:lnTo>
                <a:lnTo>
                  <a:pt x="487" y="466"/>
                </a:lnTo>
                <a:lnTo>
                  <a:pt x="477" y="460"/>
                </a:lnTo>
                <a:lnTo>
                  <a:pt x="473" y="458"/>
                </a:lnTo>
                <a:lnTo>
                  <a:pt x="467" y="457"/>
                </a:lnTo>
                <a:lnTo>
                  <a:pt x="463" y="456"/>
                </a:lnTo>
                <a:lnTo>
                  <a:pt x="457" y="456"/>
                </a:lnTo>
                <a:lnTo>
                  <a:pt x="450" y="456"/>
                </a:lnTo>
                <a:lnTo>
                  <a:pt x="443" y="457"/>
                </a:lnTo>
                <a:lnTo>
                  <a:pt x="436" y="459"/>
                </a:lnTo>
                <a:lnTo>
                  <a:pt x="429" y="462"/>
                </a:lnTo>
                <a:lnTo>
                  <a:pt x="423" y="465"/>
                </a:lnTo>
                <a:lnTo>
                  <a:pt x="417" y="468"/>
                </a:lnTo>
                <a:lnTo>
                  <a:pt x="411" y="472"/>
                </a:lnTo>
                <a:lnTo>
                  <a:pt x="406" y="477"/>
                </a:lnTo>
                <a:lnTo>
                  <a:pt x="397" y="486"/>
                </a:lnTo>
                <a:lnTo>
                  <a:pt x="390" y="496"/>
                </a:lnTo>
                <a:lnTo>
                  <a:pt x="388" y="503"/>
                </a:lnTo>
                <a:lnTo>
                  <a:pt x="386" y="508"/>
                </a:lnTo>
                <a:lnTo>
                  <a:pt x="385" y="512"/>
                </a:lnTo>
                <a:lnTo>
                  <a:pt x="385" y="517"/>
                </a:lnTo>
                <a:lnTo>
                  <a:pt x="364" y="518"/>
                </a:lnTo>
                <a:lnTo>
                  <a:pt x="343" y="517"/>
                </a:lnTo>
                <a:lnTo>
                  <a:pt x="333" y="515"/>
                </a:lnTo>
                <a:lnTo>
                  <a:pt x="325" y="512"/>
                </a:lnTo>
                <a:lnTo>
                  <a:pt x="321" y="510"/>
                </a:lnTo>
                <a:lnTo>
                  <a:pt x="317" y="507"/>
                </a:lnTo>
                <a:lnTo>
                  <a:pt x="314" y="503"/>
                </a:lnTo>
                <a:lnTo>
                  <a:pt x="311" y="499"/>
                </a:lnTo>
                <a:lnTo>
                  <a:pt x="307" y="500"/>
                </a:lnTo>
                <a:lnTo>
                  <a:pt x="303" y="502"/>
                </a:lnTo>
                <a:lnTo>
                  <a:pt x="299" y="505"/>
                </a:lnTo>
                <a:lnTo>
                  <a:pt x="296" y="508"/>
                </a:lnTo>
                <a:lnTo>
                  <a:pt x="293" y="511"/>
                </a:lnTo>
                <a:lnTo>
                  <a:pt x="289" y="514"/>
                </a:lnTo>
                <a:lnTo>
                  <a:pt x="287" y="516"/>
                </a:lnTo>
                <a:lnTo>
                  <a:pt x="285" y="517"/>
                </a:lnTo>
                <a:lnTo>
                  <a:pt x="277" y="517"/>
                </a:lnTo>
                <a:lnTo>
                  <a:pt x="268" y="516"/>
                </a:lnTo>
                <a:lnTo>
                  <a:pt x="259" y="514"/>
                </a:lnTo>
                <a:lnTo>
                  <a:pt x="248" y="512"/>
                </a:lnTo>
                <a:lnTo>
                  <a:pt x="227" y="506"/>
                </a:lnTo>
                <a:lnTo>
                  <a:pt x="205" y="496"/>
                </a:lnTo>
                <a:lnTo>
                  <a:pt x="195" y="492"/>
                </a:lnTo>
                <a:lnTo>
                  <a:pt x="185" y="487"/>
                </a:lnTo>
                <a:lnTo>
                  <a:pt x="175" y="481"/>
                </a:lnTo>
                <a:lnTo>
                  <a:pt x="168" y="475"/>
                </a:lnTo>
                <a:lnTo>
                  <a:pt x="160" y="469"/>
                </a:lnTo>
                <a:lnTo>
                  <a:pt x="153" y="463"/>
                </a:lnTo>
                <a:lnTo>
                  <a:pt x="149" y="456"/>
                </a:lnTo>
                <a:lnTo>
                  <a:pt x="146" y="4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08" name="Freeform 460"/>
          <p:cNvSpPr>
            <a:spLocks/>
          </p:cNvSpPr>
          <p:nvPr>
            <p:custDataLst>
              <p:tags r:id="rId298"/>
            </p:custDataLst>
          </p:nvPr>
        </p:nvSpPr>
        <p:spPr bwMode="auto">
          <a:xfrm>
            <a:off x="6443663" y="2282825"/>
            <a:ext cx="150812" cy="82550"/>
          </a:xfrm>
          <a:custGeom>
            <a:avLst/>
            <a:gdLst>
              <a:gd name="T0" fmla="*/ 332 w 352"/>
              <a:gd name="T1" fmla="*/ 91 h 153"/>
              <a:gd name="T2" fmla="*/ 352 w 352"/>
              <a:gd name="T3" fmla="*/ 153 h 153"/>
              <a:gd name="T4" fmla="*/ 326 w 352"/>
              <a:gd name="T5" fmla="*/ 141 h 153"/>
              <a:gd name="T6" fmla="*/ 299 w 352"/>
              <a:gd name="T7" fmla="*/ 129 h 153"/>
              <a:gd name="T8" fmla="*/ 266 w 352"/>
              <a:gd name="T9" fmla="*/ 141 h 153"/>
              <a:gd name="T10" fmla="*/ 232 w 352"/>
              <a:gd name="T11" fmla="*/ 141 h 153"/>
              <a:gd name="T12" fmla="*/ 227 w 352"/>
              <a:gd name="T13" fmla="*/ 135 h 153"/>
              <a:gd name="T14" fmla="*/ 226 w 352"/>
              <a:gd name="T15" fmla="*/ 135 h 153"/>
              <a:gd name="T16" fmla="*/ 219 w 352"/>
              <a:gd name="T17" fmla="*/ 129 h 153"/>
              <a:gd name="T18" fmla="*/ 213 w 352"/>
              <a:gd name="T19" fmla="*/ 125 h 153"/>
              <a:gd name="T20" fmla="*/ 205 w 352"/>
              <a:gd name="T21" fmla="*/ 121 h 153"/>
              <a:gd name="T22" fmla="*/ 197 w 352"/>
              <a:gd name="T23" fmla="*/ 118 h 153"/>
              <a:gd name="T24" fmla="*/ 181 w 352"/>
              <a:gd name="T25" fmla="*/ 113 h 153"/>
              <a:gd name="T26" fmla="*/ 163 w 352"/>
              <a:gd name="T27" fmla="*/ 110 h 153"/>
              <a:gd name="T28" fmla="*/ 126 w 352"/>
              <a:gd name="T29" fmla="*/ 107 h 153"/>
              <a:gd name="T30" fmla="*/ 86 w 352"/>
              <a:gd name="T31" fmla="*/ 104 h 153"/>
              <a:gd name="T32" fmla="*/ 85 w 352"/>
              <a:gd name="T33" fmla="*/ 94 h 153"/>
              <a:gd name="T34" fmla="*/ 82 w 352"/>
              <a:gd name="T35" fmla="*/ 84 h 153"/>
              <a:gd name="T36" fmla="*/ 80 w 352"/>
              <a:gd name="T37" fmla="*/ 75 h 153"/>
              <a:gd name="T38" fmla="*/ 75 w 352"/>
              <a:gd name="T39" fmla="*/ 67 h 153"/>
              <a:gd name="T40" fmla="*/ 71 w 352"/>
              <a:gd name="T41" fmla="*/ 59 h 153"/>
              <a:gd name="T42" fmla="*/ 67 w 352"/>
              <a:gd name="T43" fmla="*/ 52 h 153"/>
              <a:gd name="T44" fmla="*/ 61 w 352"/>
              <a:gd name="T45" fmla="*/ 44 h 153"/>
              <a:gd name="T46" fmla="*/ 56 w 352"/>
              <a:gd name="T47" fmla="*/ 37 h 153"/>
              <a:gd name="T48" fmla="*/ 44 w 352"/>
              <a:gd name="T49" fmla="*/ 26 h 153"/>
              <a:gd name="T50" fmla="*/ 29 w 352"/>
              <a:gd name="T51" fmla="*/ 16 h 153"/>
              <a:gd name="T52" fmla="*/ 15 w 352"/>
              <a:gd name="T53" fmla="*/ 7 h 153"/>
              <a:gd name="T54" fmla="*/ 0 w 352"/>
              <a:gd name="T55" fmla="*/ 0 h 153"/>
              <a:gd name="T56" fmla="*/ 7 w 352"/>
              <a:gd name="T57" fmla="*/ 0 h 153"/>
              <a:gd name="T58" fmla="*/ 60 w 352"/>
              <a:gd name="T59" fmla="*/ 18 h 153"/>
              <a:gd name="T60" fmla="*/ 106 w 352"/>
              <a:gd name="T61" fmla="*/ 30 h 153"/>
              <a:gd name="T62" fmla="*/ 134 w 352"/>
              <a:gd name="T63" fmla="*/ 18 h 153"/>
              <a:gd name="T64" fmla="*/ 180 w 352"/>
              <a:gd name="T65" fmla="*/ 36 h 153"/>
              <a:gd name="T66" fmla="*/ 206 w 352"/>
              <a:gd name="T67" fmla="*/ 55 h 153"/>
              <a:gd name="T68" fmla="*/ 246 w 352"/>
              <a:gd name="T69" fmla="*/ 49 h 153"/>
              <a:gd name="T70" fmla="*/ 286 w 352"/>
              <a:gd name="T71" fmla="*/ 61 h 153"/>
              <a:gd name="T72" fmla="*/ 313 w 352"/>
              <a:gd name="T73" fmla="*/ 79 h 153"/>
              <a:gd name="T74" fmla="*/ 332 w 352"/>
              <a:gd name="T75" fmla="*/ 91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52" h="153">
                <a:moveTo>
                  <a:pt x="332" y="91"/>
                </a:moveTo>
                <a:lnTo>
                  <a:pt x="352" y="153"/>
                </a:lnTo>
                <a:lnTo>
                  <a:pt x="326" y="141"/>
                </a:lnTo>
                <a:lnTo>
                  <a:pt x="299" y="129"/>
                </a:lnTo>
                <a:lnTo>
                  <a:pt x="266" y="141"/>
                </a:lnTo>
                <a:lnTo>
                  <a:pt x="232" y="141"/>
                </a:lnTo>
                <a:lnTo>
                  <a:pt x="227" y="135"/>
                </a:lnTo>
                <a:lnTo>
                  <a:pt x="226" y="135"/>
                </a:lnTo>
                <a:lnTo>
                  <a:pt x="219" y="129"/>
                </a:lnTo>
                <a:lnTo>
                  <a:pt x="213" y="125"/>
                </a:lnTo>
                <a:lnTo>
                  <a:pt x="205" y="121"/>
                </a:lnTo>
                <a:lnTo>
                  <a:pt x="197" y="118"/>
                </a:lnTo>
                <a:lnTo>
                  <a:pt x="181" y="113"/>
                </a:lnTo>
                <a:lnTo>
                  <a:pt x="163" y="110"/>
                </a:lnTo>
                <a:lnTo>
                  <a:pt x="126" y="107"/>
                </a:lnTo>
                <a:lnTo>
                  <a:pt x="86" y="104"/>
                </a:lnTo>
                <a:lnTo>
                  <a:pt x="85" y="94"/>
                </a:lnTo>
                <a:lnTo>
                  <a:pt x="82" y="84"/>
                </a:lnTo>
                <a:lnTo>
                  <a:pt x="80" y="75"/>
                </a:lnTo>
                <a:lnTo>
                  <a:pt x="75" y="67"/>
                </a:lnTo>
                <a:lnTo>
                  <a:pt x="71" y="59"/>
                </a:lnTo>
                <a:lnTo>
                  <a:pt x="67" y="52"/>
                </a:lnTo>
                <a:lnTo>
                  <a:pt x="61" y="44"/>
                </a:lnTo>
                <a:lnTo>
                  <a:pt x="56" y="37"/>
                </a:lnTo>
                <a:lnTo>
                  <a:pt x="44" y="26"/>
                </a:lnTo>
                <a:lnTo>
                  <a:pt x="29" y="16"/>
                </a:lnTo>
                <a:lnTo>
                  <a:pt x="15" y="7"/>
                </a:lnTo>
                <a:lnTo>
                  <a:pt x="0" y="0"/>
                </a:lnTo>
                <a:lnTo>
                  <a:pt x="7" y="0"/>
                </a:lnTo>
                <a:lnTo>
                  <a:pt x="60" y="18"/>
                </a:lnTo>
                <a:lnTo>
                  <a:pt x="106" y="30"/>
                </a:lnTo>
                <a:lnTo>
                  <a:pt x="134" y="18"/>
                </a:lnTo>
                <a:lnTo>
                  <a:pt x="180" y="36"/>
                </a:lnTo>
                <a:lnTo>
                  <a:pt x="206" y="55"/>
                </a:lnTo>
                <a:lnTo>
                  <a:pt x="246" y="49"/>
                </a:lnTo>
                <a:lnTo>
                  <a:pt x="286" y="61"/>
                </a:lnTo>
                <a:lnTo>
                  <a:pt x="313" y="79"/>
                </a:lnTo>
                <a:lnTo>
                  <a:pt x="332" y="9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09" name="Freeform 461"/>
          <p:cNvSpPr>
            <a:spLocks/>
          </p:cNvSpPr>
          <p:nvPr>
            <p:custDataLst>
              <p:tags r:id="rId299"/>
            </p:custDataLst>
          </p:nvPr>
        </p:nvSpPr>
        <p:spPr bwMode="auto">
          <a:xfrm>
            <a:off x="5992814" y="2343150"/>
            <a:ext cx="147637" cy="173038"/>
          </a:xfrm>
          <a:custGeom>
            <a:avLst/>
            <a:gdLst>
              <a:gd name="T0" fmla="*/ 230 w 331"/>
              <a:gd name="T1" fmla="*/ 40 h 327"/>
              <a:gd name="T2" fmla="*/ 193 w 331"/>
              <a:gd name="T3" fmla="*/ 56 h 327"/>
              <a:gd name="T4" fmla="*/ 182 w 331"/>
              <a:gd name="T5" fmla="*/ 67 h 327"/>
              <a:gd name="T6" fmla="*/ 181 w 331"/>
              <a:gd name="T7" fmla="*/ 81 h 327"/>
              <a:gd name="T8" fmla="*/ 184 w 331"/>
              <a:gd name="T9" fmla="*/ 94 h 327"/>
              <a:gd name="T10" fmla="*/ 177 w 331"/>
              <a:gd name="T11" fmla="*/ 102 h 327"/>
              <a:gd name="T12" fmla="*/ 168 w 331"/>
              <a:gd name="T13" fmla="*/ 105 h 327"/>
              <a:gd name="T14" fmla="*/ 160 w 331"/>
              <a:gd name="T15" fmla="*/ 98 h 327"/>
              <a:gd name="T16" fmla="*/ 149 w 331"/>
              <a:gd name="T17" fmla="*/ 85 h 327"/>
              <a:gd name="T18" fmla="*/ 126 w 331"/>
              <a:gd name="T19" fmla="*/ 74 h 327"/>
              <a:gd name="T20" fmla="*/ 127 w 331"/>
              <a:gd name="T21" fmla="*/ 96 h 327"/>
              <a:gd name="T22" fmla="*/ 139 w 331"/>
              <a:gd name="T23" fmla="*/ 116 h 327"/>
              <a:gd name="T24" fmla="*/ 154 w 331"/>
              <a:gd name="T25" fmla="*/ 129 h 327"/>
              <a:gd name="T26" fmla="*/ 159 w 331"/>
              <a:gd name="T27" fmla="*/ 130 h 327"/>
              <a:gd name="T28" fmla="*/ 159 w 331"/>
              <a:gd name="T29" fmla="*/ 177 h 327"/>
              <a:gd name="T30" fmla="*/ 159 w 331"/>
              <a:gd name="T31" fmla="*/ 237 h 327"/>
              <a:gd name="T32" fmla="*/ 156 w 331"/>
              <a:gd name="T33" fmla="*/ 251 h 327"/>
              <a:gd name="T34" fmla="*/ 147 w 331"/>
              <a:gd name="T35" fmla="*/ 259 h 327"/>
              <a:gd name="T36" fmla="*/ 145 w 331"/>
              <a:gd name="T37" fmla="*/ 264 h 327"/>
              <a:gd name="T38" fmla="*/ 162 w 331"/>
              <a:gd name="T39" fmla="*/ 276 h 327"/>
              <a:gd name="T40" fmla="*/ 167 w 331"/>
              <a:gd name="T41" fmla="*/ 286 h 327"/>
              <a:gd name="T42" fmla="*/ 155 w 331"/>
              <a:gd name="T43" fmla="*/ 295 h 327"/>
              <a:gd name="T44" fmla="*/ 140 w 331"/>
              <a:gd name="T45" fmla="*/ 297 h 327"/>
              <a:gd name="T46" fmla="*/ 130 w 331"/>
              <a:gd name="T47" fmla="*/ 307 h 327"/>
              <a:gd name="T48" fmla="*/ 126 w 331"/>
              <a:gd name="T49" fmla="*/ 321 h 327"/>
              <a:gd name="T50" fmla="*/ 121 w 331"/>
              <a:gd name="T51" fmla="*/ 300 h 327"/>
              <a:gd name="T52" fmla="*/ 124 w 331"/>
              <a:gd name="T53" fmla="*/ 288 h 327"/>
              <a:gd name="T54" fmla="*/ 109 w 331"/>
              <a:gd name="T55" fmla="*/ 286 h 327"/>
              <a:gd name="T56" fmla="*/ 93 w 331"/>
              <a:gd name="T57" fmla="*/ 292 h 327"/>
              <a:gd name="T58" fmla="*/ 79 w 331"/>
              <a:gd name="T59" fmla="*/ 296 h 327"/>
              <a:gd name="T60" fmla="*/ 73 w 331"/>
              <a:gd name="T61" fmla="*/ 242 h 327"/>
              <a:gd name="T62" fmla="*/ 79 w 331"/>
              <a:gd name="T63" fmla="*/ 216 h 327"/>
              <a:gd name="T64" fmla="*/ 48 w 331"/>
              <a:gd name="T65" fmla="*/ 211 h 327"/>
              <a:gd name="T66" fmla="*/ 28 w 331"/>
              <a:gd name="T67" fmla="*/ 198 h 327"/>
              <a:gd name="T68" fmla="*/ 13 w 331"/>
              <a:gd name="T69" fmla="*/ 173 h 327"/>
              <a:gd name="T70" fmla="*/ 0 w 331"/>
              <a:gd name="T71" fmla="*/ 130 h 327"/>
              <a:gd name="T72" fmla="*/ 28 w 331"/>
              <a:gd name="T73" fmla="*/ 111 h 327"/>
              <a:gd name="T74" fmla="*/ 50 w 331"/>
              <a:gd name="T75" fmla="*/ 81 h 327"/>
              <a:gd name="T76" fmla="*/ 73 w 331"/>
              <a:gd name="T77" fmla="*/ 55 h 327"/>
              <a:gd name="T78" fmla="*/ 115 w 331"/>
              <a:gd name="T79" fmla="*/ 41 h 327"/>
              <a:gd name="T80" fmla="*/ 180 w 331"/>
              <a:gd name="T81" fmla="*/ 14 h 327"/>
              <a:gd name="T82" fmla="*/ 218 w 331"/>
              <a:gd name="T83" fmla="*/ 7 h 327"/>
              <a:gd name="T84" fmla="*/ 249 w 331"/>
              <a:gd name="T85" fmla="*/ 14 h 327"/>
              <a:gd name="T86" fmla="*/ 271 w 331"/>
              <a:gd name="T87" fmla="*/ 27 h 327"/>
              <a:gd name="T88" fmla="*/ 292 w 331"/>
              <a:gd name="T89" fmla="*/ 30 h 327"/>
              <a:gd name="T90" fmla="*/ 307 w 331"/>
              <a:gd name="T91" fmla="*/ 20 h 327"/>
              <a:gd name="T92" fmla="*/ 327 w 331"/>
              <a:gd name="T93" fmla="*/ 6 h 327"/>
              <a:gd name="T94" fmla="*/ 330 w 331"/>
              <a:gd name="T95" fmla="*/ 32 h 3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31" h="327">
                <a:moveTo>
                  <a:pt x="331" y="56"/>
                </a:moveTo>
                <a:lnTo>
                  <a:pt x="245" y="37"/>
                </a:lnTo>
                <a:lnTo>
                  <a:pt x="230" y="40"/>
                </a:lnTo>
                <a:lnTo>
                  <a:pt x="216" y="44"/>
                </a:lnTo>
                <a:lnTo>
                  <a:pt x="204" y="50"/>
                </a:lnTo>
                <a:lnTo>
                  <a:pt x="193" y="56"/>
                </a:lnTo>
                <a:lnTo>
                  <a:pt x="189" y="59"/>
                </a:lnTo>
                <a:lnTo>
                  <a:pt x="185" y="63"/>
                </a:lnTo>
                <a:lnTo>
                  <a:pt x="182" y="67"/>
                </a:lnTo>
                <a:lnTo>
                  <a:pt x="181" y="72"/>
                </a:lnTo>
                <a:lnTo>
                  <a:pt x="180" y="77"/>
                </a:lnTo>
                <a:lnTo>
                  <a:pt x="181" y="81"/>
                </a:lnTo>
                <a:lnTo>
                  <a:pt x="182" y="87"/>
                </a:lnTo>
                <a:lnTo>
                  <a:pt x="185" y="92"/>
                </a:lnTo>
                <a:lnTo>
                  <a:pt x="184" y="94"/>
                </a:lnTo>
                <a:lnTo>
                  <a:pt x="181" y="98"/>
                </a:lnTo>
                <a:lnTo>
                  <a:pt x="179" y="101"/>
                </a:lnTo>
                <a:lnTo>
                  <a:pt x="177" y="102"/>
                </a:lnTo>
                <a:lnTo>
                  <a:pt x="174" y="105"/>
                </a:lnTo>
                <a:lnTo>
                  <a:pt x="172" y="105"/>
                </a:lnTo>
                <a:lnTo>
                  <a:pt x="168" y="105"/>
                </a:lnTo>
                <a:lnTo>
                  <a:pt x="165" y="102"/>
                </a:lnTo>
                <a:lnTo>
                  <a:pt x="162" y="100"/>
                </a:lnTo>
                <a:lnTo>
                  <a:pt x="160" y="98"/>
                </a:lnTo>
                <a:lnTo>
                  <a:pt x="159" y="92"/>
                </a:lnTo>
                <a:lnTo>
                  <a:pt x="159" y="86"/>
                </a:lnTo>
                <a:lnTo>
                  <a:pt x="149" y="85"/>
                </a:lnTo>
                <a:lnTo>
                  <a:pt x="139" y="82"/>
                </a:lnTo>
                <a:lnTo>
                  <a:pt x="132" y="79"/>
                </a:lnTo>
                <a:lnTo>
                  <a:pt x="126" y="74"/>
                </a:lnTo>
                <a:lnTo>
                  <a:pt x="126" y="83"/>
                </a:lnTo>
                <a:lnTo>
                  <a:pt x="126" y="92"/>
                </a:lnTo>
                <a:lnTo>
                  <a:pt x="127" y="96"/>
                </a:lnTo>
                <a:lnTo>
                  <a:pt x="129" y="101"/>
                </a:lnTo>
                <a:lnTo>
                  <a:pt x="135" y="109"/>
                </a:lnTo>
                <a:lnTo>
                  <a:pt x="139" y="116"/>
                </a:lnTo>
                <a:lnTo>
                  <a:pt x="146" y="122"/>
                </a:lnTo>
                <a:lnTo>
                  <a:pt x="151" y="127"/>
                </a:lnTo>
                <a:lnTo>
                  <a:pt x="154" y="129"/>
                </a:lnTo>
                <a:lnTo>
                  <a:pt x="156" y="130"/>
                </a:lnTo>
                <a:lnTo>
                  <a:pt x="157" y="130"/>
                </a:lnTo>
                <a:lnTo>
                  <a:pt x="159" y="130"/>
                </a:lnTo>
                <a:lnTo>
                  <a:pt x="159" y="147"/>
                </a:lnTo>
                <a:lnTo>
                  <a:pt x="159" y="163"/>
                </a:lnTo>
                <a:lnTo>
                  <a:pt x="159" y="177"/>
                </a:lnTo>
                <a:lnTo>
                  <a:pt x="159" y="191"/>
                </a:lnTo>
                <a:lnTo>
                  <a:pt x="159" y="213"/>
                </a:lnTo>
                <a:lnTo>
                  <a:pt x="159" y="237"/>
                </a:lnTo>
                <a:lnTo>
                  <a:pt x="158" y="242"/>
                </a:lnTo>
                <a:lnTo>
                  <a:pt x="157" y="247"/>
                </a:lnTo>
                <a:lnTo>
                  <a:pt x="156" y="251"/>
                </a:lnTo>
                <a:lnTo>
                  <a:pt x="154" y="254"/>
                </a:lnTo>
                <a:lnTo>
                  <a:pt x="150" y="257"/>
                </a:lnTo>
                <a:lnTo>
                  <a:pt x="147" y="259"/>
                </a:lnTo>
                <a:lnTo>
                  <a:pt x="144" y="259"/>
                </a:lnTo>
                <a:lnTo>
                  <a:pt x="139" y="259"/>
                </a:lnTo>
                <a:lnTo>
                  <a:pt x="145" y="264"/>
                </a:lnTo>
                <a:lnTo>
                  <a:pt x="154" y="270"/>
                </a:lnTo>
                <a:lnTo>
                  <a:pt x="158" y="274"/>
                </a:lnTo>
                <a:lnTo>
                  <a:pt x="162" y="276"/>
                </a:lnTo>
                <a:lnTo>
                  <a:pt x="167" y="277"/>
                </a:lnTo>
                <a:lnTo>
                  <a:pt x="172" y="278"/>
                </a:lnTo>
                <a:lnTo>
                  <a:pt x="167" y="286"/>
                </a:lnTo>
                <a:lnTo>
                  <a:pt x="161" y="291"/>
                </a:lnTo>
                <a:lnTo>
                  <a:pt x="158" y="293"/>
                </a:lnTo>
                <a:lnTo>
                  <a:pt x="155" y="295"/>
                </a:lnTo>
                <a:lnTo>
                  <a:pt x="150" y="296"/>
                </a:lnTo>
                <a:lnTo>
                  <a:pt x="146" y="296"/>
                </a:lnTo>
                <a:lnTo>
                  <a:pt x="140" y="297"/>
                </a:lnTo>
                <a:lnTo>
                  <a:pt x="137" y="299"/>
                </a:lnTo>
                <a:lnTo>
                  <a:pt x="134" y="302"/>
                </a:lnTo>
                <a:lnTo>
                  <a:pt x="130" y="307"/>
                </a:lnTo>
                <a:lnTo>
                  <a:pt x="128" y="311"/>
                </a:lnTo>
                <a:lnTo>
                  <a:pt x="127" y="316"/>
                </a:lnTo>
                <a:lnTo>
                  <a:pt x="126" y="321"/>
                </a:lnTo>
                <a:lnTo>
                  <a:pt x="126" y="327"/>
                </a:lnTo>
                <a:lnTo>
                  <a:pt x="122" y="311"/>
                </a:lnTo>
                <a:lnTo>
                  <a:pt x="121" y="300"/>
                </a:lnTo>
                <a:lnTo>
                  <a:pt x="121" y="296"/>
                </a:lnTo>
                <a:lnTo>
                  <a:pt x="122" y="292"/>
                </a:lnTo>
                <a:lnTo>
                  <a:pt x="124" y="288"/>
                </a:lnTo>
                <a:lnTo>
                  <a:pt x="126" y="284"/>
                </a:lnTo>
                <a:lnTo>
                  <a:pt x="116" y="284"/>
                </a:lnTo>
                <a:lnTo>
                  <a:pt x="109" y="286"/>
                </a:lnTo>
                <a:lnTo>
                  <a:pt x="103" y="288"/>
                </a:lnTo>
                <a:lnTo>
                  <a:pt x="98" y="290"/>
                </a:lnTo>
                <a:lnTo>
                  <a:pt x="93" y="292"/>
                </a:lnTo>
                <a:lnTo>
                  <a:pt x="89" y="294"/>
                </a:lnTo>
                <a:lnTo>
                  <a:pt x="83" y="295"/>
                </a:lnTo>
                <a:lnTo>
                  <a:pt x="79" y="296"/>
                </a:lnTo>
                <a:lnTo>
                  <a:pt x="78" y="272"/>
                </a:lnTo>
                <a:lnTo>
                  <a:pt x="74" y="251"/>
                </a:lnTo>
                <a:lnTo>
                  <a:pt x="73" y="242"/>
                </a:lnTo>
                <a:lnTo>
                  <a:pt x="73" y="234"/>
                </a:lnTo>
                <a:lnTo>
                  <a:pt x="76" y="225"/>
                </a:lnTo>
                <a:lnTo>
                  <a:pt x="79" y="216"/>
                </a:lnTo>
                <a:lnTo>
                  <a:pt x="68" y="216"/>
                </a:lnTo>
                <a:lnTo>
                  <a:pt x="57" y="213"/>
                </a:lnTo>
                <a:lnTo>
                  <a:pt x="48" y="211"/>
                </a:lnTo>
                <a:lnTo>
                  <a:pt x="40" y="207"/>
                </a:lnTo>
                <a:lnTo>
                  <a:pt x="34" y="203"/>
                </a:lnTo>
                <a:lnTo>
                  <a:pt x="28" y="198"/>
                </a:lnTo>
                <a:lnTo>
                  <a:pt x="23" y="193"/>
                </a:lnTo>
                <a:lnTo>
                  <a:pt x="20" y="187"/>
                </a:lnTo>
                <a:lnTo>
                  <a:pt x="13" y="173"/>
                </a:lnTo>
                <a:lnTo>
                  <a:pt x="9" y="158"/>
                </a:lnTo>
                <a:lnTo>
                  <a:pt x="4" y="144"/>
                </a:lnTo>
                <a:lnTo>
                  <a:pt x="0" y="130"/>
                </a:lnTo>
                <a:lnTo>
                  <a:pt x="10" y="124"/>
                </a:lnTo>
                <a:lnTo>
                  <a:pt x="19" y="118"/>
                </a:lnTo>
                <a:lnTo>
                  <a:pt x="28" y="111"/>
                </a:lnTo>
                <a:lnTo>
                  <a:pt x="37" y="101"/>
                </a:lnTo>
                <a:lnTo>
                  <a:pt x="45" y="92"/>
                </a:lnTo>
                <a:lnTo>
                  <a:pt x="50" y="81"/>
                </a:lnTo>
                <a:lnTo>
                  <a:pt x="56" y="69"/>
                </a:lnTo>
                <a:lnTo>
                  <a:pt x="59" y="56"/>
                </a:lnTo>
                <a:lnTo>
                  <a:pt x="73" y="55"/>
                </a:lnTo>
                <a:lnTo>
                  <a:pt x="88" y="52"/>
                </a:lnTo>
                <a:lnTo>
                  <a:pt x="102" y="47"/>
                </a:lnTo>
                <a:lnTo>
                  <a:pt x="115" y="41"/>
                </a:lnTo>
                <a:lnTo>
                  <a:pt x="140" y="29"/>
                </a:lnTo>
                <a:lnTo>
                  <a:pt x="166" y="19"/>
                </a:lnTo>
                <a:lnTo>
                  <a:pt x="180" y="14"/>
                </a:lnTo>
                <a:lnTo>
                  <a:pt x="192" y="10"/>
                </a:lnTo>
                <a:lnTo>
                  <a:pt x="205" y="8"/>
                </a:lnTo>
                <a:lnTo>
                  <a:pt x="218" y="7"/>
                </a:lnTo>
                <a:lnTo>
                  <a:pt x="230" y="8"/>
                </a:lnTo>
                <a:lnTo>
                  <a:pt x="240" y="10"/>
                </a:lnTo>
                <a:lnTo>
                  <a:pt x="249" y="14"/>
                </a:lnTo>
                <a:lnTo>
                  <a:pt x="257" y="19"/>
                </a:lnTo>
                <a:lnTo>
                  <a:pt x="264" y="23"/>
                </a:lnTo>
                <a:lnTo>
                  <a:pt x="271" y="27"/>
                </a:lnTo>
                <a:lnTo>
                  <a:pt x="278" y="30"/>
                </a:lnTo>
                <a:lnTo>
                  <a:pt x="285" y="31"/>
                </a:lnTo>
                <a:lnTo>
                  <a:pt x="292" y="30"/>
                </a:lnTo>
                <a:lnTo>
                  <a:pt x="297" y="28"/>
                </a:lnTo>
                <a:lnTo>
                  <a:pt x="303" y="24"/>
                </a:lnTo>
                <a:lnTo>
                  <a:pt x="307" y="20"/>
                </a:lnTo>
                <a:lnTo>
                  <a:pt x="316" y="10"/>
                </a:lnTo>
                <a:lnTo>
                  <a:pt x="325" y="0"/>
                </a:lnTo>
                <a:lnTo>
                  <a:pt x="327" y="6"/>
                </a:lnTo>
                <a:lnTo>
                  <a:pt x="329" y="14"/>
                </a:lnTo>
                <a:lnTo>
                  <a:pt x="330" y="23"/>
                </a:lnTo>
                <a:lnTo>
                  <a:pt x="330" y="32"/>
                </a:lnTo>
                <a:lnTo>
                  <a:pt x="331" y="49"/>
                </a:lnTo>
                <a:lnTo>
                  <a:pt x="331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10" name="Freeform 462"/>
          <p:cNvSpPr>
            <a:spLocks/>
          </p:cNvSpPr>
          <p:nvPr>
            <p:custDataLst>
              <p:tags r:id="rId300"/>
            </p:custDataLst>
          </p:nvPr>
        </p:nvSpPr>
        <p:spPr bwMode="auto">
          <a:xfrm>
            <a:off x="6076950" y="2535238"/>
            <a:ext cx="69850" cy="57150"/>
          </a:xfrm>
          <a:custGeom>
            <a:avLst/>
            <a:gdLst>
              <a:gd name="T0" fmla="*/ 0 w 153"/>
              <a:gd name="T1" fmla="*/ 0 h 49"/>
              <a:gd name="T2" fmla="*/ 44 w 153"/>
              <a:gd name="T3" fmla="*/ 2 h 49"/>
              <a:gd name="T4" fmla="*/ 83 w 153"/>
              <a:gd name="T5" fmla="*/ 6 h 49"/>
              <a:gd name="T6" fmla="*/ 103 w 153"/>
              <a:gd name="T7" fmla="*/ 8 h 49"/>
              <a:gd name="T8" fmla="*/ 121 w 153"/>
              <a:gd name="T9" fmla="*/ 7 h 49"/>
              <a:gd name="T10" fmla="*/ 130 w 153"/>
              <a:gd name="T11" fmla="*/ 6 h 49"/>
              <a:gd name="T12" fmla="*/ 137 w 153"/>
              <a:gd name="T13" fmla="*/ 5 h 49"/>
              <a:gd name="T14" fmla="*/ 145 w 153"/>
              <a:gd name="T15" fmla="*/ 3 h 49"/>
              <a:gd name="T16" fmla="*/ 153 w 153"/>
              <a:gd name="T17" fmla="*/ 0 h 49"/>
              <a:gd name="T18" fmla="*/ 153 w 153"/>
              <a:gd name="T19" fmla="*/ 9 h 49"/>
              <a:gd name="T20" fmla="*/ 153 w 153"/>
              <a:gd name="T21" fmla="*/ 25 h 49"/>
              <a:gd name="T22" fmla="*/ 143 w 153"/>
              <a:gd name="T23" fmla="*/ 31 h 49"/>
              <a:gd name="T24" fmla="*/ 133 w 153"/>
              <a:gd name="T25" fmla="*/ 36 h 49"/>
              <a:gd name="T26" fmla="*/ 124 w 153"/>
              <a:gd name="T27" fmla="*/ 40 h 49"/>
              <a:gd name="T28" fmla="*/ 114 w 153"/>
              <a:gd name="T29" fmla="*/ 44 h 49"/>
              <a:gd name="T30" fmla="*/ 106 w 153"/>
              <a:gd name="T31" fmla="*/ 46 h 49"/>
              <a:gd name="T32" fmla="*/ 99 w 153"/>
              <a:gd name="T33" fmla="*/ 48 h 49"/>
              <a:gd name="T34" fmla="*/ 92 w 153"/>
              <a:gd name="T35" fmla="*/ 49 h 49"/>
              <a:gd name="T36" fmla="*/ 87 w 153"/>
              <a:gd name="T37" fmla="*/ 49 h 49"/>
              <a:gd name="T38" fmla="*/ 72 w 153"/>
              <a:gd name="T39" fmla="*/ 48 h 49"/>
              <a:gd name="T40" fmla="*/ 60 w 153"/>
              <a:gd name="T41" fmla="*/ 46 h 49"/>
              <a:gd name="T42" fmla="*/ 50 w 153"/>
              <a:gd name="T43" fmla="*/ 43 h 49"/>
              <a:gd name="T44" fmla="*/ 41 w 153"/>
              <a:gd name="T45" fmla="*/ 38 h 49"/>
              <a:gd name="T46" fmla="*/ 22 w 153"/>
              <a:gd name="T47" fmla="*/ 29 h 49"/>
              <a:gd name="T48" fmla="*/ 0 w 153"/>
              <a:gd name="T49" fmla="*/ 19 h 49"/>
              <a:gd name="T50" fmla="*/ 0 w 153"/>
              <a:gd name="T51" fmla="*/ 0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53" h="49">
                <a:moveTo>
                  <a:pt x="0" y="0"/>
                </a:moveTo>
                <a:lnTo>
                  <a:pt x="44" y="2"/>
                </a:lnTo>
                <a:lnTo>
                  <a:pt x="83" y="6"/>
                </a:lnTo>
                <a:lnTo>
                  <a:pt x="103" y="8"/>
                </a:lnTo>
                <a:lnTo>
                  <a:pt x="121" y="7"/>
                </a:lnTo>
                <a:lnTo>
                  <a:pt x="130" y="6"/>
                </a:lnTo>
                <a:lnTo>
                  <a:pt x="137" y="5"/>
                </a:lnTo>
                <a:lnTo>
                  <a:pt x="145" y="3"/>
                </a:lnTo>
                <a:lnTo>
                  <a:pt x="153" y="0"/>
                </a:lnTo>
                <a:lnTo>
                  <a:pt x="153" y="9"/>
                </a:lnTo>
                <a:lnTo>
                  <a:pt x="153" y="25"/>
                </a:lnTo>
                <a:lnTo>
                  <a:pt x="143" y="31"/>
                </a:lnTo>
                <a:lnTo>
                  <a:pt x="133" y="36"/>
                </a:lnTo>
                <a:lnTo>
                  <a:pt x="124" y="40"/>
                </a:lnTo>
                <a:lnTo>
                  <a:pt x="114" y="44"/>
                </a:lnTo>
                <a:lnTo>
                  <a:pt x="106" y="46"/>
                </a:lnTo>
                <a:lnTo>
                  <a:pt x="99" y="48"/>
                </a:lnTo>
                <a:lnTo>
                  <a:pt x="92" y="49"/>
                </a:lnTo>
                <a:lnTo>
                  <a:pt x="87" y="49"/>
                </a:lnTo>
                <a:lnTo>
                  <a:pt x="72" y="48"/>
                </a:lnTo>
                <a:lnTo>
                  <a:pt x="60" y="46"/>
                </a:lnTo>
                <a:lnTo>
                  <a:pt x="50" y="43"/>
                </a:lnTo>
                <a:lnTo>
                  <a:pt x="41" y="38"/>
                </a:lnTo>
                <a:lnTo>
                  <a:pt x="22" y="29"/>
                </a:lnTo>
                <a:lnTo>
                  <a:pt x="0" y="19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11" name="Freeform 463"/>
          <p:cNvSpPr>
            <a:spLocks/>
          </p:cNvSpPr>
          <p:nvPr>
            <p:custDataLst>
              <p:tags r:id="rId301"/>
            </p:custDataLst>
          </p:nvPr>
        </p:nvSpPr>
        <p:spPr bwMode="auto">
          <a:xfrm>
            <a:off x="5156201" y="3267075"/>
            <a:ext cx="187325" cy="158750"/>
          </a:xfrm>
          <a:custGeom>
            <a:avLst/>
            <a:gdLst>
              <a:gd name="T0" fmla="*/ 194 w 426"/>
              <a:gd name="T1" fmla="*/ 16 h 299"/>
              <a:gd name="T2" fmla="*/ 216 w 426"/>
              <a:gd name="T3" fmla="*/ 22 h 299"/>
              <a:gd name="T4" fmla="*/ 230 w 426"/>
              <a:gd name="T5" fmla="*/ 29 h 299"/>
              <a:gd name="T6" fmla="*/ 253 w 426"/>
              <a:gd name="T7" fmla="*/ 35 h 299"/>
              <a:gd name="T8" fmla="*/ 279 w 426"/>
              <a:gd name="T9" fmla="*/ 37 h 299"/>
              <a:gd name="T10" fmla="*/ 300 w 426"/>
              <a:gd name="T11" fmla="*/ 37 h 299"/>
              <a:gd name="T12" fmla="*/ 319 w 426"/>
              <a:gd name="T13" fmla="*/ 34 h 299"/>
              <a:gd name="T14" fmla="*/ 329 w 426"/>
              <a:gd name="T15" fmla="*/ 29 h 299"/>
              <a:gd name="T16" fmla="*/ 365 w 426"/>
              <a:gd name="T17" fmla="*/ 25 h 299"/>
              <a:gd name="T18" fmla="*/ 372 w 426"/>
              <a:gd name="T19" fmla="*/ 49 h 299"/>
              <a:gd name="T20" fmla="*/ 383 w 426"/>
              <a:gd name="T21" fmla="*/ 74 h 299"/>
              <a:gd name="T22" fmla="*/ 391 w 426"/>
              <a:gd name="T23" fmla="*/ 84 h 299"/>
              <a:gd name="T24" fmla="*/ 400 w 426"/>
              <a:gd name="T25" fmla="*/ 92 h 299"/>
              <a:gd name="T26" fmla="*/ 412 w 426"/>
              <a:gd name="T27" fmla="*/ 97 h 299"/>
              <a:gd name="T28" fmla="*/ 425 w 426"/>
              <a:gd name="T29" fmla="*/ 99 h 299"/>
              <a:gd name="T30" fmla="*/ 425 w 426"/>
              <a:gd name="T31" fmla="*/ 120 h 299"/>
              <a:gd name="T32" fmla="*/ 425 w 426"/>
              <a:gd name="T33" fmla="*/ 142 h 299"/>
              <a:gd name="T34" fmla="*/ 416 w 426"/>
              <a:gd name="T35" fmla="*/ 158 h 299"/>
              <a:gd name="T36" fmla="*/ 412 w 426"/>
              <a:gd name="T37" fmla="*/ 170 h 299"/>
              <a:gd name="T38" fmla="*/ 412 w 426"/>
              <a:gd name="T39" fmla="*/ 181 h 299"/>
              <a:gd name="T40" fmla="*/ 415 w 426"/>
              <a:gd name="T41" fmla="*/ 190 h 299"/>
              <a:gd name="T42" fmla="*/ 423 w 426"/>
              <a:gd name="T43" fmla="*/ 211 h 299"/>
              <a:gd name="T44" fmla="*/ 426 w 426"/>
              <a:gd name="T45" fmla="*/ 226 h 299"/>
              <a:gd name="T46" fmla="*/ 425 w 426"/>
              <a:gd name="T47" fmla="*/ 247 h 299"/>
              <a:gd name="T48" fmla="*/ 426 w 426"/>
              <a:gd name="T49" fmla="*/ 274 h 299"/>
              <a:gd name="T50" fmla="*/ 423 w 426"/>
              <a:gd name="T51" fmla="*/ 285 h 299"/>
              <a:gd name="T52" fmla="*/ 412 w 426"/>
              <a:gd name="T53" fmla="*/ 296 h 299"/>
              <a:gd name="T54" fmla="*/ 380 w 426"/>
              <a:gd name="T55" fmla="*/ 298 h 299"/>
              <a:gd name="T56" fmla="*/ 370 w 426"/>
              <a:gd name="T57" fmla="*/ 299 h 299"/>
              <a:gd name="T58" fmla="*/ 360 w 426"/>
              <a:gd name="T59" fmla="*/ 296 h 299"/>
              <a:gd name="T60" fmla="*/ 351 w 426"/>
              <a:gd name="T61" fmla="*/ 290 h 299"/>
              <a:gd name="T62" fmla="*/ 338 w 426"/>
              <a:gd name="T63" fmla="*/ 278 h 299"/>
              <a:gd name="T64" fmla="*/ 324 w 426"/>
              <a:gd name="T65" fmla="*/ 261 h 299"/>
              <a:gd name="T66" fmla="*/ 311 w 426"/>
              <a:gd name="T67" fmla="*/ 253 h 299"/>
              <a:gd name="T68" fmla="*/ 294 w 426"/>
              <a:gd name="T69" fmla="*/ 251 h 299"/>
              <a:gd name="T70" fmla="*/ 278 w 426"/>
              <a:gd name="T71" fmla="*/ 232 h 299"/>
              <a:gd name="T72" fmla="*/ 274 w 426"/>
              <a:gd name="T73" fmla="*/ 210 h 299"/>
              <a:gd name="T74" fmla="*/ 269 w 426"/>
              <a:gd name="T75" fmla="*/ 197 h 299"/>
              <a:gd name="T76" fmla="*/ 261 w 426"/>
              <a:gd name="T77" fmla="*/ 184 h 299"/>
              <a:gd name="T78" fmla="*/ 251 w 426"/>
              <a:gd name="T79" fmla="*/ 173 h 299"/>
              <a:gd name="T80" fmla="*/ 238 w 426"/>
              <a:gd name="T81" fmla="*/ 165 h 299"/>
              <a:gd name="T82" fmla="*/ 222 w 426"/>
              <a:gd name="T83" fmla="*/ 161 h 299"/>
              <a:gd name="T84" fmla="*/ 204 w 426"/>
              <a:gd name="T85" fmla="*/ 161 h 299"/>
              <a:gd name="T86" fmla="*/ 188 w 426"/>
              <a:gd name="T87" fmla="*/ 163 h 299"/>
              <a:gd name="T88" fmla="*/ 173 w 426"/>
              <a:gd name="T89" fmla="*/ 168 h 299"/>
              <a:gd name="T90" fmla="*/ 160 w 426"/>
              <a:gd name="T91" fmla="*/ 176 h 299"/>
              <a:gd name="T92" fmla="*/ 141 w 426"/>
              <a:gd name="T93" fmla="*/ 191 h 299"/>
              <a:gd name="T94" fmla="*/ 118 w 426"/>
              <a:gd name="T95" fmla="*/ 215 h 299"/>
              <a:gd name="T96" fmla="*/ 105 w 426"/>
              <a:gd name="T97" fmla="*/ 218 h 299"/>
              <a:gd name="T98" fmla="*/ 100 w 426"/>
              <a:gd name="T99" fmla="*/ 201 h 299"/>
              <a:gd name="T100" fmla="*/ 90 w 426"/>
              <a:gd name="T101" fmla="*/ 186 h 299"/>
              <a:gd name="T102" fmla="*/ 76 w 426"/>
              <a:gd name="T103" fmla="*/ 171 h 299"/>
              <a:gd name="T104" fmla="*/ 50 w 426"/>
              <a:gd name="T105" fmla="*/ 153 h 299"/>
              <a:gd name="T106" fmla="*/ 24 w 426"/>
              <a:gd name="T107" fmla="*/ 134 h 299"/>
              <a:gd name="T108" fmla="*/ 8 w 426"/>
              <a:gd name="T109" fmla="*/ 119 h 299"/>
              <a:gd name="T110" fmla="*/ 15 w 426"/>
              <a:gd name="T111" fmla="*/ 101 h 299"/>
              <a:gd name="T112" fmla="*/ 46 w 426"/>
              <a:gd name="T113" fmla="*/ 77 h 299"/>
              <a:gd name="T114" fmla="*/ 75 w 426"/>
              <a:gd name="T115" fmla="*/ 48 h 299"/>
              <a:gd name="T116" fmla="*/ 98 w 426"/>
              <a:gd name="T117" fmla="*/ 17 h 299"/>
              <a:gd name="T118" fmla="*/ 179 w 426"/>
              <a:gd name="T119" fmla="*/ 13 h 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26" h="299">
                <a:moveTo>
                  <a:pt x="179" y="13"/>
                </a:moveTo>
                <a:lnTo>
                  <a:pt x="194" y="16"/>
                </a:lnTo>
                <a:lnTo>
                  <a:pt x="207" y="19"/>
                </a:lnTo>
                <a:lnTo>
                  <a:pt x="216" y="22"/>
                </a:lnTo>
                <a:lnTo>
                  <a:pt x="223" y="24"/>
                </a:lnTo>
                <a:lnTo>
                  <a:pt x="230" y="29"/>
                </a:lnTo>
                <a:lnTo>
                  <a:pt x="233" y="31"/>
                </a:lnTo>
                <a:lnTo>
                  <a:pt x="253" y="35"/>
                </a:lnTo>
                <a:lnTo>
                  <a:pt x="269" y="37"/>
                </a:lnTo>
                <a:lnTo>
                  <a:pt x="279" y="37"/>
                </a:lnTo>
                <a:lnTo>
                  <a:pt x="285" y="37"/>
                </a:lnTo>
                <a:lnTo>
                  <a:pt x="300" y="37"/>
                </a:lnTo>
                <a:lnTo>
                  <a:pt x="314" y="36"/>
                </a:lnTo>
                <a:lnTo>
                  <a:pt x="319" y="34"/>
                </a:lnTo>
                <a:lnTo>
                  <a:pt x="325" y="32"/>
                </a:lnTo>
                <a:lnTo>
                  <a:pt x="329" y="29"/>
                </a:lnTo>
                <a:lnTo>
                  <a:pt x="331" y="25"/>
                </a:lnTo>
                <a:lnTo>
                  <a:pt x="365" y="25"/>
                </a:lnTo>
                <a:lnTo>
                  <a:pt x="368" y="37"/>
                </a:lnTo>
                <a:lnTo>
                  <a:pt x="372" y="49"/>
                </a:lnTo>
                <a:lnTo>
                  <a:pt x="376" y="62"/>
                </a:lnTo>
                <a:lnTo>
                  <a:pt x="383" y="74"/>
                </a:lnTo>
                <a:lnTo>
                  <a:pt x="386" y="79"/>
                </a:lnTo>
                <a:lnTo>
                  <a:pt x="391" y="84"/>
                </a:lnTo>
                <a:lnTo>
                  <a:pt x="395" y="88"/>
                </a:lnTo>
                <a:lnTo>
                  <a:pt x="400" y="92"/>
                </a:lnTo>
                <a:lnTo>
                  <a:pt x="405" y="95"/>
                </a:lnTo>
                <a:lnTo>
                  <a:pt x="412" y="97"/>
                </a:lnTo>
                <a:lnTo>
                  <a:pt x="418" y="98"/>
                </a:lnTo>
                <a:lnTo>
                  <a:pt x="425" y="99"/>
                </a:lnTo>
                <a:lnTo>
                  <a:pt x="425" y="111"/>
                </a:lnTo>
                <a:lnTo>
                  <a:pt x="425" y="120"/>
                </a:lnTo>
                <a:lnTo>
                  <a:pt x="425" y="130"/>
                </a:lnTo>
                <a:lnTo>
                  <a:pt x="425" y="142"/>
                </a:lnTo>
                <a:lnTo>
                  <a:pt x="419" y="151"/>
                </a:lnTo>
                <a:lnTo>
                  <a:pt x="416" y="158"/>
                </a:lnTo>
                <a:lnTo>
                  <a:pt x="413" y="164"/>
                </a:lnTo>
                <a:lnTo>
                  <a:pt x="412" y="170"/>
                </a:lnTo>
                <a:lnTo>
                  <a:pt x="412" y="175"/>
                </a:lnTo>
                <a:lnTo>
                  <a:pt x="412" y="181"/>
                </a:lnTo>
                <a:lnTo>
                  <a:pt x="414" y="186"/>
                </a:lnTo>
                <a:lnTo>
                  <a:pt x="415" y="190"/>
                </a:lnTo>
                <a:lnTo>
                  <a:pt x="419" y="200"/>
                </a:lnTo>
                <a:lnTo>
                  <a:pt x="423" y="211"/>
                </a:lnTo>
                <a:lnTo>
                  <a:pt x="425" y="218"/>
                </a:lnTo>
                <a:lnTo>
                  <a:pt x="426" y="226"/>
                </a:lnTo>
                <a:lnTo>
                  <a:pt x="426" y="236"/>
                </a:lnTo>
                <a:lnTo>
                  <a:pt x="425" y="247"/>
                </a:lnTo>
                <a:lnTo>
                  <a:pt x="426" y="261"/>
                </a:lnTo>
                <a:lnTo>
                  <a:pt x="426" y="274"/>
                </a:lnTo>
                <a:lnTo>
                  <a:pt x="425" y="280"/>
                </a:lnTo>
                <a:lnTo>
                  <a:pt x="423" y="285"/>
                </a:lnTo>
                <a:lnTo>
                  <a:pt x="418" y="292"/>
                </a:lnTo>
                <a:lnTo>
                  <a:pt x="412" y="296"/>
                </a:lnTo>
                <a:lnTo>
                  <a:pt x="385" y="296"/>
                </a:lnTo>
                <a:lnTo>
                  <a:pt x="380" y="298"/>
                </a:lnTo>
                <a:lnTo>
                  <a:pt x="375" y="299"/>
                </a:lnTo>
                <a:lnTo>
                  <a:pt x="370" y="299"/>
                </a:lnTo>
                <a:lnTo>
                  <a:pt x="365" y="297"/>
                </a:lnTo>
                <a:lnTo>
                  <a:pt x="360" y="296"/>
                </a:lnTo>
                <a:lnTo>
                  <a:pt x="356" y="293"/>
                </a:lnTo>
                <a:lnTo>
                  <a:pt x="351" y="290"/>
                </a:lnTo>
                <a:lnTo>
                  <a:pt x="347" y="286"/>
                </a:lnTo>
                <a:lnTo>
                  <a:pt x="338" y="278"/>
                </a:lnTo>
                <a:lnTo>
                  <a:pt x="330" y="269"/>
                </a:lnTo>
                <a:lnTo>
                  <a:pt x="324" y="261"/>
                </a:lnTo>
                <a:lnTo>
                  <a:pt x="318" y="253"/>
                </a:lnTo>
                <a:lnTo>
                  <a:pt x="311" y="253"/>
                </a:lnTo>
                <a:lnTo>
                  <a:pt x="304" y="252"/>
                </a:lnTo>
                <a:lnTo>
                  <a:pt x="294" y="251"/>
                </a:lnTo>
                <a:lnTo>
                  <a:pt x="279" y="247"/>
                </a:lnTo>
                <a:lnTo>
                  <a:pt x="278" y="232"/>
                </a:lnTo>
                <a:lnTo>
                  <a:pt x="275" y="217"/>
                </a:lnTo>
                <a:lnTo>
                  <a:pt x="274" y="210"/>
                </a:lnTo>
                <a:lnTo>
                  <a:pt x="272" y="203"/>
                </a:lnTo>
                <a:lnTo>
                  <a:pt x="269" y="197"/>
                </a:lnTo>
                <a:lnTo>
                  <a:pt x="266" y="190"/>
                </a:lnTo>
                <a:lnTo>
                  <a:pt x="261" y="184"/>
                </a:lnTo>
                <a:lnTo>
                  <a:pt x="257" y="179"/>
                </a:lnTo>
                <a:lnTo>
                  <a:pt x="251" y="173"/>
                </a:lnTo>
                <a:lnTo>
                  <a:pt x="245" y="168"/>
                </a:lnTo>
                <a:lnTo>
                  <a:pt x="238" y="165"/>
                </a:lnTo>
                <a:lnTo>
                  <a:pt x="230" y="162"/>
                </a:lnTo>
                <a:lnTo>
                  <a:pt x="222" y="161"/>
                </a:lnTo>
                <a:lnTo>
                  <a:pt x="213" y="160"/>
                </a:lnTo>
                <a:lnTo>
                  <a:pt x="204" y="161"/>
                </a:lnTo>
                <a:lnTo>
                  <a:pt x="195" y="162"/>
                </a:lnTo>
                <a:lnTo>
                  <a:pt x="188" y="163"/>
                </a:lnTo>
                <a:lnTo>
                  <a:pt x="181" y="166"/>
                </a:lnTo>
                <a:lnTo>
                  <a:pt x="173" y="168"/>
                </a:lnTo>
                <a:lnTo>
                  <a:pt x="167" y="172"/>
                </a:lnTo>
                <a:lnTo>
                  <a:pt x="160" y="176"/>
                </a:lnTo>
                <a:lnTo>
                  <a:pt x="155" y="181"/>
                </a:lnTo>
                <a:lnTo>
                  <a:pt x="141" y="191"/>
                </a:lnTo>
                <a:lnTo>
                  <a:pt x="131" y="202"/>
                </a:lnTo>
                <a:lnTo>
                  <a:pt x="118" y="215"/>
                </a:lnTo>
                <a:lnTo>
                  <a:pt x="106" y="228"/>
                </a:lnTo>
                <a:lnTo>
                  <a:pt x="105" y="218"/>
                </a:lnTo>
                <a:lnTo>
                  <a:pt x="103" y="209"/>
                </a:lnTo>
                <a:lnTo>
                  <a:pt x="100" y="201"/>
                </a:lnTo>
                <a:lnTo>
                  <a:pt x="95" y="193"/>
                </a:lnTo>
                <a:lnTo>
                  <a:pt x="90" y="186"/>
                </a:lnTo>
                <a:lnTo>
                  <a:pt x="83" y="179"/>
                </a:lnTo>
                <a:lnTo>
                  <a:pt x="76" y="171"/>
                </a:lnTo>
                <a:lnTo>
                  <a:pt x="68" y="165"/>
                </a:lnTo>
                <a:lnTo>
                  <a:pt x="50" y="153"/>
                </a:lnTo>
                <a:lnTo>
                  <a:pt x="33" y="140"/>
                </a:lnTo>
                <a:lnTo>
                  <a:pt x="24" y="134"/>
                </a:lnTo>
                <a:lnTo>
                  <a:pt x="15" y="127"/>
                </a:lnTo>
                <a:lnTo>
                  <a:pt x="8" y="119"/>
                </a:lnTo>
                <a:lnTo>
                  <a:pt x="0" y="111"/>
                </a:lnTo>
                <a:lnTo>
                  <a:pt x="15" y="101"/>
                </a:lnTo>
                <a:lnTo>
                  <a:pt x="31" y="90"/>
                </a:lnTo>
                <a:lnTo>
                  <a:pt x="46" y="77"/>
                </a:lnTo>
                <a:lnTo>
                  <a:pt x="60" y="62"/>
                </a:lnTo>
                <a:lnTo>
                  <a:pt x="75" y="48"/>
                </a:lnTo>
                <a:lnTo>
                  <a:pt x="87" y="33"/>
                </a:lnTo>
                <a:lnTo>
                  <a:pt x="98" y="17"/>
                </a:lnTo>
                <a:lnTo>
                  <a:pt x="106" y="0"/>
                </a:lnTo>
                <a:lnTo>
                  <a:pt x="179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12" name="Freeform 464"/>
          <p:cNvSpPr>
            <a:spLocks/>
          </p:cNvSpPr>
          <p:nvPr>
            <p:custDataLst>
              <p:tags r:id="rId302"/>
            </p:custDataLst>
          </p:nvPr>
        </p:nvSpPr>
        <p:spPr bwMode="auto">
          <a:xfrm>
            <a:off x="7200900" y="2530476"/>
            <a:ext cx="692150" cy="874713"/>
          </a:xfrm>
          <a:custGeom>
            <a:avLst/>
            <a:gdLst>
              <a:gd name="T0" fmla="*/ 477 w 1594"/>
              <a:gd name="T1" fmla="*/ 107 h 1670"/>
              <a:gd name="T2" fmla="*/ 485 w 1594"/>
              <a:gd name="T3" fmla="*/ 185 h 1670"/>
              <a:gd name="T4" fmla="*/ 578 w 1594"/>
              <a:gd name="T5" fmla="*/ 287 h 1670"/>
              <a:gd name="T6" fmla="*/ 701 w 1594"/>
              <a:gd name="T7" fmla="*/ 459 h 1670"/>
              <a:gd name="T8" fmla="*/ 795 w 1594"/>
              <a:gd name="T9" fmla="*/ 499 h 1670"/>
              <a:gd name="T10" fmla="*/ 877 w 1594"/>
              <a:gd name="T11" fmla="*/ 493 h 1670"/>
              <a:gd name="T12" fmla="*/ 930 w 1594"/>
              <a:gd name="T13" fmla="*/ 537 h 1670"/>
              <a:gd name="T14" fmla="*/ 1102 w 1594"/>
              <a:gd name="T15" fmla="*/ 567 h 1670"/>
              <a:gd name="T16" fmla="*/ 1121 w 1594"/>
              <a:gd name="T17" fmla="*/ 461 h 1670"/>
              <a:gd name="T18" fmla="*/ 1179 w 1594"/>
              <a:gd name="T19" fmla="*/ 539 h 1670"/>
              <a:gd name="T20" fmla="*/ 1243 w 1594"/>
              <a:gd name="T21" fmla="*/ 561 h 1670"/>
              <a:gd name="T22" fmla="*/ 1299 w 1594"/>
              <a:gd name="T23" fmla="*/ 498 h 1670"/>
              <a:gd name="T24" fmla="*/ 1404 w 1594"/>
              <a:gd name="T25" fmla="*/ 409 h 1670"/>
              <a:gd name="T26" fmla="*/ 1549 w 1594"/>
              <a:gd name="T27" fmla="*/ 428 h 1670"/>
              <a:gd name="T28" fmla="*/ 1579 w 1594"/>
              <a:gd name="T29" fmla="*/ 498 h 1670"/>
              <a:gd name="T30" fmla="*/ 1504 w 1594"/>
              <a:gd name="T31" fmla="*/ 542 h 1670"/>
              <a:gd name="T32" fmla="*/ 1485 w 1594"/>
              <a:gd name="T33" fmla="*/ 679 h 1670"/>
              <a:gd name="T34" fmla="*/ 1429 w 1594"/>
              <a:gd name="T35" fmla="*/ 704 h 1670"/>
              <a:gd name="T36" fmla="*/ 1408 w 1594"/>
              <a:gd name="T37" fmla="*/ 814 h 1670"/>
              <a:gd name="T38" fmla="*/ 1321 w 1594"/>
              <a:gd name="T39" fmla="*/ 754 h 1670"/>
              <a:gd name="T40" fmla="*/ 1323 w 1594"/>
              <a:gd name="T41" fmla="*/ 698 h 1670"/>
              <a:gd name="T42" fmla="*/ 1225 w 1594"/>
              <a:gd name="T43" fmla="*/ 638 h 1670"/>
              <a:gd name="T44" fmla="*/ 1187 w 1594"/>
              <a:gd name="T45" fmla="*/ 588 h 1670"/>
              <a:gd name="T46" fmla="*/ 1131 w 1594"/>
              <a:gd name="T47" fmla="*/ 575 h 1670"/>
              <a:gd name="T48" fmla="*/ 1127 w 1594"/>
              <a:gd name="T49" fmla="*/ 625 h 1670"/>
              <a:gd name="T50" fmla="*/ 1117 w 1594"/>
              <a:gd name="T51" fmla="*/ 683 h 1670"/>
              <a:gd name="T52" fmla="*/ 1160 w 1594"/>
              <a:gd name="T53" fmla="*/ 735 h 1670"/>
              <a:gd name="T54" fmla="*/ 1149 w 1594"/>
              <a:gd name="T55" fmla="*/ 843 h 1670"/>
              <a:gd name="T56" fmla="*/ 1075 w 1594"/>
              <a:gd name="T57" fmla="*/ 864 h 1670"/>
              <a:gd name="T58" fmla="*/ 1049 w 1594"/>
              <a:gd name="T59" fmla="*/ 937 h 1670"/>
              <a:gd name="T60" fmla="*/ 954 w 1594"/>
              <a:gd name="T61" fmla="*/ 1001 h 1670"/>
              <a:gd name="T62" fmla="*/ 912 w 1594"/>
              <a:gd name="T63" fmla="*/ 1050 h 1670"/>
              <a:gd name="T64" fmla="*/ 780 w 1594"/>
              <a:gd name="T65" fmla="*/ 1188 h 1670"/>
              <a:gd name="T66" fmla="*/ 723 w 1594"/>
              <a:gd name="T67" fmla="*/ 1233 h 1670"/>
              <a:gd name="T68" fmla="*/ 744 w 1594"/>
              <a:gd name="T69" fmla="*/ 1344 h 1670"/>
              <a:gd name="T70" fmla="*/ 712 w 1594"/>
              <a:gd name="T71" fmla="*/ 1445 h 1670"/>
              <a:gd name="T72" fmla="*/ 722 w 1594"/>
              <a:gd name="T73" fmla="*/ 1524 h 1670"/>
              <a:gd name="T74" fmla="*/ 693 w 1594"/>
              <a:gd name="T75" fmla="*/ 1576 h 1670"/>
              <a:gd name="T76" fmla="*/ 595 w 1594"/>
              <a:gd name="T77" fmla="*/ 1663 h 1670"/>
              <a:gd name="T78" fmla="*/ 516 w 1594"/>
              <a:gd name="T79" fmla="*/ 1529 h 1670"/>
              <a:gd name="T80" fmla="*/ 419 w 1594"/>
              <a:gd name="T81" fmla="*/ 1334 h 1670"/>
              <a:gd name="T82" fmla="*/ 301 w 1594"/>
              <a:gd name="T83" fmla="*/ 1114 h 1670"/>
              <a:gd name="T84" fmla="*/ 259 w 1594"/>
              <a:gd name="T85" fmla="*/ 861 h 1670"/>
              <a:gd name="T86" fmla="*/ 230 w 1594"/>
              <a:gd name="T87" fmla="*/ 814 h 1670"/>
              <a:gd name="T88" fmla="*/ 164 w 1594"/>
              <a:gd name="T89" fmla="*/ 900 h 1670"/>
              <a:gd name="T90" fmla="*/ 90 w 1594"/>
              <a:gd name="T91" fmla="*/ 876 h 1670"/>
              <a:gd name="T92" fmla="*/ 51 w 1594"/>
              <a:gd name="T93" fmla="*/ 798 h 1670"/>
              <a:gd name="T94" fmla="*/ 30 w 1594"/>
              <a:gd name="T95" fmla="*/ 771 h 1670"/>
              <a:gd name="T96" fmla="*/ 32 w 1594"/>
              <a:gd name="T97" fmla="*/ 708 h 1670"/>
              <a:gd name="T98" fmla="*/ 159 w 1594"/>
              <a:gd name="T99" fmla="*/ 659 h 1670"/>
              <a:gd name="T100" fmla="*/ 92 w 1594"/>
              <a:gd name="T101" fmla="*/ 569 h 1670"/>
              <a:gd name="T102" fmla="*/ 59 w 1594"/>
              <a:gd name="T103" fmla="*/ 500 h 1670"/>
              <a:gd name="T104" fmla="*/ 162 w 1594"/>
              <a:gd name="T105" fmla="*/ 459 h 1670"/>
              <a:gd name="T106" fmla="*/ 270 w 1594"/>
              <a:gd name="T107" fmla="*/ 294 h 1670"/>
              <a:gd name="T108" fmla="*/ 274 w 1594"/>
              <a:gd name="T109" fmla="*/ 230 h 1670"/>
              <a:gd name="T110" fmla="*/ 227 w 1594"/>
              <a:gd name="T111" fmla="*/ 142 h 1670"/>
              <a:gd name="T112" fmla="*/ 322 w 1594"/>
              <a:gd name="T113" fmla="*/ 54 h 16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594" h="1670">
                <a:moveTo>
                  <a:pt x="385" y="0"/>
                </a:moveTo>
                <a:lnTo>
                  <a:pt x="400" y="16"/>
                </a:lnTo>
                <a:lnTo>
                  <a:pt x="415" y="33"/>
                </a:lnTo>
                <a:lnTo>
                  <a:pt x="427" y="48"/>
                </a:lnTo>
                <a:lnTo>
                  <a:pt x="437" y="63"/>
                </a:lnTo>
                <a:lnTo>
                  <a:pt x="448" y="76"/>
                </a:lnTo>
                <a:lnTo>
                  <a:pt x="459" y="90"/>
                </a:lnTo>
                <a:lnTo>
                  <a:pt x="464" y="96"/>
                </a:lnTo>
                <a:lnTo>
                  <a:pt x="471" y="101"/>
                </a:lnTo>
                <a:lnTo>
                  <a:pt x="477" y="107"/>
                </a:lnTo>
                <a:lnTo>
                  <a:pt x="485" y="111"/>
                </a:lnTo>
                <a:lnTo>
                  <a:pt x="492" y="118"/>
                </a:lnTo>
                <a:lnTo>
                  <a:pt x="499" y="126"/>
                </a:lnTo>
                <a:lnTo>
                  <a:pt x="506" y="134"/>
                </a:lnTo>
                <a:lnTo>
                  <a:pt x="512" y="144"/>
                </a:lnTo>
                <a:lnTo>
                  <a:pt x="519" y="153"/>
                </a:lnTo>
                <a:lnTo>
                  <a:pt x="523" y="163"/>
                </a:lnTo>
                <a:lnTo>
                  <a:pt x="528" y="174"/>
                </a:lnTo>
                <a:lnTo>
                  <a:pt x="531" y="185"/>
                </a:lnTo>
                <a:lnTo>
                  <a:pt x="485" y="185"/>
                </a:lnTo>
                <a:lnTo>
                  <a:pt x="485" y="216"/>
                </a:lnTo>
                <a:lnTo>
                  <a:pt x="490" y="229"/>
                </a:lnTo>
                <a:lnTo>
                  <a:pt x="497" y="240"/>
                </a:lnTo>
                <a:lnTo>
                  <a:pt x="505" y="250"/>
                </a:lnTo>
                <a:lnTo>
                  <a:pt x="514" y="257"/>
                </a:lnTo>
                <a:lnTo>
                  <a:pt x="523" y="264"/>
                </a:lnTo>
                <a:lnTo>
                  <a:pt x="534" y="269"/>
                </a:lnTo>
                <a:lnTo>
                  <a:pt x="544" y="274"/>
                </a:lnTo>
                <a:lnTo>
                  <a:pt x="556" y="278"/>
                </a:lnTo>
                <a:lnTo>
                  <a:pt x="578" y="287"/>
                </a:lnTo>
                <a:lnTo>
                  <a:pt x="600" y="296"/>
                </a:lnTo>
                <a:lnTo>
                  <a:pt x="610" y="302"/>
                </a:lnTo>
                <a:lnTo>
                  <a:pt x="620" y="310"/>
                </a:lnTo>
                <a:lnTo>
                  <a:pt x="629" y="318"/>
                </a:lnTo>
                <a:lnTo>
                  <a:pt x="638" y="327"/>
                </a:lnTo>
                <a:lnTo>
                  <a:pt x="631" y="420"/>
                </a:lnTo>
                <a:lnTo>
                  <a:pt x="643" y="429"/>
                </a:lnTo>
                <a:lnTo>
                  <a:pt x="660" y="440"/>
                </a:lnTo>
                <a:lnTo>
                  <a:pt x="679" y="450"/>
                </a:lnTo>
                <a:lnTo>
                  <a:pt x="701" y="459"/>
                </a:lnTo>
                <a:lnTo>
                  <a:pt x="723" y="468"/>
                </a:lnTo>
                <a:lnTo>
                  <a:pt x="744" y="475"/>
                </a:lnTo>
                <a:lnTo>
                  <a:pt x="753" y="478"/>
                </a:lnTo>
                <a:lnTo>
                  <a:pt x="762" y="480"/>
                </a:lnTo>
                <a:lnTo>
                  <a:pt x="770" y="481"/>
                </a:lnTo>
                <a:lnTo>
                  <a:pt x="777" y="481"/>
                </a:lnTo>
                <a:lnTo>
                  <a:pt x="779" y="488"/>
                </a:lnTo>
                <a:lnTo>
                  <a:pt x="784" y="494"/>
                </a:lnTo>
                <a:lnTo>
                  <a:pt x="789" y="497"/>
                </a:lnTo>
                <a:lnTo>
                  <a:pt x="795" y="499"/>
                </a:lnTo>
                <a:lnTo>
                  <a:pt x="800" y="501"/>
                </a:lnTo>
                <a:lnTo>
                  <a:pt x="807" y="501"/>
                </a:lnTo>
                <a:lnTo>
                  <a:pt x="814" y="500"/>
                </a:lnTo>
                <a:lnTo>
                  <a:pt x="822" y="499"/>
                </a:lnTo>
                <a:lnTo>
                  <a:pt x="836" y="496"/>
                </a:lnTo>
                <a:lnTo>
                  <a:pt x="852" y="492"/>
                </a:lnTo>
                <a:lnTo>
                  <a:pt x="858" y="492"/>
                </a:lnTo>
                <a:lnTo>
                  <a:pt x="865" y="491"/>
                </a:lnTo>
                <a:lnTo>
                  <a:pt x="871" y="492"/>
                </a:lnTo>
                <a:lnTo>
                  <a:pt x="877" y="493"/>
                </a:lnTo>
                <a:lnTo>
                  <a:pt x="886" y="499"/>
                </a:lnTo>
                <a:lnTo>
                  <a:pt x="892" y="504"/>
                </a:lnTo>
                <a:lnTo>
                  <a:pt x="898" y="511"/>
                </a:lnTo>
                <a:lnTo>
                  <a:pt x="903" y="517"/>
                </a:lnTo>
                <a:lnTo>
                  <a:pt x="908" y="523"/>
                </a:lnTo>
                <a:lnTo>
                  <a:pt x="914" y="529"/>
                </a:lnTo>
                <a:lnTo>
                  <a:pt x="918" y="532"/>
                </a:lnTo>
                <a:lnTo>
                  <a:pt x="921" y="534"/>
                </a:lnTo>
                <a:lnTo>
                  <a:pt x="925" y="536"/>
                </a:lnTo>
                <a:lnTo>
                  <a:pt x="930" y="537"/>
                </a:lnTo>
                <a:lnTo>
                  <a:pt x="946" y="540"/>
                </a:lnTo>
                <a:lnTo>
                  <a:pt x="968" y="546"/>
                </a:lnTo>
                <a:lnTo>
                  <a:pt x="993" y="552"/>
                </a:lnTo>
                <a:lnTo>
                  <a:pt x="1021" y="559"/>
                </a:lnTo>
                <a:lnTo>
                  <a:pt x="1047" y="564"/>
                </a:lnTo>
                <a:lnTo>
                  <a:pt x="1071" y="568"/>
                </a:lnTo>
                <a:lnTo>
                  <a:pt x="1082" y="569"/>
                </a:lnTo>
                <a:lnTo>
                  <a:pt x="1090" y="570"/>
                </a:lnTo>
                <a:lnTo>
                  <a:pt x="1098" y="569"/>
                </a:lnTo>
                <a:lnTo>
                  <a:pt x="1102" y="567"/>
                </a:lnTo>
                <a:lnTo>
                  <a:pt x="1098" y="560"/>
                </a:lnTo>
                <a:lnTo>
                  <a:pt x="1093" y="552"/>
                </a:lnTo>
                <a:lnTo>
                  <a:pt x="1090" y="544"/>
                </a:lnTo>
                <a:lnTo>
                  <a:pt x="1088" y="535"/>
                </a:lnTo>
                <a:lnTo>
                  <a:pt x="1083" y="520"/>
                </a:lnTo>
                <a:lnTo>
                  <a:pt x="1082" y="512"/>
                </a:lnTo>
                <a:lnTo>
                  <a:pt x="1082" y="481"/>
                </a:lnTo>
                <a:lnTo>
                  <a:pt x="1082" y="450"/>
                </a:lnTo>
                <a:lnTo>
                  <a:pt x="1115" y="450"/>
                </a:lnTo>
                <a:lnTo>
                  <a:pt x="1121" y="461"/>
                </a:lnTo>
                <a:lnTo>
                  <a:pt x="1125" y="468"/>
                </a:lnTo>
                <a:lnTo>
                  <a:pt x="1131" y="474"/>
                </a:lnTo>
                <a:lnTo>
                  <a:pt x="1136" y="481"/>
                </a:lnTo>
                <a:lnTo>
                  <a:pt x="1135" y="497"/>
                </a:lnTo>
                <a:lnTo>
                  <a:pt x="1132" y="507"/>
                </a:lnTo>
                <a:lnTo>
                  <a:pt x="1130" y="515"/>
                </a:lnTo>
                <a:lnTo>
                  <a:pt x="1128" y="524"/>
                </a:lnTo>
                <a:lnTo>
                  <a:pt x="1149" y="530"/>
                </a:lnTo>
                <a:lnTo>
                  <a:pt x="1169" y="536"/>
                </a:lnTo>
                <a:lnTo>
                  <a:pt x="1179" y="539"/>
                </a:lnTo>
                <a:lnTo>
                  <a:pt x="1189" y="541"/>
                </a:lnTo>
                <a:lnTo>
                  <a:pt x="1199" y="542"/>
                </a:lnTo>
                <a:lnTo>
                  <a:pt x="1209" y="543"/>
                </a:lnTo>
                <a:lnTo>
                  <a:pt x="1210" y="547"/>
                </a:lnTo>
                <a:lnTo>
                  <a:pt x="1212" y="551"/>
                </a:lnTo>
                <a:lnTo>
                  <a:pt x="1215" y="554"/>
                </a:lnTo>
                <a:lnTo>
                  <a:pt x="1220" y="557"/>
                </a:lnTo>
                <a:lnTo>
                  <a:pt x="1228" y="560"/>
                </a:lnTo>
                <a:lnTo>
                  <a:pt x="1235" y="561"/>
                </a:lnTo>
                <a:lnTo>
                  <a:pt x="1243" y="561"/>
                </a:lnTo>
                <a:lnTo>
                  <a:pt x="1249" y="559"/>
                </a:lnTo>
                <a:lnTo>
                  <a:pt x="1256" y="556"/>
                </a:lnTo>
                <a:lnTo>
                  <a:pt x="1261" y="553"/>
                </a:lnTo>
                <a:lnTo>
                  <a:pt x="1267" y="549"/>
                </a:lnTo>
                <a:lnTo>
                  <a:pt x="1272" y="544"/>
                </a:lnTo>
                <a:lnTo>
                  <a:pt x="1277" y="539"/>
                </a:lnTo>
                <a:lnTo>
                  <a:pt x="1281" y="534"/>
                </a:lnTo>
                <a:lnTo>
                  <a:pt x="1289" y="521"/>
                </a:lnTo>
                <a:lnTo>
                  <a:pt x="1294" y="509"/>
                </a:lnTo>
                <a:lnTo>
                  <a:pt x="1299" y="498"/>
                </a:lnTo>
                <a:lnTo>
                  <a:pt x="1302" y="487"/>
                </a:lnTo>
                <a:lnTo>
                  <a:pt x="1312" y="476"/>
                </a:lnTo>
                <a:lnTo>
                  <a:pt x="1322" y="465"/>
                </a:lnTo>
                <a:lnTo>
                  <a:pt x="1333" y="456"/>
                </a:lnTo>
                <a:lnTo>
                  <a:pt x="1344" y="446"/>
                </a:lnTo>
                <a:lnTo>
                  <a:pt x="1356" y="438"/>
                </a:lnTo>
                <a:lnTo>
                  <a:pt x="1367" y="430"/>
                </a:lnTo>
                <a:lnTo>
                  <a:pt x="1379" y="423"/>
                </a:lnTo>
                <a:lnTo>
                  <a:pt x="1391" y="416"/>
                </a:lnTo>
                <a:lnTo>
                  <a:pt x="1404" y="409"/>
                </a:lnTo>
                <a:lnTo>
                  <a:pt x="1417" y="403"/>
                </a:lnTo>
                <a:lnTo>
                  <a:pt x="1430" y="398"/>
                </a:lnTo>
                <a:lnTo>
                  <a:pt x="1444" y="393"/>
                </a:lnTo>
                <a:lnTo>
                  <a:pt x="1472" y="384"/>
                </a:lnTo>
                <a:lnTo>
                  <a:pt x="1501" y="377"/>
                </a:lnTo>
                <a:lnTo>
                  <a:pt x="1507" y="385"/>
                </a:lnTo>
                <a:lnTo>
                  <a:pt x="1515" y="395"/>
                </a:lnTo>
                <a:lnTo>
                  <a:pt x="1526" y="406"/>
                </a:lnTo>
                <a:lnTo>
                  <a:pt x="1537" y="418"/>
                </a:lnTo>
                <a:lnTo>
                  <a:pt x="1549" y="428"/>
                </a:lnTo>
                <a:lnTo>
                  <a:pt x="1562" y="436"/>
                </a:lnTo>
                <a:lnTo>
                  <a:pt x="1568" y="440"/>
                </a:lnTo>
                <a:lnTo>
                  <a:pt x="1574" y="442"/>
                </a:lnTo>
                <a:lnTo>
                  <a:pt x="1581" y="444"/>
                </a:lnTo>
                <a:lnTo>
                  <a:pt x="1587" y="444"/>
                </a:lnTo>
                <a:lnTo>
                  <a:pt x="1594" y="432"/>
                </a:lnTo>
                <a:lnTo>
                  <a:pt x="1590" y="453"/>
                </a:lnTo>
                <a:lnTo>
                  <a:pt x="1585" y="477"/>
                </a:lnTo>
                <a:lnTo>
                  <a:pt x="1583" y="488"/>
                </a:lnTo>
                <a:lnTo>
                  <a:pt x="1579" y="498"/>
                </a:lnTo>
                <a:lnTo>
                  <a:pt x="1576" y="502"/>
                </a:lnTo>
                <a:lnTo>
                  <a:pt x="1574" y="506"/>
                </a:lnTo>
                <a:lnTo>
                  <a:pt x="1571" y="509"/>
                </a:lnTo>
                <a:lnTo>
                  <a:pt x="1568" y="512"/>
                </a:lnTo>
                <a:lnTo>
                  <a:pt x="1554" y="515"/>
                </a:lnTo>
                <a:lnTo>
                  <a:pt x="1531" y="523"/>
                </a:lnTo>
                <a:lnTo>
                  <a:pt x="1520" y="530"/>
                </a:lnTo>
                <a:lnTo>
                  <a:pt x="1511" y="536"/>
                </a:lnTo>
                <a:lnTo>
                  <a:pt x="1506" y="539"/>
                </a:lnTo>
                <a:lnTo>
                  <a:pt x="1504" y="542"/>
                </a:lnTo>
                <a:lnTo>
                  <a:pt x="1502" y="546"/>
                </a:lnTo>
                <a:lnTo>
                  <a:pt x="1501" y="549"/>
                </a:lnTo>
                <a:lnTo>
                  <a:pt x="1502" y="584"/>
                </a:lnTo>
                <a:lnTo>
                  <a:pt x="1501" y="624"/>
                </a:lnTo>
                <a:lnTo>
                  <a:pt x="1498" y="634"/>
                </a:lnTo>
                <a:lnTo>
                  <a:pt x="1497" y="645"/>
                </a:lnTo>
                <a:lnTo>
                  <a:pt x="1495" y="654"/>
                </a:lnTo>
                <a:lnTo>
                  <a:pt x="1493" y="663"/>
                </a:lnTo>
                <a:lnTo>
                  <a:pt x="1490" y="671"/>
                </a:lnTo>
                <a:lnTo>
                  <a:pt x="1485" y="679"/>
                </a:lnTo>
                <a:lnTo>
                  <a:pt x="1480" y="685"/>
                </a:lnTo>
                <a:lnTo>
                  <a:pt x="1474" y="690"/>
                </a:lnTo>
                <a:lnTo>
                  <a:pt x="1471" y="693"/>
                </a:lnTo>
                <a:lnTo>
                  <a:pt x="1464" y="694"/>
                </a:lnTo>
                <a:lnTo>
                  <a:pt x="1457" y="695"/>
                </a:lnTo>
                <a:lnTo>
                  <a:pt x="1449" y="696"/>
                </a:lnTo>
                <a:lnTo>
                  <a:pt x="1441" y="697"/>
                </a:lnTo>
                <a:lnTo>
                  <a:pt x="1434" y="700"/>
                </a:lnTo>
                <a:lnTo>
                  <a:pt x="1431" y="701"/>
                </a:lnTo>
                <a:lnTo>
                  <a:pt x="1429" y="704"/>
                </a:lnTo>
                <a:lnTo>
                  <a:pt x="1428" y="706"/>
                </a:lnTo>
                <a:lnTo>
                  <a:pt x="1428" y="709"/>
                </a:lnTo>
                <a:lnTo>
                  <a:pt x="1427" y="721"/>
                </a:lnTo>
                <a:lnTo>
                  <a:pt x="1427" y="735"/>
                </a:lnTo>
                <a:lnTo>
                  <a:pt x="1425" y="750"/>
                </a:lnTo>
                <a:lnTo>
                  <a:pt x="1423" y="764"/>
                </a:lnTo>
                <a:lnTo>
                  <a:pt x="1420" y="778"/>
                </a:lnTo>
                <a:lnTo>
                  <a:pt x="1417" y="791"/>
                </a:lnTo>
                <a:lnTo>
                  <a:pt x="1413" y="803"/>
                </a:lnTo>
                <a:lnTo>
                  <a:pt x="1408" y="814"/>
                </a:lnTo>
                <a:lnTo>
                  <a:pt x="1361" y="733"/>
                </a:lnTo>
                <a:lnTo>
                  <a:pt x="1359" y="737"/>
                </a:lnTo>
                <a:lnTo>
                  <a:pt x="1354" y="746"/>
                </a:lnTo>
                <a:lnTo>
                  <a:pt x="1349" y="751"/>
                </a:lnTo>
                <a:lnTo>
                  <a:pt x="1345" y="755"/>
                </a:lnTo>
                <a:lnTo>
                  <a:pt x="1340" y="758"/>
                </a:lnTo>
                <a:lnTo>
                  <a:pt x="1335" y="759"/>
                </a:lnTo>
                <a:lnTo>
                  <a:pt x="1329" y="758"/>
                </a:lnTo>
                <a:lnTo>
                  <a:pt x="1325" y="757"/>
                </a:lnTo>
                <a:lnTo>
                  <a:pt x="1321" y="754"/>
                </a:lnTo>
                <a:lnTo>
                  <a:pt x="1316" y="751"/>
                </a:lnTo>
                <a:lnTo>
                  <a:pt x="1313" y="746"/>
                </a:lnTo>
                <a:lnTo>
                  <a:pt x="1311" y="742"/>
                </a:lnTo>
                <a:lnTo>
                  <a:pt x="1308" y="738"/>
                </a:lnTo>
                <a:lnTo>
                  <a:pt x="1308" y="733"/>
                </a:lnTo>
                <a:lnTo>
                  <a:pt x="1308" y="727"/>
                </a:lnTo>
                <a:lnTo>
                  <a:pt x="1311" y="721"/>
                </a:lnTo>
                <a:lnTo>
                  <a:pt x="1313" y="715"/>
                </a:lnTo>
                <a:lnTo>
                  <a:pt x="1315" y="709"/>
                </a:lnTo>
                <a:lnTo>
                  <a:pt x="1323" y="698"/>
                </a:lnTo>
                <a:lnTo>
                  <a:pt x="1332" y="687"/>
                </a:lnTo>
                <a:lnTo>
                  <a:pt x="1340" y="677"/>
                </a:lnTo>
                <a:lnTo>
                  <a:pt x="1348" y="666"/>
                </a:lnTo>
                <a:lnTo>
                  <a:pt x="1350" y="660"/>
                </a:lnTo>
                <a:lnTo>
                  <a:pt x="1352" y="655"/>
                </a:lnTo>
                <a:lnTo>
                  <a:pt x="1355" y="648"/>
                </a:lnTo>
                <a:lnTo>
                  <a:pt x="1355" y="642"/>
                </a:lnTo>
                <a:lnTo>
                  <a:pt x="1235" y="642"/>
                </a:lnTo>
                <a:lnTo>
                  <a:pt x="1231" y="641"/>
                </a:lnTo>
                <a:lnTo>
                  <a:pt x="1225" y="638"/>
                </a:lnTo>
                <a:lnTo>
                  <a:pt x="1221" y="632"/>
                </a:lnTo>
                <a:lnTo>
                  <a:pt x="1217" y="626"/>
                </a:lnTo>
                <a:lnTo>
                  <a:pt x="1214" y="618"/>
                </a:lnTo>
                <a:lnTo>
                  <a:pt x="1211" y="610"/>
                </a:lnTo>
                <a:lnTo>
                  <a:pt x="1210" y="601"/>
                </a:lnTo>
                <a:lnTo>
                  <a:pt x="1209" y="592"/>
                </a:lnTo>
                <a:lnTo>
                  <a:pt x="1203" y="592"/>
                </a:lnTo>
                <a:lnTo>
                  <a:pt x="1198" y="591"/>
                </a:lnTo>
                <a:lnTo>
                  <a:pt x="1192" y="590"/>
                </a:lnTo>
                <a:lnTo>
                  <a:pt x="1187" y="588"/>
                </a:lnTo>
                <a:lnTo>
                  <a:pt x="1182" y="585"/>
                </a:lnTo>
                <a:lnTo>
                  <a:pt x="1179" y="582"/>
                </a:lnTo>
                <a:lnTo>
                  <a:pt x="1177" y="577"/>
                </a:lnTo>
                <a:lnTo>
                  <a:pt x="1176" y="573"/>
                </a:lnTo>
                <a:lnTo>
                  <a:pt x="1167" y="573"/>
                </a:lnTo>
                <a:lnTo>
                  <a:pt x="1159" y="573"/>
                </a:lnTo>
                <a:lnTo>
                  <a:pt x="1151" y="573"/>
                </a:lnTo>
                <a:lnTo>
                  <a:pt x="1143" y="573"/>
                </a:lnTo>
                <a:lnTo>
                  <a:pt x="1136" y="574"/>
                </a:lnTo>
                <a:lnTo>
                  <a:pt x="1131" y="575"/>
                </a:lnTo>
                <a:lnTo>
                  <a:pt x="1124" y="578"/>
                </a:lnTo>
                <a:lnTo>
                  <a:pt x="1117" y="582"/>
                </a:lnTo>
                <a:lnTo>
                  <a:pt x="1112" y="587"/>
                </a:lnTo>
                <a:lnTo>
                  <a:pt x="1106" y="592"/>
                </a:lnTo>
                <a:lnTo>
                  <a:pt x="1103" y="598"/>
                </a:lnTo>
                <a:lnTo>
                  <a:pt x="1102" y="604"/>
                </a:lnTo>
                <a:lnTo>
                  <a:pt x="1104" y="608"/>
                </a:lnTo>
                <a:lnTo>
                  <a:pt x="1110" y="613"/>
                </a:lnTo>
                <a:lnTo>
                  <a:pt x="1117" y="619"/>
                </a:lnTo>
                <a:lnTo>
                  <a:pt x="1127" y="625"/>
                </a:lnTo>
                <a:lnTo>
                  <a:pt x="1137" y="631"/>
                </a:lnTo>
                <a:lnTo>
                  <a:pt x="1147" y="636"/>
                </a:lnTo>
                <a:lnTo>
                  <a:pt x="1156" y="640"/>
                </a:lnTo>
                <a:lnTo>
                  <a:pt x="1162" y="642"/>
                </a:lnTo>
                <a:lnTo>
                  <a:pt x="1149" y="652"/>
                </a:lnTo>
                <a:lnTo>
                  <a:pt x="1134" y="664"/>
                </a:lnTo>
                <a:lnTo>
                  <a:pt x="1127" y="670"/>
                </a:lnTo>
                <a:lnTo>
                  <a:pt x="1121" y="677"/>
                </a:lnTo>
                <a:lnTo>
                  <a:pt x="1119" y="680"/>
                </a:lnTo>
                <a:lnTo>
                  <a:pt x="1117" y="683"/>
                </a:lnTo>
                <a:lnTo>
                  <a:pt x="1116" y="687"/>
                </a:lnTo>
                <a:lnTo>
                  <a:pt x="1115" y="690"/>
                </a:lnTo>
                <a:lnTo>
                  <a:pt x="1116" y="695"/>
                </a:lnTo>
                <a:lnTo>
                  <a:pt x="1117" y="698"/>
                </a:lnTo>
                <a:lnTo>
                  <a:pt x="1120" y="702"/>
                </a:lnTo>
                <a:lnTo>
                  <a:pt x="1122" y="706"/>
                </a:lnTo>
                <a:lnTo>
                  <a:pt x="1130" y="714"/>
                </a:lnTo>
                <a:lnTo>
                  <a:pt x="1139" y="722"/>
                </a:lnTo>
                <a:lnTo>
                  <a:pt x="1149" y="729"/>
                </a:lnTo>
                <a:lnTo>
                  <a:pt x="1160" y="735"/>
                </a:lnTo>
                <a:lnTo>
                  <a:pt x="1166" y="737"/>
                </a:lnTo>
                <a:lnTo>
                  <a:pt x="1171" y="738"/>
                </a:lnTo>
                <a:lnTo>
                  <a:pt x="1177" y="739"/>
                </a:lnTo>
                <a:lnTo>
                  <a:pt x="1182" y="740"/>
                </a:lnTo>
                <a:lnTo>
                  <a:pt x="1209" y="844"/>
                </a:lnTo>
                <a:lnTo>
                  <a:pt x="1194" y="844"/>
                </a:lnTo>
                <a:lnTo>
                  <a:pt x="1180" y="844"/>
                </a:lnTo>
                <a:lnTo>
                  <a:pt x="1167" y="844"/>
                </a:lnTo>
                <a:lnTo>
                  <a:pt x="1156" y="844"/>
                </a:lnTo>
                <a:lnTo>
                  <a:pt x="1149" y="843"/>
                </a:lnTo>
                <a:lnTo>
                  <a:pt x="1142" y="838"/>
                </a:lnTo>
                <a:lnTo>
                  <a:pt x="1137" y="836"/>
                </a:lnTo>
                <a:lnTo>
                  <a:pt x="1132" y="834"/>
                </a:lnTo>
                <a:lnTo>
                  <a:pt x="1127" y="833"/>
                </a:lnTo>
                <a:lnTo>
                  <a:pt x="1122" y="832"/>
                </a:lnTo>
                <a:lnTo>
                  <a:pt x="1117" y="834"/>
                </a:lnTo>
                <a:lnTo>
                  <a:pt x="1109" y="839"/>
                </a:lnTo>
                <a:lnTo>
                  <a:pt x="1099" y="846"/>
                </a:lnTo>
                <a:lnTo>
                  <a:pt x="1087" y="854"/>
                </a:lnTo>
                <a:lnTo>
                  <a:pt x="1075" y="864"/>
                </a:lnTo>
                <a:lnTo>
                  <a:pt x="1065" y="872"/>
                </a:lnTo>
                <a:lnTo>
                  <a:pt x="1058" y="878"/>
                </a:lnTo>
                <a:lnTo>
                  <a:pt x="1056" y="882"/>
                </a:lnTo>
                <a:lnTo>
                  <a:pt x="1076" y="894"/>
                </a:lnTo>
                <a:lnTo>
                  <a:pt x="1075" y="900"/>
                </a:lnTo>
                <a:lnTo>
                  <a:pt x="1072" y="907"/>
                </a:lnTo>
                <a:lnTo>
                  <a:pt x="1069" y="912"/>
                </a:lnTo>
                <a:lnTo>
                  <a:pt x="1066" y="919"/>
                </a:lnTo>
                <a:lnTo>
                  <a:pt x="1058" y="928"/>
                </a:lnTo>
                <a:lnTo>
                  <a:pt x="1049" y="937"/>
                </a:lnTo>
                <a:lnTo>
                  <a:pt x="1039" y="945"/>
                </a:lnTo>
                <a:lnTo>
                  <a:pt x="1027" y="952"/>
                </a:lnTo>
                <a:lnTo>
                  <a:pt x="1016" y="958"/>
                </a:lnTo>
                <a:lnTo>
                  <a:pt x="1004" y="964"/>
                </a:lnTo>
                <a:lnTo>
                  <a:pt x="992" y="972"/>
                </a:lnTo>
                <a:lnTo>
                  <a:pt x="981" y="978"/>
                </a:lnTo>
                <a:lnTo>
                  <a:pt x="971" y="985"/>
                </a:lnTo>
                <a:lnTo>
                  <a:pt x="962" y="993"/>
                </a:lnTo>
                <a:lnTo>
                  <a:pt x="957" y="997"/>
                </a:lnTo>
                <a:lnTo>
                  <a:pt x="954" y="1001"/>
                </a:lnTo>
                <a:lnTo>
                  <a:pt x="951" y="1006"/>
                </a:lnTo>
                <a:lnTo>
                  <a:pt x="948" y="1011"/>
                </a:lnTo>
                <a:lnTo>
                  <a:pt x="946" y="1017"/>
                </a:lnTo>
                <a:lnTo>
                  <a:pt x="944" y="1022"/>
                </a:lnTo>
                <a:lnTo>
                  <a:pt x="943" y="1029"/>
                </a:lnTo>
                <a:lnTo>
                  <a:pt x="943" y="1036"/>
                </a:lnTo>
                <a:lnTo>
                  <a:pt x="934" y="1039"/>
                </a:lnTo>
                <a:lnTo>
                  <a:pt x="926" y="1042"/>
                </a:lnTo>
                <a:lnTo>
                  <a:pt x="919" y="1046"/>
                </a:lnTo>
                <a:lnTo>
                  <a:pt x="912" y="1050"/>
                </a:lnTo>
                <a:lnTo>
                  <a:pt x="898" y="1060"/>
                </a:lnTo>
                <a:lnTo>
                  <a:pt x="886" y="1072"/>
                </a:lnTo>
                <a:lnTo>
                  <a:pt x="864" y="1099"/>
                </a:lnTo>
                <a:lnTo>
                  <a:pt x="843" y="1128"/>
                </a:lnTo>
                <a:lnTo>
                  <a:pt x="832" y="1143"/>
                </a:lnTo>
                <a:lnTo>
                  <a:pt x="821" y="1156"/>
                </a:lnTo>
                <a:lnTo>
                  <a:pt x="809" y="1168"/>
                </a:lnTo>
                <a:lnTo>
                  <a:pt x="796" y="1179"/>
                </a:lnTo>
                <a:lnTo>
                  <a:pt x="788" y="1184"/>
                </a:lnTo>
                <a:lnTo>
                  <a:pt x="780" y="1188"/>
                </a:lnTo>
                <a:lnTo>
                  <a:pt x="773" y="1192"/>
                </a:lnTo>
                <a:lnTo>
                  <a:pt x="764" y="1196"/>
                </a:lnTo>
                <a:lnTo>
                  <a:pt x="754" y="1199"/>
                </a:lnTo>
                <a:lnTo>
                  <a:pt x="745" y="1201"/>
                </a:lnTo>
                <a:lnTo>
                  <a:pt x="734" y="1202"/>
                </a:lnTo>
                <a:lnTo>
                  <a:pt x="723" y="1202"/>
                </a:lnTo>
                <a:lnTo>
                  <a:pt x="723" y="1211"/>
                </a:lnTo>
                <a:lnTo>
                  <a:pt x="723" y="1220"/>
                </a:lnTo>
                <a:lnTo>
                  <a:pt x="723" y="1227"/>
                </a:lnTo>
                <a:lnTo>
                  <a:pt x="723" y="1233"/>
                </a:lnTo>
                <a:lnTo>
                  <a:pt x="723" y="1244"/>
                </a:lnTo>
                <a:lnTo>
                  <a:pt x="723" y="1261"/>
                </a:lnTo>
                <a:lnTo>
                  <a:pt x="723" y="1279"/>
                </a:lnTo>
                <a:lnTo>
                  <a:pt x="725" y="1298"/>
                </a:lnTo>
                <a:lnTo>
                  <a:pt x="727" y="1308"/>
                </a:lnTo>
                <a:lnTo>
                  <a:pt x="729" y="1317"/>
                </a:lnTo>
                <a:lnTo>
                  <a:pt x="731" y="1325"/>
                </a:lnTo>
                <a:lnTo>
                  <a:pt x="735" y="1332"/>
                </a:lnTo>
                <a:lnTo>
                  <a:pt x="739" y="1339"/>
                </a:lnTo>
                <a:lnTo>
                  <a:pt x="744" y="1344"/>
                </a:lnTo>
                <a:lnTo>
                  <a:pt x="750" y="1348"/>
                </a:lnTo>
                <a:lnTo>
                  <a:pt x="757" y="1350"/>
                </a:lnTo>
                <a:lnTo>
                  <a:pt x="751" y="1366"/>
                </a:lnTo>
                <a:lnTo>
                  <a:pt x="744" y="1380"/>
                </a:lnTo>
                <a:lnTo>
                  <a:pt x="736" y="1393"/>
                </a:lnTo>
                <a:lnTo>
                  <a:pt x="729" y="1405"/>
                </a:lnTo>
                <a:lnTo>
                  <a:pt x="721" y="1419"/>
                </a:lnTo>
                <a:lnTo>
                  <a:pt x="716" y="1432"/>
                </a:lnTo>
                <a:lnTo>
                  <a:pt x="713" y="1438"/>
                </a:lnTo>
                <a:lnTo>
                  <a:pt x="712" y="1445"/>
                </a:lnTo>
                <a:lnTo>
                  <a:pt x="711" y="1453"/>
                </a:lnTo>
                <a:lnTo>
                  <a:pt x="710" y="1460"/>
                </a:lnTo>
                <a:lnTo>
                  <a:pt x="711" y="1463"/>
                </a:lnTo>
                <a:lnTo>
                  <a:pt x="712" y="1465"/>
                </a:lnTo>
                <a:lnTo>
                  <a:pt x="714" y="1467"/>
                </a:lnTo>
                <a:lnTo>
                  <a:pt x="718" y="1469"/>
                </a:lnTo>
                <a:lnTo>
                  <a:pt x="724" y="1473"/>
                </a:lnTo>
                <a:lnTo>
                  <a:pt x="730" y="1474"/>
                </a:lnTo>
                <a:lnTo>
                  <a:pt x="730" y="1510"/>
                </a:lnTo>
                <a:lnTo>
                  <a:pt x="722" y="1524"/>
                </a:lnTo>
                <a:lnTo>
                  <a:pt x="716" y="1539"/>
                </a:lnTo>
                <a:lnTo>
                  <a:pt x="711" y="1545"/>
                </a:lnTo>
                <a:lnTo>
                  <a:pt x="706" y="1549"/>
                </a:lnTo>
                <a:lnTo>
                  <a:pt x="702" y="1551"/>
                </a:lnTo>
                <a:lnTo>
                  <a:pt x="699" y="1552"/>
                </a:lnTo>
                <a:lnTo>
                  <a:pt x="695" y="1553"/>
                </a:lnTo>
                <a:lnTo>
                  <a:pt x="690" y="1553"/>
                </a:lnTo>
                <a:lnTo>
                  <a:pt x="690" y="1561"/>
                </a:lnTo>
                <a:lnTo>
                  <a:pt x="691" y="1571"/>
                </a:lnTo>
                <a:lnTo>
                  <a:pt x="693" y="1576"/>
                </a:lnTo>
                <a:lnTo>
                  <a:pt x="694" y="1580"/>
                </a:lnTo>
                <a:lnTo>
                  <a:pt x="695" y="1583"/>
                </a:lnTo>
                <a:lnTo>
                  <a:pt x="697" y="1584"/>
                </a:lnTo>
                <a:lnTo>
                  <a:pt x="671" y="1605"/>
                </a:lnTo>
                <a:lnTo>
                  <a:pt x="649" y="1622"/>
                </a:lnTo>
                <a:lnTo>
                  <a:pt x="639" y="1632"/>
                </a:lnTo>
                <a:lnTo>
                  <a:pt x="630" y="1643"/>
                </a:lnTo>
                <a:lnTo>
                  <a:pt x="620" y="1656"/>
                </a:lnTo>
                <a:lnTo>
                  <a:pt x="611" y="1670"/>
                </a:lnTo>
                <a:lnTo>
                  <a:pt x="595" y="1663"/>
                </a:lnTo>
                <a:lnTo>
                  <a:pt x="584" y="1656"/>
                </a:lnTo>
                <a:lnTo>
                  <a:pt x="575" y="1649"/>
                </a:lnTo>
                <a:lnTo>
                  <a:pt x="568" y="1641"/>
                </a:lnTo>
                <a:lnTo>
                  <a:pt x="563" y="1631"/>
                </a:lnTo>
                <a:lnTo>
                  <a:pt x="560" y="1621"/>
                </a:lnTo>
                <a:lnTo>
                  <a:pt x="555" y="1609"/>
                </a:lnTo>
                <a:lnTo>
                  <a:pt x="551" y="1597"/>
                </a:lnTo>
                <a:lnTo>
                  <a:pt x="542" y="1574"/>
                </a:lnTo>
                <a:lnTo>
                  <a:pt x="530" y="1552"/>
                </a:lnTo>
                <a:lnTo>
                  <a:pt x="516" y="1529"/>
                </a:lnTo>
                <a:lnTo>
                  <a:pt x="501" y="1505"/>
                </a:lnTo>
                <a:lnTo>
                  <a:pt x="486" y="1483"/>
                </a:lnTo>
                <a:lnTo>
                  <a:pt x="473" y="1461"/>
                </a:lnTo>
                <a:lnTo>
                  <a:pt x="461" y="1441"/>
                </a:lnTo>
                <a:lnTo>
                  <a:pt x="451" y="1424"/>
                </a:lnTo>
                <a:lnTo>
                  <a:pt x="442" y="1405"/>
                </a:lnTo>
                <a:lnTo>
                  <a:pt x="436" y="1388"/>
                </a:lnTo>
                <a:lnTo>
                  <a:pt x="430" y="1370"/>
                </a:lnTo>
                <a:lnTo>
                  <a:pt x="425" y="1352"/>
                </a:lnTo>
                <a:lnTo>
                  <a:pt x="419" y="1334"/>
                </a:lnTo>
                <a:lnTo>
                  <a:pt x="414" y="1316"/>
                </a:lnTo>
                <a:lnTo>
                  <a:pt x="407" y="1296"/>
                </a:lnTo>
                <a:lnTo>
                  <a:pt x="398" y="1276"/>
                </a:lnTo>
                <a:lnTo>
                  <a:pt x="376" y="1244"/>
                </a:lnTo>
                <a:lnTo>
                  <a:pt x="352" y="1214"/>
                </a:lnTo>
                <a:lnTo>
                  <a:pt x="341" y="1200"/>
                </a:lnTo>
                <a:lnTo>
                  <a:pt x="330" y="1184"/>
                </a:lnTo>
                <a:lnTo>
                  <a:pt x="320" y="1169"/>
                </a:lnTo>
                <a:lnTo>
                  <a:pt x="312" y="1153"/>
                </a:lnTo>
                <a:lnTo>
                  <a:pt x="301" y="1114"/>
                </a:lnTo>
                <a:lnTo>
                  <a:pt x="292" y="1078"/>
                </a:lnTo>
                <a:lnTo>
                  <a:pt x="284" y="1043"/>
                </a:lnTo>
                <a:lnTo>
                  <a:pt x="280" y="1008"/>
                </a:lnTo>
                <a:lnTo>
                  <a:pt x="275" y="974"/>
                </a:lnTo>
                <a:lnTo>
                  <a:pt x="273" y="938"/>
                </a:lnTo>
                <a:lnTo>
                  <a:pt x="272" y="901"/>
                </a:lnTo>
                <a:lnTo>
                  <a:pt x="272" y="864"/>
                </a:lnTo>
                <a:lnTo>
                  <a:pt x="268" y="863"/>
                </a:lnTo>
                <a:lnTo>
                  <a:pt x="263" y="862"/>
                </a:lnTo>
                <a:lnTo>
                  <a:pt x="259" y="861"/>
                </a:lnTo>
                <a:lnTo>
                  <a:pt x="256" y="857"/>
                </a:lnTo>
                <a:lnTo>
                  <a:pt x="252" y="855"/>
                </a:lnTo>
                <a:lnTo>
                  <a:pt x="250" y="852"/>
                </a:lnTo>
                <a:lnTo>
                  <a:pt x="247" y="848"/>
                </a:lnTo>
                <a:lnTo>
                  <a:pt x="246" y="844"/>
                </a:lnTo>
                <a:lnTo>
                  <a:pt x="242" y="836"/>
                </a:lnTo>
                <a:lnTo>
                  <a:pt x="240" y="827"/>
                </a:lnTo>
                <a:lnTo>
                  <a:pt x="239" y="817"/>
                </a:lnTo>
                <a:lnTo>
                  <a:pt x="239" y="808"/>
                </a:lnTo>
                <a:lnTo>
                  <a:pt x="230" y="814"/>
                </a:lnTo>
                <a:lnTo>
                  <a:pt x="224" y="821"/>
                </a:lnTo>
                <a:lnTo>
                  <a:pt x="217" y="828"/>
                </a:lnTo>
                <a:lnTo>
                  <a:pt x="210" y="836"/>
                </a:lnTo>
                <a:lnTo>
                  <a:pt x="201" y="852"/>
                </a:lnTo>
                <a:lnTo>
                  <a:pt x="192" y="869"/>
                </a:lnTo>
                <a:lnTo>
                  <a:pt x="186" y="876"/>
                </a:lnTo>
                <a:lnTo>
                  <a:pt x="182" y="883"/>
                </a:lnTo>
                <a:lnTo>
                  <a:pt x="176" y="890"/>
                </a:lnTo>
                <a:lnTo>
                  <a:pt x="171" y="895"/>
                </a:lnTo>
                <a:lnTo>
                  <a:pt x="164" y="900"/>
                </a:lnTo>
                <a:lnTo>
                  <a:pt x="157" y="903"/>
                </a:lnTo>
                <a:lnTo>
                  <a:pt x="148" y="905"/>
                </a:lnTo>
                <a:lnTo>
                  <a:pt x="139" y="906"/>
                </a:lnTo>
                <a:lnTo>
                  <a:pt x="134" y="905"/>
                </a:lnTo>
                <a:lnTo>
                  <a:pt x="127" y="903"/>
                </a:lnTo>
                <a:lnTo>
                  <a:pt x="120" y="900"/>
                </a:lnTo>
                <a:lnTo>
                  <a:pt x="113" y="895"/>
                </a:lnTo>
                <a:lnTo>
                  <a:pt x="105" y="889"/>
                </a:lnTo>
                <a:lnTo>
                  <a:pt x="97" y="883"/>
                </a:lnTo>
                <a:lnTo>
                  <a:pt x="90" y="876"/>
                </a:lnTo>
                <a:lnTo>
                  <a:pt x="82" y="868"/>
                </a:lnTo>
                <a:lnTo>
                  <a:pt x="75" y="860"/>
                </a:lnTo>
                <a:lnTo>
                  <a:pt x="69" y="851"/>
                </a:lnTo>
                <a:lnTo>
                  <a:pt x="62" y="842"/>
                </a:lnTo>
                <a:lnTo>
                  <a:pt x="57" y="833"/>
                </a:lnTo>
                <a:lnTo>
                  <a:pt x="52" y="825"/>
                </a:lnTo>
                <a:lnTo>
                  <a:pt x="49" y="817"/>
                </a:lnTo>
                <a:lnTo>
                  <a:pt x="47" y="809"/>
                </a:lnTo>
                <a:lnTo>
                  <a:pt x="46" y="801"/>
                </a:lnTo>
                <a:lnTo>
                  <a:pt x="51" y="798"/>
                </a:lnTo>
                <a:lnTo>
                  <a:pt x="63" y="792"/>
                </a:lnTo>
                <a:lnTo>
                  <a:pt x="77" y="786"/>
                </a:lnTo>
                <a:lnTo>
                  <a:pt x="85" y="783"/>
                </a:lnTo>
                <a:lnTo>
                  <a:pt x="77" y="783"/>
                </a:lnTo>
                <a:lnTo>
                  <a:pt x="67" y="782"/>
                </a:lnTo>
                <a:lnTo>
                  <a:pt x="59" y="780"/>
                </a:lnTo>
                <a:lnTo>
                  <a:pt x="51" y="779"/>
                </a:lnTo>
                <a:lnTo>
                  <a:pt x="44" y="776"/>
                </a:lnTo>
                <a:lnTo>
                  <a:pt x="37" y="774"/>
                </a:lnTo>
                <a:lnTo>
                  <a:pt x="30" y="771"/>
                </a:lnTo>
                <a:lnTo>
                  <a:pt x="25" y="767"/>
                </a:lnTo>
                <a:lnTo>
                  <a:pt x="21" y="763"/>
                </a:lnTo>
                <a:lnTo>
                  <a:pt x="16" y="759"/>
                </a:lnTo>
                <a:lnTo>
                  <a:pt x="12" y="754"/>
                </a:lnTo>
                <a:lnTo>
                  <a:pt x="8" y="750"/>
                </a:lnTo>
                <a:lnTo>
                  <a:pt x="3" y="738"/>
                </a:lnTo>
                <a:lnTo>
                  <a:pt x="0" y="727"/>
                </a:lnTo>
                <a:lnTo>
                  <a:pt x="10" y="719"/>
                </a:lnTo>
                <a:lnTo>
                  <a:pt x="21" y="713"/>
                </a:lnTo>
                <a:lnTo>
                  <a:pt x="32" y="708"/>
                </a:lnTo>
                <a:lnTo>
                  <a:pt x="44" y="704"/>
                </a:lnTo>
                <a:lnTo>
                  <a:pt x="67" y="699"/>
                </a:lnTo>
                <a:lnTo>
                  <a:pt x="90" y="695"/>
                </a:lnTo>
                <a:lnTo>
                  <a:pt x="102" y="693"/>
                </a:lnTo>
                <a:lnTo>
                  <a:pt x="113" y="689"/>
                </a:lnTo>
                <a:lnTo>
                  <a:pt x="123" y="686"/>
                </a:lnTo>
                <a:lnTo>
                  <a:pt x="133" y="681"/>
                </a:lnTo>
                <a:lnTo>
                  <a:pt x="142" y="676"/>
                </a:lnTo>
                <a:lnTo>
                  <a:pt x="151" y="668"/>
                </a:lnTo>
                <a:lnTo>
                  <a:pt x="159" y="659"/>
                </a:lnTo>
                <a:lnTo>
                  <a:pt x="165" y="648"/>
                </a:lnTo>
                <a:lnTo>
                  <a:pt x="161" y="646"/>
                </a:lnTo>
                <a:lnTo>
                  <a:pt x="157" y="643"/>
                </a:lnTo>
                <a:lnTo>
                  <a:pt x="151" y="639"/>
                </a:lnTo>
                <a:lnTo>
                  <a:pt x="145" y="633"/>
                </a:lnTo>
                <a:lnTo>
                  <a:pt x="131" y="621"/>
                </a:lnTo>
                <a:lnTo>
                  <a:pt x="118" y="607"/>
                </a:lnTo>
                <a:lnTo>
                  <a:pt x="106" y="592"/>
                </a:lnTo>
                <a:lnTo>
                  <a:pt x="95" y="576"/>
                </a:lnTo>
                <a:lnTo>
                  <a:pt x="92" y="569"/>
                </a:lnTo>
                <a:lnTo>
                  <a:pt x="89" y="562"/>
                </a:lnTo>
                <a:lnTo>
                  <a:pt x="86" y="555"/>
                </a:lnTo>
                <a:lnTo>
                  <a:pt x="85" y="549"/>
                </a:lnTo>
                <a:lnTo>
                  <a:pt x="81" y="548"/>
                </a:lnTo>
                <a:lnTo>
                  <a:pt x="77" y="547"/>
                </a:lnTo>
                <a:lnTo>
                  <a:pt x="73" y="545"/>
                </a:lnTo>
                <a:lnTo>
                  <a:pt x="70" y="541"/>
                </a:lnTo>
                <a:lnTo>
                  <a:pt x="64" y="534"/>
                </a:lnTo>
                <a:lnTo>
                  <a:pt x="59" y="524"/>
                </a:lnTo>
                <a:lnTo>
                  <a:pt x="59" y="500"/>
                </a:lnTo>
                <a:lnTo>
                  <a:pt x="73" y="499"/>
                </a:lnTo>
                <a:lnTo>
                  <a:pt x="86" y="498"/>
                </a:lnTo>
                <a:lnTo>
                  <a:pt x="98" y="496"/>
                </a:lnTo>
                <a:lnTo>
                  <a:pt x="109" y="492"/>
                </a:lnTo>
                <a:lnTo>
                  <a:pt x="119" y="489"/>
                </a:lnTo>
                <a:lnTo>
                  <a:pt x="129" y="484"/>
                </a:lnTo>
                <a:lnTo>
                  <a:pt x="138" y="479"/>
                </a:lnTo>
                <a:lnTo>
                  <a:pt x="147" y="473"/>
                </a:lnTo>
                <a:lnTo>
                  <a:pt x="154" y="466"/>
                </a:lnTo>
                <a:lnTo>
                  <a:pt x="162" y="459"/>
                </a:lnTo>
                <a:lnTo>
                  <a:pt x="169" y="452"/>
                </a:lnTo>
                <a:lnTo>
                  <a:pt x="175" y="444"/>
                </a:lnTo>
                <a:lnTo>
                  <a:pt x="186" y="428"/>
                </a:lnTo>
                <a:lnTo>
                  <a:pt x="197" y="410"/>
                </a:lnTo>
                <a:lnTo>
                  <a:pt x="216" y="374"/>
                </a:lnTo>
                <a:lnTo>
                  <a:pt x="235" y="338"/>
                </a:lnTo>
                <a:lnTo>
                  <a:pt x="246" y="322"/>
                </a:lnTo>
                <a:lnTo>
                  <a:pt x="257" y="308"/>
                </a:lnTo>
                <a:lnTo>
                  <a:pt x="263" y="300"/>
                </a:lnTo>
                <a:lnTo>
                  <a:pt x="270" y="294"/>
                </a:lnTo>
                <a:lnTo>
                  <a:pt x="277" y="289"/>
                </a:lnTo>
                <a:lnTo>
                  <a:pt x="285" y="284"/>
                </a:lnTo>
                <a:lnTo>
                  <a:pt x="279" y="272"/>
                </a:lnTo>
                <a:lnTo>
                  <a:pt x="274" y="261"/>
                </a:lnTo>
                <a:lnTo>
                  <a:pt x="273" y="256"/>
                </a:lnTo>
                <a:lnTo>
                  <a:pt x="272" y="251"/>
                </a:lnTo>
                <a:lnTo>
                  <a:pt x="272" y="245"/>
                </a:lnTo>
                <a:lnTo>
                  <a:pt x="272" y="240"/>
                </a:lnTo>
                <a:lnTo>
                  <a:pt x="273" y="235"/>
                </a:lnTo>
                <a:lnTo>
                  <a:pt x="274" y="230"/>
                </a:lnTo>
                <a:lnTo>
                  <a:pt x="276" y="226"/>
                </a:lnTo>
                <a:lnTo>
                  <a:pt x="280" y="222"/>
                </a:lnTo>
                <a:lnTo>
                  <a:pt x="283" y="219"/>
                </a:lnTo>
                <a:lnTo>
                  <a:pt x="287" y="216"/>
                </a:lnTo>
                <a:lnTo>
                  <a:pt x="293" y="213"/>
                </a:lnTo>
                <a:lnTo>
                  <a:pt x="298" y="210"/>
                </a:lnTo>
                <a:lnTo>
                  <a:pt x="269" y="183"/>
                </a:lnTo>
                <a:lnTo>
                  <a:pt x="247" y="163"/>
                </a:lnTo>
                <a:lnTo>
                  <a:pt x="237" y="153"/>
                </a:lnTo>
                <a:lnTo>
                  <a:pt x="227" y="142"/>
                </a:lnTo>
                <a:lnTo>
                  <a:pt x="217" y="128"/>
                </a:lnTo>
                <a:lnTo>
                  <a:pt x="205" y="111"/>
                </a:lnTo>
                <a:lnTo>
                  <a:pt x="205" y="68"/>
                </a:lnTo>
                <a:lnTo>
                  <a:pt x="229" y="68"/>
                </a:lnTo>
                <a:lnTo>
                  <a:pt x="256" y="66"/>
                </a:lnTo>
                <a:lnTo>
                  <a:pt x="270" y="65"/>
                </a:lnTo>
                <a:lnTo>
                  <a:pt x="283" y="63"/>
                </a:lnTo>
                <a:lnTo>
                  <a:pt x="297" y="60"/>
                </a:lnTo>
                <a:lnTo>
                  <a:pt x="310" y="57"/>
                </a:lnTo>
                <a:lnTo>
                  <a:pt x="322" y="54"/>
                </a:lnTo>
                <a:lnTo>
                  <a:pt x="335" y="49"/>
                </a:lnTo>
                <a:lnTo>
                  <a:pt x="347" y="44"/>
                </a:lnTo>
                <a:lnTo>
                  <a:pt x="357" y="37"/>
                </a:lnTo>
                <a:lnTo>
                  <a:pt x="366" y="30"/>
                </a:lnTo>
                <a:lnTo>
                  <a:pt x="374" y="21"/>
                </a:lnTo>
                <a:lnTo>
                  <a:pt x="381" y="11"/>
                </a:lnTo>
                <a:lnTo>
                  <a:pt x="385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13" name="Freeform 465"/>
          <p:cNvSpPr>
            <a:spLocks/>
          </p:cNvSpPr>
          <p:nvPr>
            <p:custDataLst>
              <p:tags r:id="rId303"/>
            </p:custDataLst>
          </p:nvPr>
        </p:nvSpPr>
        <p:spPr bwMode="auto">
          <a:xfrm>
            <a:off x="5322888" y="3325814"/>
            <a:ext cx="158750" cy="206375"/>
          </a:xfrm>
          <a:custGeom>
            <a:avLst/>
            <a:gdLst>
              <a:gd name="T0" fmla="*/ 53 w 359"/>
              <a:gd name="T1" fmla="*/ 382 h 394"/>
              <a:gd name="T2" fmla="*/ 53 w 359"/>
              <a:gd name="T3" fmla="*/ 358 h 394"/>
              <a:gd name="T4" fmla="*/ 53 w 359"/>
              <a:gd name="T5" fmla="*/ 333 h 394"/>
              <a:gd name="T6" fmla="*/ 50 w 359"/>
              <a:gd name="T7" fmla="*/ 312 h 394"/>
              <a:gd name="T8" fmla="*/ 43 w 359"/>
              <a:gd name="T9" fmla="*/ 293 h 394"/>
              <a:gd name="T10" fmla="*/ 35 w 359"/>
              <a:gd name="T11" fmla="*/ 277 h 394"/>
              <a:gd name="T12" fmla="*/ 13 w 359"/>
              <a:gd name="T13" fmla="*/ 245 h 394"/>
              <a:gd name="T14" fmla="*/ 0 w 359"/>
              <a:gd name="T15" fmla="*/ 185 h 394"/>
              <a:gd name="T16" fmla="*/ 33 w 359"/>
              <a:gd name="T17" fmla="*/ 181 h 394"/>
              <a:gd name="T18" fmla="*/ 40 w 359"/>
              <a:gd name="T19" fmla="*/ 169 h 394"/>
              <a:gd name="T20" fmla="*/ 41 w 359"/>
              <a:gd name="T21" fmla="*/ 150 h 394"/>
              <a:gd name="T22" fmla="*/ 38 w 359"/>
              <a:gd name="T23" fmla="*/ 107 h 394"/>
              <a:gd name="T24" fmla="*/ 31 w 359"/>
              <a:gd name="T25" fmla="*/ 65 h 394"/>
              <a:gd name="T26" fmla="*/ 32 w 359"/>
              <a:gd name="T27" fmla="*/ 47 h 394"/>
              <a:gd name="T28" fmla="*/ 36 w 359"/>
              <a:gd name="T29" fmla="*/ 36 h 394"/>
              <a:gd name="T30" fmla="*/ 120 w 359"/>
              <a:gd name="T31" fmla="*/ 31 h 394"/>
              <a:gd name="T32" fmla="*/ 122 w 359"/>
              <a:gd name="T33" fmla="*/ 22 h 394"/>
              <a:gd name="T34" fmla="*/ 128 w 359"/>
              <a:gd name="T35" fmla="*/ 14 h 394"/>
              <a:gd name="T36" fmla="*/ 140 w 359"/>
              <a:gd name="T37" fmla="*/ 0 h 394"/>
              <a:gd name="T38" fmla="*/ 142 w 359"/>
              <a:gd name="T39" fmla="*/ 18 h 394"/>
              <a:gd name="T40" fmla="*/ 142 w 359"/>
              <a:gd name="T41" fmla="*/ 26 h 394"/>
              <a:gd name="T42" fmla="*/ 140 w 359"/>
              <a:gd name="T43" fmla="*/ 31 h 394"/>
              <a:gd name="T44" fmla="*/ 168 w 359"/>
              <a:gd name="T45" fmla="*/ 31 h 394"/>
              <a:gd name="T46" fmla="*/ 186 w 359"/>
              <a:gd name="T47" fmla="*/ 31 h 394"/>
              <a:gd name="T48" fmla="*/ 214 w 359"/>
              <a:gd name="T49" fmla="*/ 38 h 394"/>
              <a:gd name="T50" fmla="*/ 233 w 359"/>
              <a:gd name="T51" fmla="*/ 49 h 394"/>
              <a:gd name="T52" fmla="*/ 246 w 359"/>
              <a:gd name="T53" fmla="*/ 58 h 394"/>
              <a:gd name="T54" fmla="*/ 259 w 359"/>
              <a:gd name="T55" fmla="*/ 61 h 394"/>
              <a:gd name="T56" fmla="*/ 268 w 359"/>
              <a:gd name="T57" fmla="*/ 59 h 394"/>
              <a:gd name="T58" fmla="*/ 275 w 359"/>
              <a:gd name="T59" fmla="*/ 54 h 394"/>
              <a:gd name="T60" fmla="*/ 286 w 359"/>
              <a:gd name="T61" fmla="*/ 37 h 394"/>
              <a:gd name="T62" fmla="*/ 312 w 359"/>
              <a:gd name="T63" fmla="*/ 52 h 394"/>
              <a:gd name="T64" fmla="*/ 325 w 359"/>
              <a:gd name="T65" fmla="*/ 59 h 394"/>
              <a:gd name="T66" fmla="*/ 338 w 359"/>
              <a:gd name="T67" fmla="*/ 61 h 394"/>
              <a:gd name="T68" fmla="*/ 353 w 359"/>
              <a:gd name="T69" fmla="*/ 161 h 394"/>
              <a:gd name="T70" fmla="*/ 338 w 359"/>
              <a:gd name="T71" fmla="*/ 185 h 394"/>
              <a:gd name="T72" fmla="*/ 323 w 359"/>
              <a:gd name="T73" fmla="*/ 206 h 394"/>
              <a:gd name="T74" fmla="*/ 315 w 359"/>
              <a:gd name="T75" fmla="*/ 224 h 394"/>
              <a:gd name="T76" fmla="*/ 313 w 359"/>
              <a:gd name="T77" fmla="*/ 239 h 394"/>
              <a:gd name="T78" fmla="*/ 313 w 359"/>
              <a:gd name="T79" fmla="*/ 255 h 394"/>
              <a:gd name="T80" fmla="*/ 321 w 359"/>
              <a:gd name="T81" fmla="*/ 273 h 394"/>
              <a:gd name="T82" fmla="*/ 331 w 359"/>
              <a:gd name="T83" fmla="*/ 293 h 394"/>
              <a:gd name="T84" fmla="*/ 337 w 359"/>
              <a:gd name="T85" fmla="*/ 309 h 394"/>
              <a:gd name="T86" fmla="*/ 337 w 359"/>
              <a:gd name="T87" fmla="*/ 321 h 394"/>
              <a:gd name="T88" fmla="*/ 330 w 359"/>
              <a:gd name="T89" fmla="*/ 337 h 394"/>
              <a:gd name="T90" fmla="*/ 326 w 359"/>
              <a:gd name="T91" fmla="*/ 351 h 394"/>
              <a:gd name="T92" fmla="*/ 319 w 359"/>
              <a:gd name="T93" fmla="*/ 358 h 394"/>
              <a:gd name="T94" fmla="*/ 308 w 359"/>
              <a:gd name="T95" fmla="*/ 356 h 394"/>
              <a:gd name="T96" fmla="*/ 298 w 359"/>
              <a:gd name="T97" fmla="*/ 350 h 394"/>
              <a:gd name="T98" fmla="*/ 287 w 359"/>
              <a:gd name="T99" fmla="*/ 340 h 394"/>
              <a:gd name="T100" fmla="*/ 277 w 359"/>
              <a:gd name="T101" fmla="*/ 335 h 394"/>
              <a:gd name="T102" fmla="*/ 266 w 359"/>
              <a:gd name="T103" fmla="*/ 333 h 394"/>
              <a:gd name="T104" fmla="*/ 246 w 359"/>
              <a:gd name="T105" fmla="*/ 333 h 394"/>
              <a:gd name="T106" fmla="*/ 221 w 359"/>
              <a:gd name="T107" fmla="*/ 336 h 394"/>
              <a:gd name="T108" fmla="*/ 181 w 359"/>
              <a:gd name="T109" fmla="*/ 343 h 394"/>
              <a:gd name="T110" fmla="*/ 131 w 359"/>
              <a:gd name="T111" fmla="*/ 359 h 394"/>
              <a:gd name="T112" fmla="*/ 86 w 359"/>
              <a:gd name="T113" fmla="*/ 375 h 394"/>
              <a:gd name="T114" fmla="*/ 53 w 359"/>
              <a:gd name="T115" fmla="*/ 394 h 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59" h="394">
                <a:moveTo>
                  <a:pt x="53" y="394"/>
                </a:moveTo>
                <a:lnTo>
                  <a:pt x="53" y="382"/>
                </a:lnTo>
                <a:lnTo>
                  <a:pt x="53" y="370"/>
                </a:lnTo>
                <a:lnTo>
                  <a:pt x="53" y="358"/>
                </a:lnTo>
                <a:lnTo>
                  <a:pt x="53" y="346"/>
                </a:lnTo>
                <a:lnTo>
                  <a:pt x="53" y="333"/>
                </a:lnTo>
                <a:lnTo>
                  <a:pt x="52" y="322"/>
                </a:lnTo>
                <a:lnTo>
                  <a:pt x="50" y="312"/>
                </a:lnTo>
                <a:lnTo>
                  <a:pt x="46" y="302"/>
                </a:lnTo>
                <a:lnTo>
                  <a:pt x="43" y="293"/>
                </a:lnTo>
                <a:lnTo>
                  <a:pt x="40" y="284"/>
                </a:lnTo>
                <a:lnTo>
                  <a:pt x="35" y="277"/>
                </a:lnTo>
                <a:lnTo>
                  <a:pt x="32" y="270"/>
                </a:lnTo>
                <a:lnTo>
                  <a:pt x="13" y="245"/>
                </a:lnTo>
                <a:lnTo>
                  <a:pt x="0" y="222"/>
                </a:lnTo>
                <a:lnTo>
                  <a:pt x="0" y="185"/>
                </a:lnTo>
                <a:lnTo>
                  <a:pt x="27" y="185"/>
                </a:lnTo>
                <a:lnTo>
                  <a:pt x="33" y="181"/>
                </a:lnTo>
                <a:lnTo>
                  <a:pt x="38" y="174"/>
                </a:lnTo>
                <a:lnTo>
                  <a:pt x="40" y="169"/>
                </a:lnTo>
                <a:lnTo>
                  <a:pt x="41" y="163"/>
                </a:lnTo>
                <a:lnTo>
                  <a:pt x="41" y="150"/>
                </a:lnTo>
                <a:lnTo>
                  <a:pt x="40" y="136"/>
                </a:lnTo>
                <a:lnTo>
                  <a:pt x="38" y="107"/>
                </a:lnTo>
                <a:lnTo>
                  <a:pt x="32" y="79"/>
                </a:lnTo>
                <a:lnTo>
                  <a:pt x="31" y="65"/>
                </a:lnTo>
                <a:lnTo>
                  <a:pt x="31" y="52"/>
                </a:lnTo>
                <a:lnTo>
                  <a:pt x="32" y="47"/>
                </a:lnTo>
                <a:lnTo>
                  <a:pt x="34" y="41"/>
                </a:lnTo>
                <a:lnTo>
                  <a:pt x="36" y="36"/>
                </a:lnTo>
                <a:lnTo>
                  <a:pt x="40" y="31"/>
                </a:lnTo>
                <a:lnTo>
                  <a:pt x="120" y="31"/>
                </a:lnTo>
                <a:lnTo>
                  <a:pt x="120" y="27"/>
                </a:lnTo>
                <a:lnTo>
                  <a:pt x="122" y="22"/>
                </a:lnTo>
                <a:lnTo>
                  <a:pt x="124" y="18"/>
                </a:lnTo>
                <a:lnTo>
                  <a:pt x="128" y="14"/>
                </a:lnTo>
                <a:lnTo>
                  <a:pt x="133" y="6"/>
                </a:lnTo>
                <a:lnTo>
                  <a:pt x="140" y="0"/>
                </a:lnTo>
                <a:lnTo>
                  <a:pt x="141" y="9"/>
                </a:lnTo>
                <a:lnTo>
                  <a:pt x="142" y="18"/>
                </a:lnTo>
                <a:lnTo>
                  <a:pt x="143" y="22"/>
                </a:lnTo>
                <a:lnTo>
                  <a:pt x="142" y="26"/>
                </a:lnTo>
                <a:lnTo>
                  <a:pt x="142" y="29"/>
                </a:lnTo>
                <a:lnTo>
                  <a:pt x="140" y="31"/>
                </a:lnTo>
                <a:lnTo>
                  <a:pt x="153" y="31"/>
                </a:lnTo>
                <a:lnTo>
                  <a:pt x="168" y="31"/>
                </a:lnTo>
                <a:lnTo>
                  <a:pt x="180" y="31"/>
                </a:lnTo>
                <a:lnTo>
                  <a:pt x="186" y="31"/>
                </a:lnTo>
                <a:lnTo>
                  <a:pt x="202" y="34"/>
                </a:lnTo>
                <a:lnTo>
                  <a:pt x="214" y="38"/>
                </a:lnTo>
                <a:lnTo>
                  <a:pt x="224" y="43"/>
                </a:lnTo>
                <a:lnTo>
                  <a:pt x="233" y="49"/>
                </a:lnTo>
                <a:lnTo>
                  <a:pt x="240" y="53"/>
                </a:lnTo>
                <a:lnTo>
                  <a:pt x="246" y="58"/>
                </a:lnTo>
                <a:lnTo>
                  <a:pt x="252" y="60"/>
                </a:lnTo>
                <a:lnTo>
                  <a:pt x="259" y="61"/>
                </a:lnTo>
                <a:lnTo>
                  <a:pt x="264" y="61"/>
                </a:lnTo>
                <a:lnTo>
                  <a:pt x="268" y="59"/>
                </a:lnTo>
                <a:lnTo>
                  <a:pt x="271" y="57"/>
                </a:lnTo>
                <a:lnTo>
                  <a:pt x="275" y="54"/>
                </a:lnTo>
                <a:lnTo>
                  <a:pt x="280" y="46"/>
                </a:lnTo>
                <a:lnTo>
                  <a:pt x="286" y="37"/>
                </a:lnTo>
                <a:lnTo>
                  <a:pt x="300" y="44"/>
                </a:lnTo>
                <a:lnTo>
                  <a:pt x="312" y="52"/>
                </a:lnTo>
                <a:lnTo>
                  <a:pt x="319" y="55"/>
                </a:lnTo>
                <a:lnTo>
                  <a:pt x="325" y="59"/>
                </a:lnTo>
                <a:lnTo>
                  <a:pt x="332" y="61"/>
                </a:lnTo>
                <a:lnTo>
                  <a:pt x="338" y="61"/>
                </a:lnTo>
                <a:lnTo>
                  <a:pt x="359" y="148"/>
                </a:lnTo>
                <a:lnTo>
                  <a:pt x="353" y="161"/>
                </a:lnTo>
                <a:lnTo>
                  <a:pt x="346" y="173"/>
                </a:lnTo>
                <a:lnTo>
                  <a:pt x="338" y="185"/>
                </a:lnTo>
                <a:lnTo>
                  <a:pt x="331" y="195"/>
                </a:lnTo>
                <a:lnTo>
                  <a:pt x="323" y="206"/>
                </a:lnTo>
                <a:lnTo>
                  <a:pt x="318" y="218"/>
                </a:lnTo>
                <a:lnTo>
                  <a:pt x="315" y="224"/>
                </a:lnTo>
                <a:lnTo>
                  <a:pt x="314" y="231"/>
                </a:lnTo>
                <a:lnTo>
                  <a:pt x="313" y="239"/>
                </a:lnTo>
                <a:lnTo>
                  <a:pt x="312" y="247"/>
                </a:lnTo>
                <a:lnTo>
                  <a:pt x="313" y="255"/>
                </a:lnTo>
                <a:lnTo>
                  <a:pt x="316" y="263"/>
                </a:lnTo>
                <a:lnTo>
                  <a:pt x="321" y="273"/>
                </a:lnTo>
                <a:lnTo>
                  <a:pt x="325" y="283"/>
                </a:lnTo>
                <a:lnTo>
                  <a:pt x="331" y="293"/>
                </a:lnTo>
                <a:lnTo>
                  <a:pt x="335" y="302"/>
                </a:lnTo>
                <a:lnTo>
                  <a:pt x="337" y="309"/>
                </a:lnTo>
                <a:lnTo>
                  <a:pt x="338" y="315"/>
                </a:lnTo>
                <a:lnTo>
                  <a:pt x="337" y="321"/>
                </a:lnTo>
                <a:lnTo>
                  <a:pt x="332" y="331"/>
                </a:lnTo>
                <a:lnTo>
                  <a:pt x="330" y="337"/>
                </a:lnTo>
                <a:lnTo>
                  <a:pt x="327" y="343"/>
                </a:lnTo>
                <a:lnTo>
                  <a:pt x="326" y="351"/>
                </a:lnTo>
                <a:lnTo>
                  <a:pt x="325" y="358"/>
                </a:lnTo>
                <a:lnTo>
                  <a:pt x="319" y="358"/>
                </a:lnTo>
                <a:lnTo>
                  <a:pt x="313" y="357"/>
                </a:lnTo>
                <a:lnTo>
                  <a:pt x="308" y="356"/>
                </a:lnTo>
                <a:lnTo>
                  <a:pt x="304" y="354"/>
                </a:lnTo>
                <a:lnTo>
                  <a:pt x="298" y="350"/>
                </a:lnTo>
                <a:lnTo>
                  <a:pt x="292" y="346"/>
                </a:lnTo>
                <a:lnTo>
                  <a:pt x="287" y="340"/>
                </a:lnTo>
                <a:lnTo>
                  <a:pt x="280" y="336"/>
                </a:lnTo>
                <a:lnTo>
                  <a:pt x="277" y="335"/>
                </a:lnTo>
                <a:lnTo>
                  <a:pt x="271" y="334"/>
                </a:lnTo>
                <a:lnTo>
                  <a:pt x="266" y="333"/>
                </a:lnTo>
                <a:lnTo>
                  <a:pt x="259" y="333"/>
                </a:lnTo>
                <a:lnTo>
                  <a:pt x="246" y="333"/>
                </a:lnTo>
                <a:lnTo>
                  <a:pt x="234" y="334"/>
                </a:lnTo>
                <a:lnTo>
                  <a:pt x="221" y="336"/>
                </a:lnTo>
                <a:lnTo>
                  <a:pt x="208" y="338"/>
                </a:lnTo>
                <a:lnTo>
                  <a:pt x="181" y="343"/>
                </a:lnTo>
                <a:lnTo>
                  <a:pt x="155" y="351"/>
                </a:lnTo>
                <a:lnTo>
                  <a:pt x="131" y="359"/>
                </a:lnTo>
                <a:lnTo>
                  <a:pt x="107" y="367"/>
                </a:lnTo>
                <a:lnTo>
                  <a:pt x="86" y="375"/>
                </a:lnTo>
                <a:lnTo>
                  <a:pt x="66" y="382"/>
                </a:lnTo>
                <a:lnTo>
                  <a:pt x="53" y="39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14" name="Freeform 466"/>
          <p:cNvSpPr>
            <a:spLocks/>
          </p:cNvSpPr>
          <p:nvPr>
            <p:custDataLst>
              <p:tags r:id="rId304"/>
            </p:custDataLst>
          </p:nvPr>
        </p:nvSpPr>
        <p:spPr bwMode="auto">
          <a:xfrm>
            <a:off x="6391275" y="3521076"/>
            <a:ext cx="192088" cy="271463"/>
          </a:xfrm>
          <a:custGeom>
            <a:avLst/>
            <a:gdLst>
              <a:gd name="T0" fmla="*/ 410 w 449"/>
              <a:gd name="T1" fmla="*/ 105 h 523"/>
              <a:gd name="T2" fmla="*/ 405 w 449"/>
              <a:gd name="T3" fmla="*/ 98 h 523"/>
              <a:gd name="T4" fmla="*/ 408 w 449"/>
              <a:gd name="T5" fmla="*/ 92 h 523"/>
              <a:gd name="T6" fmla="*/ 422 w 449"/>
              <a:gd name="T7" fmla="*/ 77 h 523"/>
              <a:gd name="T8" fmla="*/ 441 w 449"/>
              <a:gd name="T9" fmla="*/ 60 h 523"/>
              <a:gd name="T10" fmla="*/ 447 w 449"/>
              <a:gd name="T11" fmla="*/ 50 h 523"/>
              <a:gd name="T12" fmla="*/ 449 w 449"/>
              <a:gd name="T13" fmla="*/ 37 h 523"/>
              <a:gd name="T14" fmla="*/ 432 w 449"/>
              <a:gd name="T15" fmla="*/ 34 h 523"/>
              <a:gd name="T16" fmla="*/ 422 w 449"/>
              <a:gd name="T17" fmla="*/ 27 h 523"/>
              <a:gd name="T18" fmla="*/ 411 w 449"/>
              <a:gd name="T19" fmla="*/ 21 h 523"/>
              <a:gd name="T20" fmla="*/ 390 w 449"/>
              <a:gd name="T21" fmla="*/ 18 h 523"/>
              <a:gd name="T22" fmla="*/ 377 w 449"/>
              <a:gd name="T23" fmla="*/ 20 h 523"/>
              <a:gd name="T24" fmla="*/ 368 w 449"/>
              <a:gd name="T25" fmla="*/ 24 h 523"/>
              <a:gd name="T26" fmla="*/ 355 w 449"/>
              <a:gd name="T27" fmla="*/ 37 h 523"/>
              <a:gd name="T28" fmla="*/ 340 w 449"/>
              <a:gd name="T29" fmla="*/ 50 h 523"/>
              <a:gd name="T30" fmla="*/ 326 w 449"/>
              <a:gd name="T31" fmla="*/ 54 h 523"/>
              <a:gd name="T32" fmla="*/ 310 w 449"/>
              <a:gd name="T33" fmla="*/ 55 h 523"/>
              <a:gd name="T34" fmla="*/ 287 w 449"/>
              <a:gd name="T35" fmla="*/ 54 h 523"/>
              <a:gd name="T36" fmla="*/ 267 w 449"/>
              <a:gd name="T37" fmla="*/ 50 h 523"/>
              <a:gd name="T38" fmla="*/ 235 w 449"/>
              <a:gd name="T39" fmla="*/ 36 h 523"/>
              <a:gd name="T40" fmla="*/ 206 w 449"/>
              <a:gd name="T41" fmla="*/ 19 h 523"/>
              <a:gd name="T42" fmla="*/ 189 w 449"/>
              <a:gd name="T43" fmla="*/ 12 h 523"/>
              <a:gd name="T44" fmla="*/ 170 w 449"/>
              <a:gd name="T45" fmla="*/ 6 h 523"/>
              <a:gd name="T46" fmla="*/ 134 w 449"/>
              <a:gd name="T47" fmla="*/ 8 h 523"/>
              <a:gd name="T48" fmla="*/ 119 w 449"/>
              <a:gd name="T49" fmla="*/ 6 h 523"/>
              <a:gd name="T50" fmla="*/ 103 w 449"/>
              <a:gd name="T51" fmla="*/ 0 h 523"/>
              <a:gd name="T52" fmla="*/ 52 w 449"/>
              <a:gd name="T53" fmla="*/ 0 h 523"/>
              <a:gd name="T54" fmla="*/ 5 w 449"/>
              <a:gd name="T55" fmla="*/ 0 h 523"/>
              <a:gd name="T56" fmla="*/ 5 w 449"/>
              <a:gd name="T57" fmla="*/ 18 h 523"/>
              <a:gd name="T58" fmla="*/ 5 w 449"/>
              <a:gd name="T59" fmla="*/ 37 h 523"/>
              <a:gd name="T60" fmla="*/ 15 w 449"/>
              <a:gd name="T61" fmla="*/ 60 h 523"/>
              <a:gd name="T62" fmla="*/ 23 w 449"/>
              <a:gd name="T63" fmla="*/ 91 h 523"/>
              <a:gd name="T64" fmla="*/ 31 w 449"/>
              <a:gd name="T65" fmla="*/ 128 h 523"/>
              <a:gd name="T66" fmla="*/ 38 w 449"/>
              <a:gd name="T67" fmla="*/ 172 h 523"/>
              <a:gd name="T68" fmla="*/ 37 w 449"/>
              <a:gd name="T69" fmla="*/ 206 h 523"/>
              <a:gd name="T70" fmla="*/ 29 w 449"/>
              <a:gd name="T71" fmla="*/ 230 h 523"/>
              <a:gd name="T72" fmla="*/ 7 w 449"/>
              <a:gd name="T73" fmla="*/ 269 h 523"/>
              <a:gd name="T74" fmla="*/ 10 w 449"/>
              <a:gd name="T75" fmla="*/ 321 h 523"/>
              <a:gd name="T76" fmla="*/ 28 w 449"/>
              <a:gd name="T77" fmla="*/ 339 h 523"/>
              <a:gd name="T78" fmla="*/ 84 w 449"/>
              <a:gd name="T79" fmla="*/ 367 h 523"/>
              <a:gd name="T80" fmla="*/ 136 w 449"/>
              <a:gd name="T81" fmla="*/ 396 h 523"/>
              <a:gd name="T82" fmla="*/ 170 w 449"/>
              <a:gd name="T83" fmla="*/ 420 h 523"/>
              <a:gd name="T84" fmla="*/ 189 w 449"/>
              <a:gd name="T85" fmla="*/ 436 h 523"/>
              <a:gd name="T86" fmla="*/ 198 w 449"/>
              <a:gd name="T87" fmla="*/ 451 h 523"/>
              <a:gd name="T88" fmla="*/ 201 w 449"/>
              <a:gd name="T89" fmla="*/ 464 h 523"/>
              <a:gd name="T90" fmla="*/ 209 w 449"/>
              <a:gd name="T91" fmla="*/ 479 h 523"/>
              <a:gd name="T92" fmla="*/ 220 w 449"/>
              <a:gd name="T93" fmla="*/ 492 h 523"/>
              <a:gd name="T94" fmla="*/ 233 w 449"/>
              <a:gd name="T95" fmla="*/ 503 h 523"/>
              <a:gd name="T96" fmla="*/ 247 w 449"/>
              <a:gd name="T97" fmla="*/ 512 h 523"/>
              <a:gd name="T98" fmla="*/ 264 w 449"/>
              <a:gd name="T99" fmla="*/ 519 h 523"/>
              <a:gd name="T100" fmla="*/ 281 w 449"/>
              <a:gd name="T101" fmla="*/ 523 h 523"/>
              <a:gd name="T102" fmla="*/ 304 w 449"/>
              <a:gd name="T103" fmla="*/ 502 h 523"/>
              <a:gd name="T104" fmla="*/ 335 w 449"/>
              <a:gd name="T105" fmla="*/ 462 h 523"/>
              <a:gd name="T106" fmla="*/ 365 w 449"/>
              <a:gd name="T107" fmla="*/ 427 h 523"/>
              <a:gd name="T108" fmla="*/ 394 w 449"/>
              <a:gd name="T109" fmla="*/ 390 h 5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449" h="523">
                <a:moveTo>
                  <a:pt x="410" y="370"/>
                </a:moveTo>
                <a:lnTo>
                  <a:pt x="410" y="105"/>
                </a:lnTo>
                <a:lnTo>
                  <a:pt x="407" y="102"/>
                </a:lnTo>
                <a:lnTo>
                  <a:pt x="405" y="98"/>
                </a:lnTo>
                <a:lnTo>
                  <a:pt x="405" y="95"/>
                </a:lnTo>
                <a:lnTo>
                  <a:pt x="408" y="92"/>
                </a:lnTo>
                <a:lnTo>
                  <a:pt x="413" y="84"/>
                </a:lnTo>
                <a:lnTo>
                  <a:pt x="422" y="77"/>
                </a:lnTo>
                <a:lnTo>
                  <a:pt x="432" y="70"/>
                </a:lnTo>
                <a:lnTo>
                  <a:pt x="441" y="60"/>
                </a:lnTo>
                <a:lnTo>
                  <a:pt x="444" y="55"/>
                </a:lnTo>
                <a:lnTo>
                  <a:pt x="447" y="50"/>
                </a:lnTo>
                <a:lnTo>
                  <a:pt x="448" y="44"/>
                </a:lnTo>
                <a:lnTo>
                  <a:pt x="449" y="37"/>
                </a:lnTo>
                <a:lnTo>
                  <a:pt x="438" y="37"/>
                </a:lnTo>
                <a:lnTo>
                  <a:pt x="432" y="34"/>
                </a:lnTo>
                <a:lnTo>
                  <a:pt x="426" y="32"/>
                </a:lnTo>
                <a:lnTo>
                  <a:pt x="422" y="27"/>
                </a:lnTo>
                <a:lnTo>
                  <a:pt x="418" y="24"/>
                </a:lnTo>
                <a:lnTo>
                  <a:pt x="411" y="21"/>
                </a:lnTo>
                <a:lnTo>
                  <a:pt x="402" y="19"/>
                </a:lnTo>
                <a:lnTo>
                  <a:pt x="390" y="18"/>
                </a:lnTo>
                <a:lnTo>
                  <a:pt x="382" y="19"/>
                </a:lnTo>
                <a:lnTo>
                  <a:pt x="377" y="20"/>
                </a:lnTo>
                <a:lnTo>
                  <a:pt x="371" y="22"/>
                </a:lnTo>
                <a:lnTo>
                  <a:pt x="368" y="24"/>
                </a:lnTo>
                <a:lnTo>
                  <a:pt x="360" y="31"/>
                </a:lnTo>
                <a:lnTo>
                  <a:pt x="355" y="37"/>
                </a:lnTo>
                <a:lnTo>
                  <a:pt x="348" y="44"/>
                </a:lnTo>
                <a:lnTo>
                  <a:pt x="340" y="50"/>
                </a:lnTo>
                <a:lnTo>
                  <a:pt x="333" y="52"/>
                </a:lnTo>
                <a:lnTo>
                  <a:pt x="326" y="54"/>
                </a:lnTo>
                <a:lnTo>
                  <a:pt x="319" y="55"/>
                </a:lnTo>
                <a:lnTo>
                  <a:pt x="310" y="55"/>
                </a:lnTo>
                <a:lnTo>
                  <a:pt x="298" y="55"/>
                </a:lnTo>
                <a:lnTo>
                  <a:pt x="287" y="54"/>
                </a:lnTo>
                <a:lnTo>
                  <a:pt x="277" y="52"/>
                </a:lnTo>
                <a:lnTo>
                  <a:pt x="267" y="50"/>
                </a:lnTo>
                <a:lnTo>
                  <a:pt x="251" y="43"/>
                </a:lnTo>
                <a:lnTo>
                  <a:pt x="235" y="36"/>
                </a:lnTo>
                <a:lnTo>
                  <a:pt x="220" y="27"/>
                </a:lnTo>
                <a:lnTo>
                  <a:pt x="206" y="19"/>
                </a:lnTo>
                <a:lnTo>
                  <a:pt x="197" y="15"/>
                </a:lnTo>
                <a:lnTo>
                  <a:pt x="189" y="12"/>
                </a:lnTo>
                <a:lnTo>
                  <a:pt x="180" y="9"/>
                </a:lnTo>
                <a:lnTo>
                  <a:pt x="170" y="6"/>
                </a:lnTo>
                <a:lnTo>
                  <a:pt x="152" y="7"/>
                </a:lnTo>
                <a:lnTo>
                  <a:pt x="134" y="8"/>
                </a:lnTo>
                <a:lnTo>
                  <a:pt x="127" y="7"/>
                </a:lnTo>
                <a:lnTo>
                  <a:pt x="119" y="6"/>
                </a:lnTo>
                <a:lnTo>
                  <a:pt x="111" y="4"/>
                </a:lnTo>
                <a:lnTo>
                  <a:pt x="103" y="0"/>
                </a:lnTo>
                <a:lnTo>
                  <a:pt x="80" y="0"/>
                </a:lnTo>
                <a:lnTo>
                  <a:pt x="52" y="0"/>
                </a:lnTo>
                <a:lnTo>
                  <a:pt x="24" y="0"/>
                </a:lnTo>
                <a:lnTo>
                  <a:pt x="5" y="0"/>
                </a:lnTo>
                <a:lnTo>
                  <a:pt x="5" y="7"/>
                </a:lnTo>
                <a:lnTo>
                  <a:pt x="5" y="18"/>
                </a:lnTo>
                <a:lnTo>
                  <a:pt x="5" y="29"/>
                </a:lnTo>
                <a:lnTo>
                  <a:pt x="5" y="37"/>
                </a:lnTo>
                <a:lnTo>
                  <a:pt x="9" y="47"/>
                </a:lnTo>
                <a:lnTo>
                  <a:pt x="15" y="60"/>
                </a:lnTo>
                <a:lnTo>
                  <a:pt x="19" y="74"/>
                </a:lnTo>
                <a:lnTo>
                  <a:pt x="23" y="91"/>
                </a:lnTo>
                <a:lnTo>
                  <a:pt x="28" y="109"/>
                </a:lnTo>
                <a:lnTo>
                  <a:pt x="31" y="128"/>
                </a:lnTo>
                <a:lnTo>
                  <a:pt x="34" y="150"/>
                </a:lnTo>
                <a:lnTo>
                  <a:pt x="38" y="172"/>
                </a:lnTo>
                <a:lnTo>
                  <a:pt x="38" y="190"/>
                </a:lnTo>
                <a:lnTo>
                  <a:pt x="37" y="206"/>
                </a:lnTo>
                <a:lnTo>
                  <a:pt x="33" y="219"/>
                </a:lnTo>
                <a:lnTo>
                  <a:pt x="29" y="230"/>
                </a:lnTo>
                <a:lnTo>
                  <a:pt x="18" y="249"/>
                </a:lnTo>
                <a:lnTo>
                  <a:pt x="7" y="269"/>
                </a:lnTo>
                <a:lnTo>
                  <a:pt x="17" y="284"/>
                </a:lnTo>
                <a:lnTo>
                  <a:pt x="10" y="321"/>
                </a:lnTo>
                <a:lnTo>
                  <a:pt x="0" y="328"/>
                </a:lnTo>
                <a:lnTo>
                  <a:pt x="28" y="339"/>
                </a:lnTo>
                <a:lnTo>
                  <a:pt x="55" y="352"/>
                </a:lnTo>
                <a:lnTo>
                  <a:pt x="84" y="367"/>
                </a:lnTo>
                <a:lnTo>
                  <a:pt x="111" y="381"/>
                </a:lnTo>
                <a:lnTo>
                  <a:pt x="136" y="396"/>
                </a:lnTo>
                <a:lnTo>
                  <a:pt x="159" y="411"/>
                </a:lnTo>
                <a:lnTo>
                  <a:pt x="170" y="420"/>
                </a:lnTo>
                <a:lnTo>
                  <a:pt x="180" y="428"/>
                </a:lnTo>
                <a:lnTo>
                  <a:pt x="189" y="436"/>
                </a:lnTo>
                <a:lnTo>
                  <a:pt x="197" y="444"/>
                </a:lnTo>
                <a:lnTo>
                  <a:pt x="198" y="451"/>
                </a:lnTo>
                <a:lnTo>
                  <a:pt x="199" y="457"/>
                </a:lnTo>
                <a:lnTo>
                  <a:pt x="201" y="464"/>
                </a:lnTo>
                <a:lnTo>
                  <a:pt x="205" y="471"/>
                </a:lnTo>
                <a:lnTo>
                  <a:pt x="209" y="479"/>
                </a:lnTo>
                <a:lnTo>
                  <a:pt x="214" y="486"/>
                </a:lnTo>
                <a:lnTo>
                  <a:pt x="220" y="492"/>
                </a:lnTo>
                <a:lnTo>
                  <a:pt x="226" y="498"/>
                </a:lnTo>
                <a:lnTo>
                  <a:pt x="233" y="503"/>
                </a:lnTo>
                <a:lnTo>
                  <a:pt x="240" y="508"/>
                </a:lnTo>
                <a:lnTo>
                  <a:pt x="247" y="512"/>
                </a:lnTo>
                <a:lnTo>
                  <a:pt x="256" y="516"/>
                </a:lnTo>
                <a:lnTo>
                  <a:pt x="264" y="519"/>
                </a:lnTo>
                <a:lnTo>
                  <a:pt x="273" y="521"/>
                </a:lnTo>
                <a:lnTo>
                  <a:pt x="281" y="523"/>
                </a:lnTo>
                <a:lnTo>
                  <a:pt x="290" y="523"/>
                </a:lnTo>
                <a:lnTo>
                  <a:pt x="304" y="502"/>
                </a:lnTo>
                <a:lnTo>
                  <a:pt x="320" y="482"/>
                </a:lnTo>
                <a:lnTo>
                  <a:pt x="335" y="462"/>
                </a:lnTo>
                <a:lnTo>
                  <a:pt x="349" y="444"/>
                </a:lnTo>
                <a:lnTo>
                  <a:pt x="365" y="427"/>
                </a:lnTo>
                <a:lnTo>
                  <a:pt x="379" y="408"/>
                </a:lnTo>
                <a:lnTo>
                  <a:pt x="394" y="390"/>
                </a:lnTo>
                <a:lnTo>
                  <a:pt x="410" y="37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15" name="Freeform 467"/>
          <p:cNvSpPr>
            <a:spLocks/>
          </p:cNvSpPr>
          <p:nvPr>
            <p:custDataLst>
              <p:tags r:id="rId305"/>
            </p:custDataLst>
          </p:nvPr>
        </p:nvSpPr>
        <p:spPr bwMode="auto">
          <a:xfrm>
            <a:off x="6373813" y="2606676"/>
            <a:ext cx="101600" cy="130175"/>
          </a:xfrm>
          <a:custGeom>
            <a:avLst/>
            <a:gdLst>
              <a:gd name="T0" fmla="*/ 12 w 226"/>
              <a:gd name="T1" fmla="*/ 228 h 246"/>
              <a:gd name="T2" fmla="*/ 36 w 226"/>
              <a:gd name="T3" fmla="*/ 240 h 246"/>
              <a:gd name="T4" fmla="*/ 53 w 226"/>
              <a:gd name="T5" fmla="*/ 245 h 246"/>
              <a:gd name="T6" fmla="*/ 68 w 226"/>
              <a:gd name="T7" fmla="*/ 245 h 246"/>
              <a:gd name="T8" fmla="*/ 85 w 226"/>
              <a:gd name="T9" fmla="*/ 241 h 246"/>
              <a:gd name="T10" fmla="*/ 110 w 226"/>
              <a:gd name="T11" fmla="*/ 228 h 246"/>
              <a:gd name="T12" fmla="*/ 141 w 226"/>
              <a:gd name="T13" fmla="*/ 205 h 246"/>
              <a:gd name="T14" fmla="*/ 161 w 226"/>
              <a:gd name="T15" fmla="*/ 184 h 246"/>
              <a:gd name="T16" fmla="*/ 159 w 226"/>
              <a:gd name="T17" fmla="*/ 173 h 246"/>
              <a:gd name="T18" fmla="*/ 149 w 226"/>
              <a:gd name="T19" fmla="*/ 160 h 246"/>
              <a:gd name="T20" fmla="*/ 143 w 226"/>
              <a:gd name="T21" fmla="*/ 145 h 246"/>
              <a:gd name="T22" fmla="*/ 141 w 226"/>
              <a:gd name="T23" fmla="*/ 130 h 246"/>
              <a:gd name="T24" fmla="*/ 141 w 226"/>
              <a:gd name="T25" fmla="*/ 116 h 246"/>
              <a:gd name="T26" fmla="*/ 146 w 226"/>
              <a:gd name="T27" fmla="*/ 105 h 246"/>
              <a:gd name="T28" fmla="*/ 156 w 226"/>
              <a:gd name="T29" fmla="*/ 94 h 246"/>
              <a:gd name="T30" fmla="*/ 168 w 226"/>
              <a:gd name="T31" fmla="*/ 86 h 246"/>
              <a:gd name="T32" fmla="*/ 204 w 226"/>
              <a:gd name="T33" fmla="*/ 71 h 246"/>
              <a:gd name="T34" fmla="*/ 225 w 226"/>
              <a:gd name="T35" fmla="*/ 49 h 246"/>
              <a:gd name="T36" fmla="*/ 221 w 226"/>
              <a:gd name="T37" fmla="*/ 30 h 246"/>
              <a:gd name="T38" fmla="*/ 214 w 226"/>
              <a:gd name="T39" fmla="*/ 17 h 246"/>
              <a:gd name="T40" fmla="*/ 212 w 226"/>
              <a:gd name="T41" fmla="*/ 6 h 246"/>
              <a:gd name="T42" fmla="*/ 202 w 226"/>
              <a:gd name="T43" fmla="*/ 1 h 246"/>
              <a:gd name="T44" fmla="*/ 181 w 226"/>
              <a:gd name="T45" fmla="*/ 7 h 246"/>
              <a:gd name="T46" fmla="*/ 154 w 226"/>
              <a:gd name="T47" fmla="*/ 20 h 246"/>
              <a:gd name="T48" fmla="*/ 121 w 226"/>
              <a:gd name="T49" fmla="*/ 38 h 246"/>
              <a:gd name="T50" fmla="*/ 100 w 226"/>
              <a:gd name="T51" fmla="*/ 51 h 246"/>
              <a:gd name="T52" fmla="*/ 87 w 226"/>
              <a:gd name="T53" fmla="*/ 55 h 246"/>
              <a:gd name="T54" fmla="*/ 75 w 226"/>
              <a:gd name="T55" fmla="*/ 54 h 246"/>
              <a:gd name="T56" fmla="*/ 59 w 226"/>
              <a:gd name="T57" fmla="*/ 47 h 246"/>
              <a:gd name="T58" fmla="*/ 36 w 226"/>
              <a:gd name="T59" fmla="*/ 31 h 246"/>
              <a:gd name="T60" fmla="*/ 24 w 226"/>
              <a:gd name="T61" fmla="*/ 39 h 246"/>
              <a:gd name="T62" fmla="*/ 18 w 226"/>
              <a:gd name="T63" fmla="*/ 95 h 246"/>
              <a:gd name="T64" fmla="*/ 10 w 226"/>
              <a:gd name="T65" fmla="*/ 163 h 246"/>
              <a:gd name="T66" fmla="*/ 3 w 226"/>
              <a:gd name="T67" fmla="*/ 212 h 2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26" h="246">
                <a:moveTo>
                  <a:pt x="0" y="221"/>
                </a:moveTo>
                <a:lnTo>
                  <a:pt x="12" y="228"/>
                </a:lnTo>
                <a:lnTo>
                  <a:pt x="27" y="236"/>
                </a:lnTo>
                <a:lnTo>
                  <a:pt x="36" y="240"/>
                </a:lnTo>
                <a:lnTo>
                  <a:pt x="44" y="243"/>
                </a:lnTo>
                <a:lnTo>
                  <a:pt x="53" y="245"/>
                </a:lnTo>
                <a:lnTo>
                  <a:pt x="60" y="246"/>
                </a:lnTo>
                <a:lnTo>
                  <a:pt x="68" y="245"/>
                </a:lnTo>
                <a:lnTo>
                  <a:pt x="76" y="243"/>
                </a:lnTo>
                <a:lnTo>
                  <a:pt x="85" y="241"/>
                </a:lnTo>
                <a:lnTo>
                  <a:pt x="92" y="237"/>
                </a:lnTo>
                <a:lnTo>
                  <a:pt x="110" y="228"/>
                </a:lnTo>
                <a:lnTo>
                  <a:pt x="126" y="217"/>
                </a:lnTo>
                <a:lnTo>
                  <a:pt x="141" y="205"/>
                </a:lnTo>
                <a:lnTo>
                  <a:pt x="153" y="194"/>
                </a:lnTo>
                <a:lnTo>
                  <a:pt x="161" y="184"/>
                </a:lnTo>
                <a:lnTo>
                  <a:pt x="167" y="178"/>
                </a:lnTo>
                <a:lnTo>
                  <a:pt x="159" y="173"/>
                </a:lnTo>
                <a:lnTo>
                  <a:pt x="154" y="167"/>
                </a:lnTo>
                <a:lnTo>
                  <a:pt x="149" y="160"/>
                </a:lnTo>
                <a:lnTo>
                  <a:pt x="146" y="152"/>
                </a:lnTo>
                <a:lnTo>
                  <a:pt x="143" y="145"/>
                </a:lnTo>
                <a:lnTo>
                  <a:pt x="142" y="137"/>
                </a:lnTo>
                <a:lnTo>
                  <a:pt x="141" y="130"/>
                </a:lnTo>
                <a:lnTo>
                  <a:pt x="139" y="123"/>
                </a:lnTo>
                <a:lnTo>
                  <a:pt x="141" y="116"/>
                </a:lnTo>
                <a:lnTo>
                  <a:pt x="143" y="110"/>
                </a:lnTo>
                <a:lnTo>
                  <a:pt x="146" y="105"/>
                </a:lnTo>
                <a:lnTo>
                  <a:pt x="150" y="100"/>
                </a:lnTo>
                <a:lnTo>
                  <a:pt x="156" y="94"/>
                </a:lnTo>
                <a:lnTo>
                  <a:pt x="161" y="90"/>
                </a:lnTo>
                <a:lnTo>
                  <a:pt x="168" y="86"/>
                </a:lnTo>
                <a:lnTo>
                  <a:pt x="176" y="82"/>
                </a:lnTo>
                <a:lnTo>
                  <a:pt x="204" y="71"/>
                </a:lnTo>
                <a:lnTo>
                  <a:pt x="226" y="61"/>
                </a:lnTo>
                <a:lnTo>
                  <a:pt x="225" y="49"/>
                </a:lnTo>
                <a:lnTo>
                  <a:pt x="223" y="38"/>
                </a:lnTo>
                <a:lnTo>
                  <a:pt x="221" y="30"/>
                </a:lnTo>
                <a:lnTo>
                  <a:pt x="217" y="23"/>
                </a:lnTo>
                <a:lnTo>
                  <a:pt x="214" y="17"/>
                </a:lnTo>
                <a:lnTo>
                  <a:pt x="212" y="12"/>
                </a:lnTo>
                <a:lnTo>
                  <a:pt x="212" y="6"/>
                </a:lnTo>
                <a:lnTo>
                  <a:pt x="213" y="0"/>
                </a:lnTo>
                <a:lnTo>
                  <a:pt x="202" y="1"/>
                </a:lnTo>
                <a:lnTo>
                  <a:pt x="191" y="4"/>
                </a:lnTo>
                <a:lnTo>
                  <a:pt x="181" y="7"/>
                </a:lnTo>
                <a:lnTo>
                  <a:pt x="171" y="11"/>
                </a:lnTo>
                <a:lnTo>
                  <a:pt x="154" y="20"/>
                </a:lnTo>
                <a:lnTo>
                  <a:pt x="136" y="29"/>
                </a:lnTo>
                <a:lnTo>
                  <a:pt x="121" y="38"/>
                </a:lnTo>
                <a:lnTo>
                  <a:pt x="107" y="47"/>
                </a:lnTo>
                <a:lnTo>
                  <a:pt x="100" y="51"/>
                </a:lnTo>
                <a:lnTo>
                  <a:pt x="93" y="53"/>
                </a:lnTo>
                <a:lnTo>
                  <a:pt x="87" y="55"/>
                </a:lnTo>
                <a:lnTo>
                  <a:pt x="80" y="55"/>
                </a:lnTo>
                <a:lnTo>
                  <a:pt x="75" y="54"/>
                </a:lnTo>
                <a:lnTo>
                  <a:pt x="67" y="51"/>
                </a:lnTo>
                <a:lnTo>
                  <a:pt x="59" y="47"/>
                </a:lnTo>
                <a:lnTo>
                  <a:pt x="51" y="41"/>
                </a:lnTo>
                <a:lnTo>
                  <a:pt x="36" y="31"/>
                </a:lnTo>
                <a:lnTo>
                  <a:pt x="27" y="24"/>
                </a:lnTo>
                <a:lnTo>
                  <a:pt x="24" y="39"/>
                </a:lnTo>
                <a:lnTo>
                  <a:pt x="21" y="64"/>
                </a:lnTo>
                <a:lnTo>
                  <a:pt x="18" y="95"/>
                </a:lnTo>
                <a:lnTo>
                  <a:pt x="13" y="129"/>
                </a:lnTo>
                <a:lnTo>
                  <a:pt x="10" y="163"/>
                </a:lnTo>
                <a:lnTo>
                  <a:pt x="7" y="191"/>
                </a:lnTo>
                <a:lnTo>
                  <a:pt x="3" y="212"/>
                </a:lnTo>
                <a:lnTo>
                  <a:pt x="0" y="22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16" name="Freeform 468"/>
          <p:cNvSpPr>
            <a:spLocks/>
          </p:cNvSpPr>
          <p:nvPr>
            <p:custDataLst>
              <p:tags r:id="rId306"/>
            </p:custDataLst>
          </p:nvPr>
        </p:nvSpPr>
        <p:spPr bwMode="auto">
          <a:xfrm>
            <a:off x="6672264" y="2709863"/>
            <a:ext cx="22225" cy="55562"/>
          </a:xfrm>
          <a:custGeom>
            <a:avLst/>
            <a:gdLst>
              <a:gd name="T0" fmla="*/ 27 w 60"/>
              <a:gd name="T1" fmla="*/ 0 h 81"/>
              <a:gd name="T2" fmla="*/ 29 w 60"/>
              <a:gd name="T3" fmla="*/ 2 h 81"/>
              <a:gd name="T4" fmla="*/ 32 w 60"/>
              <a:gd name="T5" fmla="*/ 3 h 81"/>
              <a:gd name="T6" fmla="*/ 36 w 60"/>
              <a:gd name="T7" fmla="*/ 3 h 81"/>
              <a:gd name="T8" fmla="*/ 40 w 60"/>
              <a:gd name="T9" fmla="*/ 2 h 81"/>
              <a:gd name="T10" fmla="*/ 47 w 60"/>
              <a:gd name="T11" fmla="*/ 1 h 81"/>
              <a:gd name="T12" fmla="*/ 53 w 60"/>
              <a:gd name="T13" fmla="*/ 0 h 81"/>
              <a:gd name="T14" fmla="*/ 53 w 60"/>
              <a:gd name="T15" fmla="*/ 26 h 81"/>
              <a:gd name="T16" fmla="*/ 54 w 60"/>
              <a:gd name="T17" fmla="*/ 47 h 81"/>
              <a:gd name="T18" fmla="*/ 54 w 60"/>
              <a:gd name="T19" fmla="*/ 57 h 81"/>
              <a:gd name="T20" fmla="*/ 56 w 60"/>
              <a:gd name="T21" fmla="*/ 65 h 81"/>
              <a:gd name="T22" fmla="*/ 58 w 60"/>
              <a:gd name="T23" fmla="*/ 73 h 81"/>
              <a:gd name="T24" fmla="*/ 60 w 60"/>
              <a:gd name="T25" fmla="*/ 81 h 81"/>
              <a:gd name="T26" fmla="*/ 20 w 60"/>
              <a:gd name="T27" fmla="*/ 81 h 81"/>
              <a:gd name="T28" fmla="*/ 14 w 60"/>
              <a:gd name="T29" fmla="*/ 80 h 81"/>
              <a:gd name="T30" fmla="*/ 7 w 60"/>
              <a:gd name="T31" fmla="*/ 77 h 81"/>
              <a:gd name="T32" fmla="*/ 5 w 60"/>
              <a:gd name="T33" fmla="*/ 74 h 81"/>
              <a:gd name="T34" fmla="*/ 2 w 60"/>
              <a:gd name="T35" fmla="*/ 72 h 81"/>
              <a:gd name="T36" fmla="*/ 1 w 60"/>
              <a:gd name="T37" fmla="*/ 70 h 81"/>
              <a:gd name="T38" fmla="*/ 0 w 60"/>
              <a:gd name="T39" fmla="*/ 68 h 81"/>
              <a:gd name="T40" fmla="*/ 7 w 60"/>
              <a:gd name="T41" fmla="*/ 12 h 81"/>
              <a:gd name="T42" fmla="*/ 20 w 60"/>
              <a:gd name="T43" fmla="*/ 6 h 81"/>
              <a:gd name="T44" fmla="*/ 34 w 60"/>
              <a:gd name="T45" fmla="*/ 0 h 81"/>
              <a:gd name="T46" fmla="*/ 27 w 60"/>
              <a:gd name="T47" fmla="*/ 0 h 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60" h="81">
                <a:moveTo>
                  <a:pt x="27" y="0"/>
                </a:moveTo>
                <a:lnTo>
                  <a:pt x="29" y="2"/>
                </a:lnTo>
                <a:lnTo>
                  <a:pt x="32" y="3"/>
                </a:lnTo>
                <a:lnTo>
                  <a:pt x="36" y="3"/>
                </a:lnTo>
                <a:lnTo>
                  <a:pt x="40" y="2"/>
                </a:lnTo>
                <a:lnTo>
                  <a:pt x="47" y="1"/>
                </a:lnTo>
                <a:lnTo>
                  <a:pt x="53" y="0"/>
                </a:lnTo>
                <a:lnTo>
                  <a:pt x="53" y="26"/>
                </a:lnTo>
                <a:lnTo>
                  <a:pt x="54" y="47"/>
                </a:lnTo>
                <a:lnTo>
                  <a:pt x="54" y="57"/>
                </a:lnTo>
                <a:lnTo>
                  <a:pt x="56" y="65"/>
                </a:lnTo>
                <a:lnTo>
                  <a:pt x="58" y="73"/>
                </a:lnTo>
                <a:lnTo>
                  <a:pt x="60" y="81"/>
                </a:lnTo>
                <a:lnTo>
                  <a:pt x="20" y="81"/>
                </a:lnTo>
                <a:lnTo>
                  <a:pt x="14" y="80"/>
                </a:lnTo>
                <a:lnTo>
                  <a:pt x="7" y="77"/>
                </a:lnTo>
                <a:lnTo>
                  <a:pt x="5" y="74"/>
                </a:lnTo>
                <a:lnTo>
                  <a:pt x="2" y="72"/>
                </a:lnTo>
                <a:lnTo>
                  <a:pt x="1" y="70"/>
                </a:lnTo>
                <a:lnTo>
                  <a:pt x="0" y="68"/>
                </a:lnTo>
                <a:lnTo>
                  <a:pt x="7" y="12"/>
                </a:lnTo>
                <a:lnTo>
                  <a:pt x="20" y="6"/>
                </a:lnTo>
                <a:lnTo>
                  <a:pt x="34" y="0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17" name="Freeform 469"/>
          <p:cNvSpPr>
            <a:spLocks/>
          </p:cNvSpPr>
          <p:nvPr>
            <p:custDataLst>
              <p:tags r:id="rId307"/>
            </p:custDataLst>
          </p:nvPr>
        </p:nvSpPr>
        <p:spPr bwMode="auto">
          <a:xfrm>
            <a:off x="5959476" y="1844676"/>
            <a:ext cx="161925" cy="66675"/>
          </a:xfrm>
          <a:custGeom>
            <a:avLst/>
            <a:gdLst>
              <a:gd name="T0" fmla="*/ 250 w 370"/>
              <a:gd name="T1" fmla="*/ 117 h 129"/>
              <a:gd name="T2" fmla="*/ 258 w 370"/>
              <a:gd name="T3" fmla="*/ 119 h 129"/>
              <a:gd name="T4" fmla="*/ 277 w 370"/>
              <a:gd name="T5" fmla="*/ 123 h 129"/>
              <a:gd name="T6" fmla="*/ 295 w 370"/>
              <a:gd name="T7" fmla="*/ 127 h 129"/>
              <a:gd name="T8" fmla="*/ 303 w 370"/>
              <a:gd name="T9" fmla="*/ 129 h 129"/>
              <a:gd name="T10" fmla="*/ 370 w 370"/>
              <a:gd name="T11" fmla="*/ 97 h 129"/>
              <a:gd name="T12" fmla="*/ 358 w 370"/>
              <a:gd name="T13" fmla="*/ 75 h 129"/>
              <a:gd name="T14" fmla="*/ 345 w 370"/>
              <a:gd name="T15" fmla="*/ 48 h 129"/>
              <a:gd name="T16" fmla="*/ 335 w 370"/>
              <a:gd name="T17" fmla="*/ 27 h 129"/>
              <a:gd name="T18" fmla="*/ 330 w 370"/>
              <a:gd name="T19" fmla="*/ 18 h 129"/>
              <a:gd name="T20" fmla="*/ 300 w 370"/>
              <a:gd name="T21" fmla="*/ 15 h 129"/>
              <a:gd name="T22" fmla="*/ 257 w 370"/>
              <a:gd name="T23" fmla="*/ 9 h 129"/>
              <a:gd name="T24" fmla="*/ 214 w 370"/>
              <a:gd name="T25" fmla="*/ 2 h 129"/>
              <a:gd name="T26" fmla="*/ 183 w 370"/>
              <a:gd name="T27" fmla="*/ 0 h 129"/>
              <a:gd name="T28" fmla="*/ 179 w 370"/>
              <a:gd name="T29" fmla="*/ 0 h 129"/>
              <a:gd name="T30" fmla="*/ 176 w 370"/>
              <a:gd name="T31" fmla="*/ 1 h 129"/>
              <a:gd name="T32" fmla="*/ 172 w 370"/>
              <a:gd name="T33" fmla="*/ 2 h 129"/>
              <a:gd name="T34" fmla="*/ 170 w 370"/>
              <a:gd name="T35" fmla="*/ 3 h 129"/>
              <a:gd name="T36" fmla="*/ 162 w 370"/>
              <a:gd name="T37" fmla="*/ 7 h 129"/>
              <a:gd name="T38" fmla="*/ 150 w 370"/>
              <a:gd name="T39" fmla="*/ 12 h 129"/>
              <a:gd name="T40" fmla="*/ 147 w 370"/>
              <a:gd name="T41" fmla="*/ 21 h 129"/>
              <a:gd name="T42" fmla="*/ 140 w 370"/>
              <a:gd name="T43" fmla="*/ 35 h 129"/>
              <a:gd name="T44" fmla="*/ 134 w 370"/>
              <a:gd name="T45" fmla="*/ 48 h 129"/>
              <a:gd name="T46" fmla="*/ 131 w 370"/>
              <a:gd name="T47" fmla="*/ 55 h 129"/>
              <a:gd name="T48" fmla="*/ 122 w 370"/>
              <a:gd name="T49" fmla="*/ 54 h 129"/>
              <a:gd name="T50" fmla="*/ 111 w 370"/>
              <a:gd name="T51" fmla="*/ 49 h 129"/>
              <a:gd name="T52" fmla="*/ 98 w 370"/>
              <a:gd name="T53" fmla="*/ 44 h 129"/>
              <a:gd name="T54" fmla="*/ 84 w 370"/>
              <a:gd name="T55" fmla="*/ 38 h 129"/>
              <a:gd name="T56" fmla="*/ 60 w 370"/>
              <a:gd name="T57" fmla="*/ 26 h 129"/>
              <a:gd name="T58" fmla="*/ 44 w 370"/>
              <a:gd name="T59" fmla="*/ 18 h 129"/>
              <a:gd name="T60" fmla="*/ 32 w 370"/>
              <a:gd name="T61" fmla="*/ 25 h 129"/>
              <a:gd name="T62" fmla="*/ 21 w 370"/>
              <a:gd name="T63" fmla="*/ 33 h 129"/>
              <a:gd name="T64" fmla="*/ 16 w 370"/>
              <a:gd name="T65" fmla="*/ 37 h 129"/>
              <a:gd name="T66" fmla="*/ 12 w 370"/>
              <a:gd name="T67" fmla="*/ 41 h 129"/>
              <a:gd name="T68" fmla="*/ 9 w 370"/>
              <a:gd name="T69" fmla="*/ 46 h 129"/>
              <a:gd name="T70" fmla="*/ 5 w 370"/>
              <a:gd name="T71" fmla="*/ 52 h 129"/>
              <a:gd name="T72" fmla="*/ 3 w 370"/>
              <a:gd name="T73" fmla="*/ 57 h 129"/>
              <a:gd name="T74" fmla="*/ 1 w 370"/>
              <a:gd name="T75" fmla="*/ 63 h 129"/>
              <a:gd name="T76" fmla="*/ 0 w 370"/>
              <a:gd name="T77" fmla="*/ 69 h 129"/>
              <a:gd name="T78" fmla="*/ 0 w 370"/>
              <a:gd name="T79" fmla="*/ 75 h 129"/>
              <a:gd name="T80" fmla="*/ 1 w 370"/>
              <a:gd name="T81" fmla="*/ 82 h 129"/>
              <a:gd name="T82" fmla="*/ 3 w 370"/>
              <a:gd name="T83" fmla="*/ 88 h 129"/>
              <a:gd name="T84" fmla="*/ 6 w 370"/>
              <a:gd name="T85" fmla="*/ 96 h 129"/>
              <a:gd name="T86" fmla="*/ 11 w 370"/>
              <a:gd name="T87" fmla="*/ 103 h 129"/>
              <a:gd name="T88" fmla="*/ 20 w 370"/>
              <a:gd name="T89" fmla="*/ 101 h 129"/>
              <a:gd name="T90" fmla="*/ 33 w 370"/>
              <a:gd name="T91" fmla="*/ 99 h 129"/>
              <a:gd name="T92" fmla="*/ 50 w 370"/>
              <a:gd name="T93" fmla="*/ 97 h 129"/>
              <a:gd name="T94" fmla="*/ 69 w 370"/>
              <a:gd name="T95" fmla="*/ 95 h 129"/>
              <a:gd name="T96" fmla="*/ 102 w 370"/>
              <a:gd name="T97" fmla="*/ 92 h 129"/>
              <a:gd name="T98" fmla="*/ 117 w 370"/>
              <a:gd name="T99" fmla="*/ 91 h 129"/>
              <a:gd name="T100" fmla="*/ 137 w 370"/>
              <a:gd name="T101" fmla="*/ 92 h 129"/>
              <a:gd name="T102" fmla="*/ 152 w 370"/>
              <a:gd name="T103" fmla="*/ 94 h 129"/>
              <a:gd name="T104" fmla="*/ 166 w 370"/>
              <a:gd name="T105" fmla="*/ 97 h 129"/>
              <a:gd name="T106" fmla="*/ 177 w 370"/>
              <a:gd name="T107" fmla="*/ 100 h 129"/>
              <a:gd name="T108" fmla="*/ 189 w 370"/>
              <a:gd name="T109" fmla="*/ 104 h 129"/>
              <a:gd name="T110" fmla="*/ 201 w 370"/>
              <a:gd name="T111" fmla="*/ 108 h 129"/>
              <a:gd name="T112" fmla="*/ 217 w 370"/>
              <a:gd name="T113" fmla="*/ 110 h 129"/>
              <a:gd name="T114" fmla="*/ 237 w 370"/>
              <a:gd name="T115" fmla="*/ 111 h 129"/>
              <a:gd name="T116" fmla="*/ 237 w 370"/>
              <a:gd name="T117" fmla="*/ 117 h 129"/>
              <a:gd name="T118" fmla="*/ 250 w 370"/>
              <a:gd name="T119" fmla="*/ 117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70" h="129">
                <a:moveTo>
                  <a:pt x="250" y="117"/>
                </a:moveTo>
                <a:lnTo>
                  <a:pt x="258" y="119"/>
                </a:lnTo>
                <a:lnTo>
                  <a:pt x="277" y="123"/>
                </a:lnTo>
                <a:lnTo>
                  <a:pt x="295" y="127"/>
                </a:lnTo>
                <a:lnTo>
                  <a:pt x="303" y="129"/>
                </a:lnTo>
                <a:lnTo>
                  <a:pt x="370" y="97"/>
                </a:lnTo>
                <a:lnTo>
                  <a:pt x="358" y="75"/>
                </a:lnTo>
                <a:lnTo>
                  <a:pt x="345" y="48"/>
                </a:lnTo>
                <a:lnTo>
                  <a:pt x="335" y="27"/>
                </a:lnTo>
                <a:lnTo>
                  <a:pt x="330" y="18"/>
                </a:lnTo>
                <a:lnTo>
                  <a:pt x="300" y="15"/>
                </a:lnTo>
                <a:lnTo>
                  <a:pt x="257" y="9"/>
                </a:lnTo>
                <a:lnTo>
                  <a:pt x="214" y="2"/>
                </a:lnTo>
                <a:lnTo>
                  <a:pt x="183" y="0"/>
                </a:lnTo>
                <a:lnTo>
                  <a:pt x="179" y="0"/>
                </a:lnTo>
                <a:lnTo>
                  <a:pt x="176" y="1"/>
                </a:lnTo>
                <a:lnTo>
                  <a:pt x="172" y="2"/>
                </a:lnTo>
                <a:lnTo>
                  <a:pt x="170" y="3"/>
                </a:lnTo>
                <a:lnTo>
                  <a:pt x="162" y="7"/>
                </a:lnTo>
                <a:lnTo>
                  <a:pt x="150" y="12"/>
                </a:lnTo>
                <a:lnTo>
                  <a:pt x="147" y="21"/>
                </a:lnTo>
                <a:lnTo>
                  <a:pt x="140" y="35"/>
                </a:lnTo>
                <a:lnTo>
                  <a:pt x="134" y="48"/>
                </a:lnTo>
                <a:lnTo>
                  <a:pt x="131" y="55"/>
                </a:lnTo>
                <a:lnTo>
                  <a:pt x="122" y="54"/>
                </a:lnTo>
                <a:lnTo>
                  <a:pt x="111" y="49"/>
                </a:lnTo>
                <a:lnTo>
                  <a:pt x="98" y="44"/>
                </a:lnTo>
                <a:lnTo>
                  <a:pt x="84" y="38"/>
                </a:lnTo>
                <a:lnTo>
                  <a:pt x="60" y="26"/>
                </a:lnTo>
                <a:lnTo>
                  <a:pt x="44" y="18"/>
                </a:lnTo>
                <a:lnTo>
                  <a:pt x="32" y="25"/>
                </a:lnTo>
                <a:lnTo>
                  <a:pt x="21" y="33"/>
                </a:lnTo>
                <a:lnTo>
                  <a:pt x="16" y="37"/>
                </a:lnTo>
                <a:lnTo>
                  <a:pt x="12" y="41"/>
                </a:lnTo>
                <a:lnTo>
                  <a:pt x="9" y="46"/>
                </a:lnTo>
                <a:lnTo>
                  <a:pt x="5" y="52"/>
                </a:lnTo>
                <a:lnTo>
                  <a:pt x="3" y="57"/>
                </a:lnTo>
                <a:lnTo>
                  <a:pt x="1" y="63"/>
                </a:lnTo>
                <a:lnTo>
                  <a:pt x="0" y="69"/>
                </a:lnTo>
                <a:lnTo>
                  <a:pt x="0" y="75"/>
                </a:lnTo>
                <a:lnTo>
                  <a:pt x="1" y="82"/>
                </a:lnTo>
                <a:lnTo>
                  <a:pt x="3" y="88"/>
                </a:lnTo>
                <a:lnTo>
                  <a:pt x="6" y="96"/>
                </a:lnTo>
                <a:lnTo>
                  <a:pt x="11" y="103"/>
                </a:lnTo>
                <a:lnTo>
                  <a:pt x="20" y="101"/>
                </a:lnTo>
                <a:lnTo>
                  <a:pt x="33" y="99"/>
                </a:lnTo>
                <a:lnTo>
                  <a:pt x="50" y="97"/>
                </a:lnTo>
                <a:lnTo>
                  <a:pt x="69" y="95"/>
                </a:lnTo>
                <a:lnTo>
                  <a:pt x="102" y="92"/>
                </a:lnTo>
                <a:lnTo>
                  <a:pt x="117" y="91"/>
                </a:lnTo>
                <a:lnTo>
                  <a:pt x="137" y="92"/>
                </a:lnTo>
                <a:lnTo>
                  <a:pt x="152" y="94"/>
                </a:lnTo>
                <a:lnTo>
                  <a:pt x="166" y="97"/>
                </a:lnTo>
                <a:lnTo>
                  <a:pt x="177" y="100"/>
                </a:lnTo>
                <a:lnTo>
                  <a:pt x="189" y="104"/>
                </a:lnTo>
                <a:lnTo>
                  <a:pt x="201" y="108"/>
                </a:lnTo>
                <a:lnTo>
                  <a:pt x="217" y="110"/>
                </a:lnTo>
                <a:lnTo>
                  <a:pt x="237" y="111"/>
                </a:lnTo>
                <a:lnTo>
                  <a:pt x="237" y="117"/>
                </a:lnTo>
                <a:lnTo>
                  <a:pt x="250" y="11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18" name="Freeform 470"/>
          <p:cNvSpPr>
            <a:spLocks/>
          </p:cNvSpPr>
          <p:nvPr>
            <p:custDataLst>
              <p:tags r:id="rId308"/>
            </p:custDataLst>
          </p:nvPr>
        </p:nvSpPr>
        <p:spPr bwMode="auto">
          <a:xfrm>
            <a:off x="6370638" y="2565400"/>
            <a:ext cx="30162" cy="57150"/>
          </a:xfrm>
          <a:custGeom>
            <a:avLst/>
            <a:gdLst>
              <a:gd name="T0" fmla="*/ 27 w 80"/>
              <a:gd name="T1" fmla="*/ 1 h 94"/>
              <a:gd name="T2" fmla="*/ 34 w 80"/>
              <a:gd name="T3" fmla="*/ 0 h 94"/>
              <a:gd name="T4" fmla="*/ 41 w 80"/>
              <a:gd name="T5" fmla="*/ 0 h 94"/>
              <a:gd name="T6" fmla="*/ 47 w 80"/>
              <a:gd name="T7" fmla="*/ 2 h 94"/>
              <a:gd name="T8" fmla="*/ 54 w 80"/>
              <a:gd name="T9" fmla="*/ 4 h 94"/>
              <a:gd name="T10" fmla="*/ 60 w 80"/>
              <a:gd name="T11" fmla="*/ 6 h 94"/>
              <a:gd name="T12" fmla="*/ 66 w 80"/>
              <a:gd name="T13" fmla="*/ 8 h 94"/>
              <a:gd name="T14" fmla="*/ 73 w 80"/>
              <a:gd name="T15" fmla="*/ 8 h 94"/>
              <a:gd name="T16" fmla="*/ 80 w 80"/>
              <a:gd name="T17" fmla="*/ 7 h 94"/>
              <a:gd name="T18" fmla="*/ 80 w 80"/>
              <a:gd name="T19" fmla="*/ 38 h 94"/>
              <a:gd name="T20" fmla="*/ 75 w 80"/>
              <a:gd name="T21" fmla="*/ 44 h 94"/>
              <a:gd name="T22" fmla="*/ 69 w 80"/>
              <a:gd name="T23" fmla="*/ 51 h 94"/>
              <a:gd name="T24" fmla="*/ 64 w 80"/>
              <a:gd name="T25" fmla="*/ 59 h 94"/>
              <a:gd name="T26" fmla="*/ 58 w 80"/>
              <a:gd name="T27" fmla="*/ 68 h 94"/>
              <a:gd name="T28" fmla="*/ 51 w 80"/>
              <a:gd name="T29" fmla="*/ 84 h 94"/>
              <a:gd name="T30" fmla="*/ 47 w 80"/>
              <a:gd name="T31" fmla="*/ 94 h 94"/>
              <a:gd name="T32" fmla="*/ 43 w 80"/>
              <a:gd name="T33" fmla="*/ 93 h 94"/>
              <a:gd name="T34" fmla="*/ 40 w 80"/>
              <a:gd name="T35" fmla="*/ 92 h 94"/>
              <a:gd name="T36" fmla="*/ 37 w 80"/>
              <a:gd name="T37" fmla="*/ 91 h 94"/>
              <a:gd name="T38" fmla="*/ 34 w 80"/>
              <a:gd name="T39" fmla="*/ 89 h 94"/>
              <a:gd name="T40" fmla="*/ 29 w 80"/>
              <a:gd name="T41" fmla="*/ 84 h 94"/>
              <a:gd name="T42" fmla="*/ 23 w 80"/>
              <a:gd name="T43" fmla="*/ 78 h 94"/>
              <a:gd name="T44" fmla="*/ 19 w 80"/>
              <a:gd name="T45" fmla="*/ 72 h 94"/>
              <a:gd name="T46" fmla="*/ 13 w 80"/>
              <a:gd name="T47" fmla="*/ 65 h 94"/>
              <a:gd name="T48" fmla="*/ 7 w 80"/>
              <a:gd name="T49" fmla="*/ 60 h 94"/>
              <a:gd name="T50" fmla="*/ 0 w 80"/>
              <a:gd name="T51" fmla="*/ 56 h 94"/>
              <a:gd name="T52" fmla="*/ 8 w 80"/>
              <a:gd name="T53" fmla="*/ 41 h 94"/>
              <a:gd name="T54" fmla="*/ 13 w 80"/>
              <a:gd name="T55" fmla="*/ 29 h 94"/>
              <a:gd name="T56" fmla="*/ 19 w 80"/>
              <a:gd name="T57" fmla="*/ 17 h 94"/>
              <a:gd name="T58" fmla="*/ 27 w 80"/>
              <a:gd name="T59" fmla="*/ 1 h 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80" h="94">
                <a:moveTo>
                  <a:pt x="27" y="1"/>
                </a:moveTo>
                <a:lnTo>
                  <a:pt x="34" y="0"/>
                </a:lnTo>
                <a:lnTo>
                  <a:pt x="41" y="0"/>
                </a:lnTo>
                <a:lnTo>
                  <a:pt x="47" y="2"/>
                </a:lnTo>
                <a:lnTo>
                  <a:pt x="54" y="4"/>
                </a:lnTo>
                <a:lnTo>
                  <a:pt x="60" y="6"/>
                </a:lnTo>
                <a:lnTo>
                  <a:pt x="66" y="8"/>
                </a:lnTo>
                <a:lnTo>
                  <a:pt x="73" y="8"/>
                </a:lnTo>
                <a:lnTo>
                  <a:pt x="80" y="7"/>
                </a:lnTo>
                <a:lnTo>
                  <a:pt x="80" y="38"/>
                </a:lnTo>
                <a:lnTo>
                  <a:pt x="75" y="44"/>
                </a:lnTo>
                <a:lnTo>
                  <a:pt x="69" y="51"/>
                </a:lnTo>
                <a:lnTo>
                  <a:pt x="64" y="59"/>
                </a:lnTo>
                <a:lnTo>
                  <a:pt x="58" y="68"/>
                </a:lnTo>
                <a:lnTo>
                  <a:pt x="51" y="84"/>
                </a:lnTo>
                <a:lnTo>
                  <a:pt x="47" y="94"/>
                </a:lnTo>
                <a:lnTo>
                  <a:pt x="43" y="93"/>
                </a:lnTo>
                <a:lnTo>
                  <a:pt x="40" y="92"/>
                </a:lnTo>
                <a:lnTo>
                  <a:pt x="37" y="91"/>
                </a:lnTo>
                <a:lnTo>
                  <a:pt x="34" y="89"/>
                </a:lnTo>
                <a:lnTo>
                  <a:pt x="29" y="84"/>
                </a:lnTo>
                <a:lnTo>
                  <a:pt x="23" y="78"/>
                </a:lnTo>
                <a:lnTo>
                  <a:pt x="19" y="72"/>
                </a:lnTo>
                <a:lnTo>
                  <a:pt x="13" y="65"/>
                </a:lnTo>
                <a:lnTo>
                  <a:pt x="7" y="60"/>
                </a:lnTo>
                <a:lnTo>
                  <a:pt x="0" y="56"/>
                </a:lnTo>
                <a:lnTo>
                  <a:pt x="8" y="41"/>
                </a:lnTo>
                <a:lnTo>
                  <a:pt x="13" y="29"/>
                </a:lnTo>
                <a:lnTo>
                  <a:pt x="19" y="17"/>
                </a:lnTo>
                <a:lnTo>
                  <a:pt x="27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19" name="Freeform 471"/>
          <p:cNvSpPr>
            <a:spLocks/>
          </p:cNvSpPr>
          <p:nvPr>
            <p:custDataLst>
              <p:tags r:id="rId309"/>
            </p:custDataLst>
          </p:nvPr>
        </p:nvSpPr>
        <p:spPr bwMode="auto">
          <a:xfrm>
            <a:off x="6186488" y="4576763"/>
            <a:ext cx="61912" cy="57150"/>
          </a:xfrm>
          <a:custGeom>
            <a:avLst/>
            <a:gdLst>
              <a:gd name="T0" fmla="*/ 3 w 135"/>
              <a:gd name="T1" fmla="*/ 55 h 98"/>
              <a:gd name="T2" fmla="*/ 11 w 135"/>
              <a:gd name="T3" fmla="*/ 54 h 98"/>
              <a:gd name="T4" fmla="*/ 18 w 135"/>
              <a:gd name="T5" fmla="*/ 53 h 98"/>
              <a:gd name="T6" fmla="*/ 24 w 135"/>
              <a:gd name="T7" fmla="*/ 50 h 98"/>
              <a:gd name="T8" fmla="*/ 31 w 135"/>
              <a:gd name="T9" fmla="*/ 47 h 98"/>
              <a:gd name="T10" fmla="*/ 42 w 135"/>
              <a:gd name="T11" fmla="*/ 38 h 98"/>
              <a:gd name="T12" fmla="*/ 52 w 135"/>
              <a:gd name="T13" fmla="*/ 28 h 98"/>
              <a:gd name="T14" fmla="*/ 61 w 135"/>
              <a:gd name="T15" fmla="*/ 18 h 98"/>
              <a:gd name="T16" fmla="*/ 71 w 135"/>
              <a:gd name="T17" fmla="*/ 8 h 98"/>
              <a:gd name="T18" fmla="*/ 76 w 135"/>
              <a:gd name="T19" fmla="*/ 5 h 98"/>
              <a:gd name="T20" fmla="*/ 82 w 135"/>
              <a:gd name="T21" fmla="*/ 2 h 98"/>
              <a:gd name="T22" fmla="*/ 88 w 135"/>
              <a:gd name="T23" fmla="*/ 0 h 98"/>
              <a:gd name="T24" fmla="*/ 96 w 135"/>
              <a:gd name="T25" fmla="*/ 0 h 98"/>
              <a:gd name="T26" fmla="*/ 102 w 135"/>
              <a:gd name="T27" fmla="*/ 0 h 98"/>
              <a:gd name="T28" fmla="*/ 110 w 135"/>
              <a:gd name="T29" fmla="*/ 3 h 98"/>
              <a:gd name="T30" fmla="*/ 117 w 135"/>
              <a:gd name="T31" fmla="*/ 6 h 98"/>
              <a:gd name="T32" fmla="*/ 123 w 135"/>
              <a:gd name="T33" fmla="*/ 11 h 98"/>
              <a:gd name="T34" fmla="*/ 128 w 135"/>
              <a:gd name="T35" fmla="*/ 16 h 98"/>
              <a:gd name="T36" fmla="*/ 132 w 135"/>
              <a:gd name="T37" fmla="*/ 24 h 98"/>
              <a:gd name="T38" fmla="*/ 134 w 135"/>
              <a:gd name="T39" fmla="*/ 30 h 98"/>
              <a:gd name="T40" fmla="*/ 135 w 135"/>
              <a:gd name="T41" fmla="*/ 37 h 98"/>
              <a:gd name="T42" fmla="*/ 134 w 135"/>
              <a:gd name="T43" fmla="*/ 40 h 98"/>
              <a:gd name="T44" fmla="*/ 132 w 135"/>
              <a:gd name="T45" fmla="*/ 43 h 98"/>
              <a:gd name="T46" fmla="*/ 129 w 135"/>
              <a:gd name="T47" fmla="*/ 47 h 98"/>
              <a:gd name="T48" fmla="*/ 124 w 135"/>
              <a:gd name="T49" fmla="*/ 51 h 98"/>
              <a:gd name="T50" fmla="*/ 113 w 135"/>
              <a:gd name="T51" fmla="*/ 61 h 98"/>
              <a:gd name="T52" fmla="*/ 100 w 135"/>
              <a:gd name="T53" fmla="*/ 72 h 98"/>
              <a:gd name="T54" fmla="*/ 87 w 135"/>
              <a:gd name="T55" fmla="*/ 82 h 98"/>
              <a:gd name="T56" fmla="*/ 74 w 135"/>
              <a:gd name="T57" fmla="*/ 91 h 98"/>
              <a:gd name="T58" fmla="*/ 63 w 135"/>
              <a:gd name="T59" fmla="*/ 96 h 98"/>
              <a:gd name="T60" fmla="*/ 55 w 135"/>
              <a:gd name="T61" fmla="*/ 98 h 98"/>
              <a:gd name="T62" fmla="*/ 51 w 135"/>
              <a:gd name="T63" fmla="*/ 97 h 98"/>
              <a:gd name="T64" fmla="*/ 43 w 135"/>
              <a:gd name="T65" fmla="*/ 92 h 98"/>
              <a:gd name="T66" fmla="*/ 32 w 135"/>
              <a:gd name="T67" fmla="*/ 85 h 98"/>
              <a:gd name="T68" fmla="*/ 21 w 135"/>
              <a:gd name="T69" fmla="*/ 77 h 98"/>
              <a:gd name="T70" fmla="*/ 11 w 135"/>
              <a:gd name="T71" fmla="*/ 68 h 98"/>
              <a:gd name="T72" fmla="*/ 5 w 135"/>
              <a:gd name="T73" fmla="*/ 62 h 98"/>
              <a:gd name="T74" fmla="*/ 1 w 135"/>
              <a:gd name="T75" fmla="*/ 59 h 98"/>
              <a:gd name="T76" fmla="*/ 0 w 135"/>
              <a:gd name="T77" fmla="*/ 57 h 98"/>
              <a:gd name="T78" fmla="*/ 0 w 135"/>
              <a:gd name="T79" fmla="*/ 56 h 98"/>
              <a:gd name="T80" fmla="*/ 3 w 135"/>
              <a:gd name="T81" fmla="*/ 55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20" name="Freeform 472"/>
          <p:cNvSpPr>
            <a:spLocks/>
          </p:cNvSpPr>
          <p:nvPr>
            <p:custDataLst>
              <p:tags r:id="rId310"/>
            </p:custDataLst>
          </p:nvPr>
        </p:nvSpPr>
        <p:spPr bwMode="auto">
          <a:xfrm>
            <a:off x="5957888" y="1892300"/>
            <a:ext cx="131762" cy="84138"/>
          </a:xfrm>
          <a:custGeom>
            <a:avLst/>
            <a:gdLst>
              <a:gd name="T0" fmla="*/ 192 w 312"/>
              <a:gd name="T1" fmla="*/ 155 h 155"/>
              <a:gd name="T2" fmla="*/ 194 w 312"/>
              <a:gd name="T3" fmla="*/ 151 h 155"/>
              <a:gd name="T4" fmla="*/ 197 w 312"/>
              <a:gd name="T5" fmla="*/ 148 h 155"/>
              <a:gd name="T6" fmla="*/ 200 w 312"/>
              <a:gd name="T7" fmla="*/ 145 h 155"/>
              <a:gd name="T8" fmla="*/ 203 w 312"/>
              <a:gd name="T9" fmla="*/ 142 h 155"/>
              <a:gd name="T10" fmla="*/ 211 w 312"/>
              <a:gd name="T11" fmla="*/ 137 h 155"/>
              <a:gd name="T12" fmla="*/ 220 w 312"/>
              <a:gd name="T13" fmla="*/ 132 h 155"/>
              <a:gd name="T14" fmla="*/ 238 w 312"/>
              <a:gd name="T15" fmla="*/ 123 h 155"/>
              <a:gd name="T16" fmla="*/ 253 w 312"/>
              <a:gd name="T17" fmla="*/ 117 h 155"/>
              <a:gd name="T18" fmla="*/ 255 w 312"/>
              <a:gd name="T19" fmla="*/ 109 h 155"/>
              <a:gd name="T20" fmla="*/ 260 w 312"/>
              <a:gd name="T21" fmla="*/ 97 h 155"/>
              <a:gd name="T22" fmla="*/ 264 w 312"/>
              <a:gd name="T23" fmla="*/ 91 h 155"/>
              <a:gd name="T24" fmla="*/ 267 w 312"/>
              <a:gd name="T25" fmla="*/ 86 h 155"/>
              <a:gd name="T26" fmla="*/ 269 w 312"/>
              <a:gd name="T27" fmla="*/ 82 h 155"/>
              <a:gd name="T28" fmla="*/ 272 w 312"/>
              <a:gd name="T29" fmla="*/ 81 h 155"/>
              <a:gd name="T30" fmla="*/ 312 w 312"/>
              <a:gd name="T31" fmla="*/ 44 h 155"/>
              <a:gd name="T32" fmla="*/ 312 w 312"/>
              <a:gd name="T33" fmla="*/ 39 h 155"/>
              <a:gd name="T34" fmla="*/ 310 w 312"/>
              <a:gd name="T35" fmla="*/ 35 h 155"/>
              <a:gd name="T36" fmla="*/ 306 w 312"/>
              <a:gd name="T37" fmla="*/ 32 h 155"/>
              <a:gd name="T38" fmla="*/ 302 w 312"/>
              <a:gd name="T39" fmla="*/ 30 h 155"/>
              <a:gd name="T40" fmla="*/ 291 w 312"/>
              <a:gd name="T41" fmla="*/ 28 h 155"/>
              <a:gd name="T42" fmla="*/ 280 w 312"/>
              <a:gd name="T43" fmla="*/ 27 h 155"/>
              <a:gd name="T44" fmla="*/ 268 w 312"/>
              <a:gd name="T45" fmla="*/ 27 h 155"/>
              <a:gd name="T46" fmla="*/ 259 w 312"/>
              <a:gd name="T47" fmla="*/ 27 h 155"/>
              <a:gd name="T48" fmla="*/ 256 w 312"/>
              <a:gd name="T49" fmla="*/ 26 h 155"/>
              <a:gd name="T50" fmla="*/ 253 w 312"/>
              <a:gd name="T51" fmla="*/ 25 h 155"/>
              <a:gd name="T52" fmla="*/ 252 w 312"/>
              <a:gd name="T53" fmla="*/ 23 h 155"/>
              <a:gd name="T54" fmla="*/ 253 w 312"/>
              <a:gd name="T55" fmla="*/ 20 h 155"/>
              <a:gd name="T56" fmla="*/ 232 w 312"/>
              <a:gd name="T57" fmla="*/ 19 h 155"/>
              <a:gd name="T58" fmla="*/ 216 w 312"/>
              <a:gd name="T59" fmla="*/ 17 h 155"/>
              <a:gd name="T60" fmla="*/ 202 w 312"/>
              <a:gd name="T61" fmla="*/ 13 h 155"/>
              <a:gd name="T62" fmla="*/ 189 w 312"/>
              <a:gd name="T63" fmla="*/ 9 h 155"/>
              <a:gd name="T64" fmla="*/ 177 w 312"/>
              <a:gd name="T65" fmla="*/ 6 h 155"/>
              <a:gd name="T66" fmla="*/ 163 w 312"/>
              <a:gd name="T67" fmla="*/ 3 h 155"/>
              <a:gd name="T68" fmla="*/ 146 w 312"/>
              <a:gd name="T69" fmla="*/ 1 h 155"/>
              <a:gd name="T70" fmla="*/ 126 w 312"/>
              <a:gd name="T71" fmla="*/ 0 h 155"/>
              <a:gd name="T72" fmla="*/ 110 w 312"/>
              <a:gd name="T73" fmla="*/ 1 h 155"/>
              <a:gd name="T74" fmla="*/ 74 w 312"/>
              <a:gd name="T75" fmla="*/ 4 h 155"/>
              <a:gd name="T76" fmla="*/ 53 w 312"/>
              <a:gd name="T77" fmla="*/ 6 h 155"/>
              <a:gd name="T78" fmla="*/ 34 w 312"/>
              <a:gd name="T79" fmla="*/ 8 h 155"/>
              <a:gd name="T80" fmla="*/ 18 w 312"/>
              <a:gd name="T81" fmla="*/ 10 h 155"/>
              <a:gd name="T82" fmla="*/ 7 w 312"/>
              <a:gd name="T83" fmla="*/ 12 h 155"/>
              <a:gd name="T84" fmla="*/ 9 w 312"/>
              <a:gd name="T85" fmla="*/ 17 h 155"/>
              <a:gd name="T86" fmla="*/ 11 w 312"/>
              <a:gd name="T87" fmla="*/ 19 h 155"/>
              <a:gd name="T88" fmla="*/ 13 w 312"/>
              <a:gd name="T89" fmla="*/ 19 h 155"/>
              <a:gd name="T90" fmla="*/ 15 w 312"/>
              <a:gd name="T91" fmla="*/ 20 h 155"/>
              <a:gd name="T92" fmla="*/ 18 w 312"/>
              <a:gd name="T93" fmla="*/ 20 h 155"/>
              <a:gd name="T94" fmla="*/ 19 w 312"/>
              <a:gd name="T95" fmla="*/ 20 h 155"/>
              <a:gd name="T96" fmla="*/ 20 w 312"/>
              <a:gd name="T97" fmla="*/ 22 h 155"/>
              <a:gd name="T98" fmla="*/ 20 w 312"/>
              <a:gd name="T99" fmla="*/ 26 h 155"/>
              <a:gd name="T100" fmla="*/ 20 w 312"/>
              <a:gd name="T101" fmla="*/ 30 h 155"/>
              <a:gd name="T102" fmla="*/ 19 w 312"/>
              <a:gd name="T103" fmla="*/ 35 h 155"/>
              <a:gd name="T104" fmla="*/ 18 w 312"/>
              <a:gd name="T105" fmla="*/ 39 h 155"/>
              <a:gd name="T106" fmla="*/ 15 w 312"/>
              <a:gd name="T107" fmla="*/ 42 h 155"/>
              <a:gd name="T108" fmla="*/ 12 w 312"/>
              <a:gd name="T109" fmla="*/ 45 h 155"/>
              <a:gd name="T110" fmla="*/ 9 w 312"/>
              <a:gd name="T111" fmla="*/ 48 h 155"/>
              <a:gd name="T112" fmla="*/ 4 w 312"/>
              <a:gd name="T113" fmla="*/ 49 h 155"/>
              <a:gd name="T114" fmla="*/ 0 w 312"/>
              <a:gd name="T115" fmla="*/ 50 h 155"/>
              <a:gd name="T116" fmla="*/ 74 w 312"/>
              <a:gd name="T117" fmla="*/ 68 h 155"/>
              <a:gd name="T118" fmla="*/ 87 w 312"/>
              <a:gd name="T119" fmla="*/ 111 h 155"/>
              <a:gd name="T120" fmla="*/ 166 w 312"/>
              <a:gd name="T121" fmla="*/ 123 h 155"/>
              <a:gd name="T122" fmla="*/ 192 w 312"/>
              <a:gd name="T123" fmla="*/ 155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12" h="155">
                <a:moveTo>
                  <a:pt x="192" y="155"/>
                </a:moveTo>
                <a:lnTo>
                  <a:pt x="194" y="151"/>
                </a:lnTo>
                <a:lnTo>
                  <a:pt x="197" y="148"/>
                </a:lnTo>
                <a:lnTo>
                  <a:pt x="200" y="145"/>
                </a:lnTo>
                <a:lnTo>
                  <a:pt x="203" y="142"/>
                </a:lnTo>
                <a:lnTo>
                  <a:pt x="211" y="137"/>
                </a:lnTo>
                <a:lnTo>
                  <a:pt x="220" y="132"/>
                </a:lnTo>
                <a:lnTo>
                  <a:pt x="238" y="123"/>
                </a:lnTo>
                <a:lnTo>
                  <a:pt x="253" y="117"/>
                </a:lnTo>
                <a:lnTo>
                  <a:pt x="255" y="109"/>
                </a:lnTo>
                <a:lnTo>
                  <a:pt x="260" y="97"/>
                </a:lnTo>
                <a:lnTo>
                  <a:pt x="264" y="91"/>
                </a:lnTo>
                <a:lnTo>
                  <a:pt x="267" y="86"/>
                </a:lnTo>
                <a:lnTo>
                  <a:pt x="269" y="82"/>
                </a:lnTo>
                <a:lnTo>
                  <a:pt x="272" y="81"/>
                </a:lnTo>
                <a:lnTo>
                  <a:pt x="312" y="44"/>
                </a:lnTo>
                <a:lnTo>
                  <a:pt x="312" y="39"/>
                </a:lnTo>
                <a:lnTo>
                  <a:pt x="310" y="35"/>
                </a:lnTo>
                <a:lnTo>
                  <a:pt x="306" y="32"/>
                </a:lnTo>
                <a:lnTo>
                  <a:pt x="302" y="30"/>
                </a:lnTo>
                <a:lnTo>
                  <a:pt x="291" y="28"/>
                </a:lnTo>
                <a:lnTo>
                  <a:pt x="280" y="27"/>
                </a:lnTo>
                <a:lnTo>
                  <a:pt x="268" y="27"/>
                </a:lnTo>
                <a:lnTo>
                  <a:pt x="259" y="27"/>
                </a:lnTo>
                <a:lnTo>
                  <a:pt x="256" y="26"/>
                </a:lnTo>
                <a:lnTo>
                  <a:pt x="253" y="25"/>
                </a:lnTo>
                <a:lnTo>
                  <a:pt x="252" y="23"/>
                </a:lnTo>
                <a:lnTo>
                  <a:pt x="253" y="20"/>
                </a:lnTo>
                <a:lnTo>
                  <a:pt x="232" y="19"/>
                </a:lnTo>
                <a:lnTo>
                  <a:pt x="216" y="17"/>
                </a:lnTo>
                <a:lnTo>
                  <a:pt x="202" y="13"/>
                </a:lnTo>
                <a:lnTo>
                  <a:pt x="189" y="9"/>
                </a:lnTo>
                <a:lnTo>
                  <a:pt x="177" y="6"/>
                </a:lnTo>
                <a:lnTo>
                  <a:pt x="163" y="3"/>
                </a:lnTo>
                <a:lnTo>
                  <a:pt x="146" y="1"/>
                </a:lnTo>
                <a:lnTo>
                  <a:pt x="126" y="0"/>
                </a:lnTo>
                <a:lnTo>
                  <a:pt x="110" y="1"/>
                </a:lnTo>
                <a:lnTo>
                  <a:pt x="74" y="4"/>
                </a:lnTo>
                <a:lnTo>
                  <a:pt x="53" y="6"/>
                </a:lnTo>
                <a:lnTo>
                  <a:pt x="34" y="8"/>
                </a:lnTo>
                <a:lnTo>
                  <a:pt x="18" y="10"/>
                </a:lnTo>
                <a:lnTo>
                  <a:pt x="7" y="12"/>
                </a:lnTo>
                <a:lnTo>
                  <a:pt x="9" y="17"/>
                </a:lnTo>
                <a:lnTo>
                  <a:pt x="11" y="19"/>
                </a:lnTo>
                <a:lnTo>
                  <a:pt x="13" y="19"/>
                </a:lnTo>
                <a:lnTo>
                  <a:pt x="15" y="20"/>
                </a:lnTo>
                <a:lnTo>
                  <a:pt x="18" y="20"/>
                </a:lnTo>
                <a:lnTo>
                  <a:pt x="19" y="20"/>
                </a:lnTo>
                <a:lnTo>
                  <a:pt x="20" y="22"/>
                </a:lnTo>
                <a:lnTo>
                  <a:pt x="20" y="26"/>
                </a:lnTo>
                <a:lnTo>
                  <a:pt x="20" y="30"/>
                </a:lnTo>
                <a:lnTo>
                  <a:pt x="19" y="35"/>
                </a:lnTo>
                <a:lnTo>
                  <a:pt x="18" y="39"/>
                </a:lnTo>
                <a:lnTo>
                  <a:pt x="15" y="42"/>
                </a:lnTo>
                <a:lnTo>
                  <a:pt x="12" y="45"/>
                </a:lnTo>
                <a:lnTo>
                  <a:pt x="9" y="48"/>
                </a:lnTo>
                <a:lnTo>
                  <a:pt x="4" y="49"/>
                </a:lnTo>
                <a:lnTo>
                  <a:pt x="0" y="50"/>
                </a:lnTo>
                <a:lnTo>
                  <a:pt x="74" y="68"/>
                </a:lnTo>
                <a:lnTo>
                  <a:pt x="87" y="111"/>
                </a:lnTo>
                <a:lnTo>
                  <a:pt x="166" y="123"/>
                </a:lnTo>
                <a:lnTo>
                  <a:pt x="192" y="1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21" name="Freeform 473"/>
          <p:cNvSpPr>
            <a:spLocks/>
          </p:cNvSpPr>
          <p:nvPr>
            <p:custDataLst>
              <p:tags r:id="rId311"/>
            </p:custDataLst>
          </p:nvPr>
        </p:nvSpPr>
        <p:spPr bwMode="auto">
          <a:xfrm>
            <a:off x="5664200" y="2078039"/>
            <a:ext cx="19050" cy="60325"/>
          </a:xfrm>
          <a:custGeom>
            <a:avLst/>
            <a:gdLst>
              <a:gd name="T0" fmla="*/ 0 w 46"/>
              <a:gd name="T1" fmla="*/ 25 h 50"/>
              <a:gd name="T2" fmla="*/ 2 w 46"/>
              <a:gd name="T3" fmla="*/ 18 h 50"/>
              <a:gd name="T4" fmla="*/ 1 w 46"/>
              <a:gd name="T5" fmla="*/ 14 h 50"/>
              <a:gd name="T6" fmla="*/ 2 w 46"/>
              <a:gd name="T7" fmla="*/ 13 h 50"/>
              <a:gd name="T8" fmla="*/ 3 w 46"/>
              <a:gd name="T9" fmla="*/ 13 h 50"/>
              <a:gd name="T10" fmla="*/ 6 w 46"/>
              <a:gd name="T11" fmla="*/ 12 h 50"/>
              <a:gd name="T12" fmla="*/ 13 w 46"/>
              <a:gd name="T13" fmla="*/ 12 h 50"/>
              <a:gd name="T14" fmla="*/ 46 w 46"/>
              <a:gd name="T15" fmla="*/ 0 h 50"/>
              <a:gd name="T16" fmla="*/ 46 w 46"/>
              <a:gd name="T17" fmla="*/ 50 h 50"/>
              <a:gd name="T18" fmla="*/ 40 w 46"/>
              <a:gd name="T19" fmla="*/ 49 h 50"/>
              <a:gd name="T20" fmla="*/ 33 w 46"/>
              <a:gd name="T21" fmla="*/ 45 h 50"/>
              <a:gd name="T22" fmla="*/ 25 w 46"/>
              <a:gd name="T23" fmla="*/ 41 h 50"/>
              <a:gd name="T24" fmla="*/ 17 w 46"/>
              <a:gd name="T25" fmla="*/ 37 h 50"/>
              <a:gd name="T26" fmla="*/ 5 w 46"/>
              <a:gd name="T27" fmla="*/ 28 h 50"/>
              <a:gd name="T28" fmla="*/ 0 w 46"/>
              <a:gd name="T29" fmla="*/ 25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46" h="50">
                <a:moveTo>
                  <a:pt x="0" y="25"/>
                </a:moveTo>
                <a:lnTo>
                  <a:pt x="2" y="18"/>
                </a:lnTo>
                <a:lnTo>
                  <a:pt x="1" y="14"/>
                </a:lnTo>
                <a:lnTo>
                  <a:pt x="2" y="13"/>
                </a:lnTo>
                <a:lnTo>
                  <a:pt x="3" y="13"/>
                </a:lnTo>
                <a:lnTo>
                  <a:pt x="6" y="12"/>
                </a:lnTo>
                <a:lnTo>
                  <a:pt x="13" y="12"/>
                </a:lnTo>
                <a:lnTo>
                  <a:pt x="46" y="0"/>
                </a:lnTo>
                <a:lnTo>
                  <a:pt x="46" y="50"/>
                </a:lnTo>
                <a:lnTo>
                  <a:pt x="40" y="49"/>
                </a:lnTo>
                <a:lnTo>
                  <a:pt x="33" y="45"/>
                </a:lnTo>
                <a:lnTo>
                  <a:pt x="25" y="41"/>
                </a:lnTo>
                <a:lnTo>
                  <a:pt x="17" y="37"/>
                </a:lnTo>
                <a:lnTo>
                  <a:pt x="5" y="28"/>
                </a:lnTo>
                <a:lnTo>
                  <a:pt x="0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22" name="Freeform 474"/>
          <p:cNvSpPr>
            <a:spLocks/>
          </p:cNvSpPr>
          <p:nvPr>
            <p:custDataLst>
              <p:tags r:id="rId312"/>
            </p:custDataLst>
          </p:nvPr>
        </p:nvSpPr>
        <p:spPr bwMode="auto">
          <a:xfrm>
            <a:off x="6361113" y="3962400"/>
            <a:ext cx="69850" cy="241300"/>
          </a:xfrm>
          <a:custGeom>
            <a:avLst/>
            <a:gdLst>
              <a:gd name="T0" fmla="*/ 10 w 166"/>
              <a:gd name="T1" fmla="*/ 282 h 456"/>
              <a:gd name="T2" fmla="*/ 19 w 166"/>
              <a:gd name="T3" fmla="*/ 290 h 456"/>
              <a:gd name="T4" fmla="*/ 37 w 166"/>
              <a:gd name="T5" fmla="*/ 300 h 456"/>
              <a:gd name="T6" fmla="*/ 58 w 166"/>
              <a:gd name="T7" fmla="*/ 306 h 456"/>
              <a:gd name="T8" fmla="*/ 70 w 166"/>
              <a:gd name="T9" fmla="*/ 312 h 456"/>
              <a:gd name="T10" fmla="*/ 80 w 166"/>
              <a:gd name="T11" fmla="*/ 320 h 456"/>
              <a:gd name="T12" fmla="*/ 86 w 166"/>
              <a:gd name="T13" fmla="*/ 331 h 456"/>
              <a:gd name="T14" fmla="*/ 86 w 166"/>
              <a:gd name="T15" fmla="*/ 347 h 456"/>
              <a:gd name="T16" fmla="*/ 78 w 166"/>
              <a:gd name="T17" fmla="*/ 363 h 456"/>
              <a:gd name="T18" fmla="*/ 68 w 166"/>
              <a:gd name="T19" fmla="*/ 375 h 456"/>
              <a:gd name="T20" fmla="*/ 62 w 166"/>
              <a:gd name="T21" fmla="*/ 388 h 456"/>
              <a:gd name="T22" fmla="*/ 60 w 166"/>
              <a:gd name="T23" fmla="*/ 400 h 456"/>
              <a:gd name="T24" fmla="*/ 64 w 166"/>
              <a:gd name="T25" fmla="*/ 411 h 456"/>
              <a:gd name="T26" fmla="*/ 76 w 166"/>
              <a:gd name="T27" fmla="*/ 424 h 456"/>
              <a:gd name="T28" fmla="*/ 104 w 166"/>
              <a:gd name="T29" fmla="*/ 445 h 456"/>
              <a:gd name="T30" fmla="*/ 120 w 166"/>
              <a:gd name="T31" fmla="*/ 443 h 456"/>
              <a:gd name="T32" fmla="*/ 120 w 166"/>
              <a:gd name="T33" fmla="*/ 423 h 456"/>
              <a:gd name="T34" fmla="*/ 131 w 166"/>
              <a:gd name="T35" fmla="*/ 413 h 456"/>
              <a:gd name="T36" fmla="*/ 145 w 166"/>
              <a:gd name="T37" fmla="*/ 407 h 456"/>
              <a:gd name="T38" fmla="*/ 153 w 166"/>
              <a:gd name="T39" fmla="*/ 402 h 456"/>
              <a:gd name="T40" fmla="*/ 160 w 166"/>
              <a:gd name="T41" fmla="*/ 393 h 456"/>
              <a:gd name="T42" fmla="*/ 166 w 166"/>
              <a:gd name="T43" fmla="*/ 375 h 456"/>
              <a:gd name="T44" fmla="*/ 165 w 166"/>
              <a:gd name="T45" fmla="*/ 350 h 456"/>
              <a:gd name="T46" fmla="*/ 158 w 166"/>
              <a:gd name="T47" fmla="*/ 328 h 456"/>
              <a:gd name="T48" fmla="*/ 148 w 166"/>
              <a:gd name="T49" fmla="*/ 307 h 456"/>
              <a:gd name="T50" fmla="*/ 141 w 166"/>
              <a:gd name="T51" fmla="*/ 284 h 456"/>
              <a:gd name="T52" fmla="*/ 135 w 166"/>
              <a:gd name="T53" fmla="*/ 269 h 456"/>
              <a:gd name="T54" fmla="*/ 118 w 166"/>
              <a:gd name="T55" fmla="*/ 251 h 456"/>
              <a:gd name="T56" fmla="*/ 97 w 166"/>
              <a:gd name="T57" fmla="*/ 224 h 456"/>
              <a:gd name="T58" fmla="*/ 85 w 166"/>
              <a:gd name="T59" fmla="*/ 206 h 456"/>
              <a:gd name="T60" fmla="*/ 80 w 166"/>
              <a:gd name="T61" fmla="*/ 195 h 456"/>
              <a:gd name="T62" fmla="*/ 81 w 166"/>
              <a:gd name="T63" fmla="*/ 177 h 456"/>
              <a:gd name="T64" fmla="*/ 88 w 166"/>
              <a:gd name="T65" fmla="*/ 147 h 456"/>
              <a:gd name="T66" fmla="*/ 96 w 166"/>
              <a:gd name="T67" fmla="*/ 129 h 456"/>
              <a:gd name="T68" fmla="*/ 98 w 166"/>
              <a:gd name="T69" fmla="*/ 113 h 456"/>
              <a:gd name="T70" fmla="*/ 95 w 166"/>
              <a:gd name="T71" fmla="*/ 82 h 456"/>
              <a:gd name="T72" fmla="*/ 92 w 166"/>
              <a:gd name="T73" fmla="*/ 45 h 456"/>
              <a:gd name="T74" fmla="*/ 89 w 166"/>
              <a:gd name="T75" fmla="*/ 18 h 456"/>
              <a:gd name="T76" fmla="*/ 71 w 166"/>
              <a:gd name="T77" fmla="*/ 8 h 456"/>
              <a:gd name="T78" fmla="*/ 33 w 166"/>
              <a:gd name="T79" fmla="*/ 4 h 456"/>
              <a:gd name="T80" fmla="*/ 12 w 166"/>
              <a:gd name="T81" fmla="*/ 10 h 456"/>
              <a:gd name="T82" fmla="*/ 22 w 166"/>
              <a:gd name="T83" fmla="*/ 25 h 456"/>
              <a:gd name="T84" fmla="*/ 33 w 166"/>
              <a:gd name="T85" fmla="*/ 30 h 456"/>
              <a:gd name="T86" fmla="*/ 40 w 166"/>
              <a:gd name="T87" fmla="*/ 44 h 456"/>
              <a:gd name="T88" fmla="*/ 40 w 166"/>
              <a:gd name="T89" fmla="*/ 64 h 456"/>
              <a:gd name="T90" fmla="*/ 40 w 166"/>
              <a:gd name="T91" fmla="*/ 78 h 456"/>
              <a:gd name="T92" fmla="*/ 36 w 166"/>
              <a:gd name="T93" fmla="*/ 85 h 456"/>
              <a:gd name="T94" fmla="*/ 29 w 166"/>
              <a:gd name="T95" fmla="*/ 95 h 456"/>
              <a:gd name="T96" fmla="*/ 15 w 166"/>
              <a:gd name="T97" fmla="*/ 109 h 456"/>
              <a:gd name="T98" fmla="*/ 3 w 166"/>
              <a:gd name="T99" fmla="*/ 122 h 456"/>
              <a:gd name="T100" fmla="*/ 7 w 166"/>
              <a:gd name="T101" fmla="*/ 277 h 4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66" h="456">
                <a:moveTo>
                  <a:pt x="7" y="277"/>
                </a:moveTo>
                <a:lnTo>
                  <a:pt x="10" y="282"/>
                </a:lnTo>
                <a:lnTo>
                  <a:pt x="14" y="287"/>
                </a:lnTo>
                <a:lnTo>
                  <a:pt x="19" y="290"/>
                </a:lnTo>
                <a:lnTo>
                  <a:pt x="25" y="294"/>
                </a:lnTo>
                <a:lnTo>
                  <a:pt x="37" y="300"/>
                </a:lnTo>
                <a:lnTo>
                  <a:pt x="52" y="304"/>
                </a:lnTo>
                <a:lnTo>
                  <a:pt x="58" y="306"/>
                </a:lnTo>
                <a:lnTo>
                  <a:pt x="65" y="309"/>
                </a:lnTo>
                <a:lnTo>
                  <a:pt x="70" y="312"/>
                </a:lnTo>
                <a:lnTo>
                  <a:pt x="76" y="316"/>
                </a:lnTo>
                <a:lnTo>
                  <a:pt x="80" y="320"/>
                </a:lnTo>
                <a:lnTo>
                  <a:pt x="84" y="325"/>
                </a:lnTo>
                <a:lnTo>
                  <a:pt x="86" y="331"/>
                </a:lnTo>
                <a:lnTo>
                  <a:pt x="87" y="339"/>
                </a:lnTo>
                <a:lnTo>
                  <a:pt x="86" y="347"/>
                </a:lnTo>
                <a:lnTo>
                  <a:pt x="82" y="356"/>
                </a:lnTo>
                <a:lnTo>
                  <a:pt x="78" y="363"/>
                </a:lnTo>
                <a:lnTo>
                  <a:pt x="74" y="369"/>
                </a:lnTo>
                <a:lnTo>
                  <a:pt x="68" y="375"/>
                </a:lnTo>
                <a:lnTo>
                  <a:pt x="64" y="381"/>
                </a:lnTo>
                <a:lnTo>
                  <a:pt x="62" y="388"/>
                </a:lnTo>
                <a:lnTo>
                  <a:pt x="60" y="394"/>
                </a:lnTo>
                <a:lnTo>
                  <a:pt x="60" y="400"/>
                </a:lnTo>
                <a:lnTo>
                  <a:pt x="62" y="405"/>
                </a:lnTo>
                <a:lnTo>
                  <a:pt x="64" y="411"/>
                </a:lnTo>
                <a:lnTo>
                  <a:pt x="67" y="416"/>
                </a:lnTo>
                <a:lnTo>
                  <a:pt x="76" y="424"/>
                </a:lnTo>
                <a:lnTo>
                  <a:pt x="85" y="432"/>
                </a:lnTo>
                <a:lnTo>
                  <a:pt x="104" y="445"/>
                </a:lnTo>
                <a:lnTo>
                  <a:pt x="120" y="456"/>
                </a:lnTo>
                <a:lnTo>
                  <a:pt x="120" y="443"/>
                </a:lnTo>
                <a:lnTo>
                  <a:pt x="120" y="432"/>
                </a:lnTo>
                <a:lnTo>
                  <a:pt x="120" y="423"/>
                </a:lnTo>
                <a:lnTo>
                  <a:pt x="120" y="413"/>
                </a:lnTo>
                <a:lnTo>
                  <a:pt x="131" y="413"/>
                </a:lnTo>
                <a:lnTo>
                  <a:pt x="141" y="410"/>
                </a:lnTo>
                <a:lnTo>
                  <a:pt x="145" y="407"/>
                </a:lnTo>
                <a:lnTo>
                  <a:pt x="149" y="405"/>
                </a:lnTo>
                <a:lnTo>
                  <a:pt x="153" y="402"/>
                </a:lnTo>
                <a:lnTo>
                  <a:pt x="155" y="399"/>
                </a:lnTo>
                <a:lnTo>
                  <a:pt x="160" y="393"/>
                </a:lnTo>
                <a:lnTo>
                  <a:pt x="164" y="384"/>
                </a:lnTo>
                <a:lnTo>
                  <a:pt x="166" y="375"/>
                </a:lnTo>
                <a:lnTo>
                  <a:pt x="166" y="364"/>
                </a:lnTo>
                <a:lnTo>
                  <a:pt x="165" y="350"/>
                </a:lnTo>
                <a:lnTo>
                  <a:pt x="163" y="339"/>
                </a:lnTo>
                <a:lnTo>
                  <a:pt x="158" y="328"/>
                </a:lnTo>
                <a:lnTo>
                  <a:pt x="153" y="318"/>
                </a:lnTo>
                <a:lnTo>
                  <a:pt x="148" y="307"/>
                </a:lnTo>
                <a:lnTo>
                  <a:pt x="144" y="296"/>
                </a:lnTo>
                <a:lnTo>
                  <a:pt x="141" y="284"/>
                </a:lnTo>
                <a:lnTo>
                  <a:pt x="140" y="271"/>
                </a:lnTo>
                <a:lnTo>
                  <a:pt x="135" y="269"/>
                </a:lnTo>
                <a:lnTo>
                  <a:pt x="127" y="261"/>
                </a:lnTo>
                <a:lnTo>
                  <a:pt x="118" y="251"/>
                </a:lnTo>
                <a:lnTo>
                  <a:pt x="108" y="238"/>
                </a:lnTo>
                <a:lnTo>
                  <a:pt x="97" y="224"/>
                </a:lnTo>
                <a:lnTo>
                  <a:pt x="88" y="211"/>
                </a:lnTo>
                <a:lnTo>
                  <a:pt x="85" y="206"/>
                </a:lnTo>
                <a:lnTo>
                  <a:pt x="82" y="200"/>
                </a:lnTo>
                <a:lnTo>
                  <a:pt x="80" y="195"/>
                </a:lnTo>
                <a:lnTo>
                  <a:pt x="80" y="192"/>
                </a:lnTo>
                <a:lnTo>
                  <a:pt x="81" y="177"/>
                </a:lnTo>
                <a:lnTo>
                  <a:pt x="85" y="157"/>
                </a:lnTo>
                <a:lnTo>
                  <a:pt x="88" y="147"/>
                </a:lnTo>
                <a:lnTo>
                  <a:pt x="91" y="138"/>
                </a:lnTo>
                <a:lnTo>
                  <a:pt x="96" y="129"/>
                </a:lnTo>
                <a:lnTo>
                  <a:pt x="100" y="123"/>
                </a:lnTo>
                <a:lnTo>
                  <a:pt x="98" y="113"/>
                </a:lnTo>
                <a:lnTo>
                  <a:pt x="96" y="99"/>
                </a:lnTo>
                <a:lnTo>
                  <a:pt x="95" y="82"/>
                </a:lnTo>
                <a:lnTo>
                  <a:pt x="93" y="63"/>
                </a:lnTo>
                <a:lnTo>
                  <a:pt x="92" y="45"/>
                </a:lnTo>
                <a:lnTo>
                  <a:pt x="90" y="30"/>
                </a:lnTo>
                <a:lnTo>
                  <a:pt x="89" y="18"/>
                </a:lnTo>
                <a:lnTo>
                  <a:pt x="87" y="12"/>
                </a:lnTo>
                <a:lnTo>
                  <a:pt x="71" y="8"/>
                </a:lnTo>
                <a:lnTo>
                  <a:pt x="54" y="6"/>
                </a:lnTo>
                <a:lnTo>
                  <a:pt x="33" y="4"/>
                </a:lnTo>
                <a:lnTo>
                  <a:pt x="7" y="0"/>
                </a:lnTo>
                <a:lnTo>
                  <a:pt x="12" y="10"/>
                </a:lnTo>
                <a:lnTo>
                  <a:pt x="19" y="21"/>
                </a:lnTo>
                <a:lnTo>
                  <a:pt x="22" y="25"/>
                </a:lnTo>
                <a:lnTo>
                  <a:pt x="28" y="28"/>
                </a:lnTo>
                <a:lnTo>
                  <a:pt x="33" y="30"/>
                </a:lnTo>
                <a:lnTo>
                  <a:pt x="40" y="31"/>
                </a:lnTo>
                <a:lnTo>
                  <a:pt x="40" y="44"/>
                </a:lnTo>
                <a:lnTo>
                  <a:pt x="40" y="55"/>
                </a:lnTo>
                <a:lnTo>
                  <a:pt x="40" y="64"/>
                </a:lnTo>
                <a:lnTo>
                  <a:pt x="40" y="74"/>
                </a:lnTo>
                <a:lnTo>
                  <a:pt x="40" y="78"/>
                </a:lnTo>
                <a:lnTo>
                  <a:pt x="39" y="81"/>
                </a:lnTo>
                <a:lnTo>
                  <a:pt x="36" y="85"/>
                </a:lnTo>
                <a:lnTo>
                  <a:pt x="35" y="88"/>
                </a:lnTo>
                <a:lnTo>
                  <a:pt x="29" y="95"/>
                </a:lnTo>
                <a:lnTo>
                  <a:pt x="22" y="102"/>
                </a:lnTo>
                <a:lnTo>
                  <a:pt x="15" y="109"/>
                </a:lnTo>
                <a:lnTo>
                  <a:pt x="9" y="115"/>
                </a:lnTo>
                <a:lnTo>
                  <a:pt x="3" y="122"/>
                </a:lnTo>
                <a:lnTo>
                  <a:pt x="0" y="129"/>
                </a:lnTo>
                <a:lnTo>
                  <a:pt x="7" y="27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23" name="Freeform 475"/>
          <p:cNvSpPr>
            <a:spLocks/>
          </p:cNvSpPr>
          <p:nvPr>
            <p:custDataLst>
              <p:tags r:id="rId313"/>
            </p:custDataLst>
          </p:nvPr>
        </p:nvSpPr>
        <p:spPr bwMode="auto">
          <a:xfrm>
            <a:off x="5853114" y="2533650"/>
            <a:ext cx="14287" cy="57150"/>
          </a:xfrm>
          <a:custGeom>
            <a:avLst/>
            <a:gdLst>
              <a:gd name="T0" fmla="*/ 27 w 27"/>
              <a:gd name="T1" fmla="*/ 0 h 19"/>
              <a:gd name="T2" fmla="*/ 27 w 27"/>
              <a:gd name="T3" fmla="*/ 12 h 19"/>
              <a:gd name="T4" fmla="*/ 27 w 27"/>
              <a:gd name="T5" fmla="*/ 19 h 19"/>
              <a:gd name="T6" fmla="*/ 9 w 27"/>
              <a:gd name="T7" fmla="*/ 19 h 19"/>
              <a:gd name="T8" fmla="*/ 0 w 27"/>
              <a:gd name="T9" fmla="*/ 19 h 19"/>
              <a:gd name="T10" fmla="*/ 9 w 27"/>
              <a:gd name="T11" fmla="*/ 12 h 19"/>
              <a:gd name="T12" fmla="*/ 27 w 27"/>
              <a:gd name="T13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24" name="Freeform 476"/>
          <p:cNvSpPr>
            <a:spLocks/>
          </p:cNvSpPr>
          <p:nvPr>
            <p:custDataLst>
              <p:tags r:id="rId314"/>
            </p:custDataLst>
          </p:nvPr>
        </p:nvSpPr>
        <p:spPr bwMode="auto">
          <a:xfrm>
            <a:off x="6172201" y="4154489"/>
            <a:ext cx="188913" cy="217487"/>
          </a:xfrm>
          <a:custGeom>
            <a:avLst/>
            <a:gdLst>
              <a:gd name="T0" fmla="*/ 284 w 438"/>
              <a:gd name="T1" fmla="*/ 8 h 406"/>
              <a:gd name="T2" fmla="*/ 320 w 438"/>
              <a:gd name="T3" fmla="*/ 27 h 406"/>
              <a:gd name="T4" fmla="*/ 363 w 438"/>
              <a:gd name="T5" fmla="*/ 47 h 406"/>
              <a:gd name="T6" fmla="*/ 395 w 438"/>
              <a:gd name="T7" fmla="*/ 58 h 406"/>
              <a:gd name="T8" fmla="*/ 416 w 438"/>
              <a:gd name="T9" fmla="*/ 61 h 406"/>
              <a:gd name="T10" fmla="*/ 425 w 438"/>
              <a:gd name="T11" fmla="*/ 81 h 406"/>
              <a:gd name="T12" fmla="*/ 429 w 438"/>
              <a:gd name="T13" fmla="*/ 120 h 406"/>
              <a:gd name="T14" fmla="*/ 434 w 438"/>
              <a:gd name="T15" fmla="*/ 157 h 406"/>
              <a:gd name="T16" fmla="*/ 438 w 438"/>
              <a:gd name="T17" fmla="*/ 195 h 406"/>
              <a:gd name="T18" fmla="*/ 438 w 438"/>
              <a:gd name="T19" fmla="*/ 223 h 406"/>
              <a:gd name="T20" fmla="*/ 435 w 438"/>
              <a:gd name="T21" fmla="*/ 237 h 406"/>
              <a:gd name="T22" fmla="*/ 425 w 438"/>
              <a:gd name="T23" fmla="*/ 259 h 406"/>
              <a:gd name="T24" fmla="*/ 407 w 438"/>
              <a:gd name="T25" fmla="*/ 287 h 406"/>
              <a:gd name="T26" fmla="*/ 391 w 438"/>
              <a:gd name="T27" fmla="*/ 307 h 406"/>
              <a:gd name="T28" fmla="*/ 381 w 438"/>
              <a:gd name="T29" fmla="*/ 320 h 406"/>
              <a:gd name="T30" fmla="*/ 374 w 438"/>
              <a:gd name="T31" fmla="*/ 332 h 406"/>
              <a:gd name="T32" fmla="*/ 372 w 438"/>
              <a:gd name="T33" fmla="*/ 352 h 406"/>
              <a:gd name="T34" fmla="*/ 359 w 438"/>
              <a:gd name="T35" fmla="*/ 372 h 406"/>
              <a:gd name="T36" fmla="*/ 321 w 438"/>
              <a:gd name="T37" fmla="*/ 401 h 406"/>
              <a:gd name="T38" fmla="*/ 205 w 438"/>
              <a:gd name="T39" fmla="*/ 388 h 406"/>
              <a:gd name="T40" fmla="*/ 182 w 438"/>
              <a:gd name="T41" fmla="*/ 379 h 406"/>
              <a:gd name="T42" fmla="*/ 165 w 438"/>
              <a:gd name="T43" fmla="*/ 370 h 406"/>
              <a:gd name="T44" fmla="*/ 150 w 438"/>
              <a:gd name="T45" fmla="*/ 359 h 406"/>
              <a:gd name="T46" fmla="*/ 139 w 438"/>
              <a:gd name="T47" fmla="*/ 346 h 406"/>
              <a:gd name="T48" fmla="*/ 124 w 438"/>
              <a:gd name="T49" fmla="*/ 322 h 406"/>
              <a:gd name="T50" fmla="*/ 108 w 438"/>
              <a:gd name="T51" fmla="*/ 296 h 406"/>
              <a:gd name="T52" fmla="*/ 94 w 438"/>
              <a:gd name="T53" fmla="*/ 279 h 406"/>
              <a:gd name="T54" fmla="*/ 72 w 438"/>
              <a:gd name="T55" fmla="*/ 259 h 406"/>
              <a:gd name="T56" fmla="*/ 44 w 438"/>
              <a:gd name="T57" fmla="*/ 234 h 406"/>
              <a:gd name="T58" fmla="*/ 24 w 438"/>
              <a:gd name="T59" fmla="*/ 213 h 406"/>
              <a:gd name="T60" fmla="*/ 13 w 438"/>
              <a:gd name="T61" fmla="*/ 195 h 406"/>
              <a:gd name="T62" fmla="*/ 4 w 438"/>
              <a:gd name="T63" fmla="*/ 176 h 406"/>
              <a:gd name="T64" fmla="*/ 0 w 438"/>
              <a:gd name="T65" fmla="*/ 154 h 406"/>
              <a:gd name="T66" fmla="*/ 18 w 438"/>
              <a:gd name="T67" fmla="*/ 141 h 406"/>
              <a:gd name="T68" fmla="*/ 40 w 438"/>
              <a:gd name="T69" fmla="*/ 141 h 406"/>
              <a:gd name="T70" fmla="*/ 53 w 438"/>
              <a:gd name="T71" fmla="*/ 141 h 406"/>
              <a:gd name="T72" fmla="*/ 63 w 438"/>
              <a:gd name="T73" fmla="*/ 138 h 406"/>
              <a:gd name="T74" fmla="*/ 77 w 438"/>
              <a:gd name="T75" fmla="*/ 131 h 406"/>
              <a:gd name="T76" fmla="*/ 99 w 438"/>
              <a:gd name="T77" fmla="*/ 108 h 406"/>
              <a:gd name="T78" fmla="*/ 117 w 438"/>
              <a:gd name="T79" fmla="*/ 87 h 406"/>
              <a:gd name="T80" fmla="*/ 130 w 438"/>
              <a:gd name="T81" fmla="*/ 80 h 406"/>
              <a:gd name="T82" fmla="*/ 150 w 438"/>
              <a:gd name="T83" fmla="*/ 71 h 406"/>
              <a:gd name="T84" fmla="*/ 179 w 438"/>
              <a:gd name="T85" fmla="*/ 60 h 406"/>
              <a:gd name="T86" fmla="*/ 203 w 438"/>
              <a:gd name="T87" fmla="*/ 50 h 406"/>
              <a:gd name="T88" fmla="*/ 211 w 438"/>
              <a:gd name="T89" fmla="*/ 43 h 406"/>
              <a:gd name="T90" fmla="*/ 210 w 438"/>
              <a:gd name="T91" fmla="*/ 38 h 406"/>
              <a:gd name="T92" fmla="*/ 211 w 438"/>
              <a:gd name="T93" fmla="*/ 30 h 406"/>
              <a:gd name="T94" fmla="*/ 213 w 438"/>
              <a:gd name="T95" fmla="*/ 17 h 406"/>
              <a:gd name="T96" fmla="*/ 217 w 438"/>
              <a:gd name="T97" fmla="*/ 12 h 406"/>
              <a:gd name="T98" fmla="*/ 225 w 438"/>
              <a:gd name="T99" fmla="*/ 12 h 406"/>
              <a:gd name="T100" fmla="*/ 232 w 438"/>
              <a:gd name="T101" fmla="*/ 9 h 406"/>
              <a:gd name="T102" fmla="*/ 236 w 438"/>
              <a:gd name="T103" fmla="*/ 4 h 406"/>
              <a:gd name="T104" fmla="*/ 244 w 438"/>
              <a:gd name="T105" fmla="*/ 2 h 406"/>
              <a:gd name="T106" fmla="*/ 251 w 438"/>
              <a:gd name="T107" fmla="*/ 3 h 406"/>
              <a:gd name="T108" fmla="*/ 264 w 438"/>
              <a:gd name="T109" fmla="*/ 1 h 4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438" h="406">
                <a:moveTo>
                  <a:pt x="272" y="0"/>
                </a:moveTo>
                <a:lnTo>
                  <a:pt x="284" y="8"/>
                </a:lnTo>
                <a:lnTo>
                  <a:pt x="301" y="17"/>
                </a:lnTo>
                <a:lnTo>
                  <a:pt x="320" y="27"/>
                </a:lnTo>
                <a:lnTo>
                  <a:pt x="341" y="37"/>
                </a:lnTo>
                <a:lnTo>
                  <a:pt x="363" y="47"/>
                </a:lnTo>
                <a:lnTo>
                  <a:pt x="385" y="55"/>
                </a:lnTo>
                <a:lnTo>
                  <a:pt x="395" y="58"/>
                </a:lnTo>
                <a:lnTo>
                  <a:pt x="406" y="60"/>
                </a:lnTo>
                <a:lnTo>
                  <a:pt x="416" y="61"/>
                </a:lnTo>
                <a:lnTo>
                  <a:pt x="425" y="61"/>
                </a:lnTo>
                <a:lnTo>
                  <a:pt x="425" y="81"/>
                </a:lnTo>
                <a:lnTo>
                  <a:pt x="427" y="101"/>
                </a:lnTo>
                <a:lnTo>
                  <a:pt x="429" y="120"/>
                </a:lnTo>
                <a:lnTo>
                  <a:pt x="432" y="138"/>
                </a:lnTo>
                <a:lnTo>
                  <a:pt x="434" y="157"/>
                </a:lnTo>
                <a:lnTo>
                  <a:pt x="436" y="176"/>
                </a:lnTo>
                <a:lnTo>
                  <a:pt x="438" y="195"/>
                </a:lnTo>
                <a:lnTo>
                  <a:pt x="438" y="216"/>
                </a:lnTo>
                <a:lnTo>
                  <a:pt x="438" y="223"/>
                </a:lnTo>
                <a:lnTo>
                  <a:pt x="436" y="230"/>
                </a:lnTo>
                <a:lnTo>
                  <a:pt x="435" y="237"/>
                </a:lnTo>
                <a:lnTo>
                  <a:pt x="432" y="245"/>
                </a:lnTo>
                <a:lnTo>
                  <a:pt x="425" y="259"/>
                </a:lnTo>
                <a:lnTo>
                  <a:pt x="416" y="274"/>
                </a:lnTo>
                <a:lnTo>
                  <a:pt x="407" y="287"/>
                </a:lnTo>
                <a:lnTo>
                  <a:pt x="399" y="298"/>
                </a:lnTo>
                <a:lnTo>
                  <a:pt x="391" y="307"/>
                </a:lnTo>
                <a:lnTo>
                  <a:pt x="385" y="314"/>
                </a:lnTo>
                <a:lnTo>
                  <a:pt x="381" y="320"/>
                </a:lnTo>
                <a:lnTo>
                  <a:pt x="378" y="326"/>
                </a:lnTo>
                <a:lnTo>
                  <a:pt x="374" y="332"/>
                </a:lnTo>
                <a:lnTo>
                  <a:pt x="373" y="339"/>
                </a:lnTo>
                <a:lnTo>
                  <a:pt x="372" y="352"/>
                </a:lnTo>
                <a:lnTo>
                  <a:pt x="372" y="363"/>
                </a:lnTo>
                <a:lnTo>
                  <a:pt x="359" y="372"/>
                </a:lnTo>
                <a:lnTo>
                  <a:pt x="339" y="387"/>
                </a:lnTo>
                <a:lnTo>
                  <a:pt x="321" y="401"/>
                </a:lnTo>
                <a:lnTo>
                  <a:pt x="312" y="406"/>
                </a:lnTo>
                <a:lnTo>
                  <a:pt x="205" y="388"/>
                </a:lnTo>
                <a:lnTo>
                  <a:pt x="192" y="382"/>
                </a:lnTo>
                <a:lnTo>
                  <a:pt x="182" y="379"/>
                </a:lnTo>
                <a:lnTo>
                  <a:pt x="172" y="376"/>
                </a:lnTo>
                <a:lnTo>
                  <a:pt x="165" y="370"/>
                </a:lnTo>
                <a:lnTo>
                  <a:pt x="157" y="365"/>
                </a:lnTo>
                <a:lnTo>
                  <a:pt x="150" y="359"/>
                </a:lnTo>
                <a:lnTo>
                  <a:pt x="145" y="353"/>
                </a:lnTo>
                <a:lnTo>
                  <a:pt x="139" y="346"/>
                </a:lnTo>
                <a:lnTo>
                  <a:pt x="134" y="338"/>
                </a:lnTo>
                <a:lnTo>
                  <a:pt x="124" y="322"/>
                </a:lnTo>
                <a:lnTo>
                  <a:pt x="114" y="304"/>
                </a:lnTo>
                <a:lnTo>
                  <a:pt x="108" y="296"/>
                </a:lnTo>
                <a:lnTo>
                  <a:pt x="101" y="288"/>
                </a:lnTo>
                <a:lnTo>
                  <a:pt x="94" y="279"/>
                </a:lnTo>
                <a:lnTo>
                  <a:pt x="86" y="271"/>
                </a:lnTo>
                <a:lnTo>
                  <a:pt x="72" y="259"/>
                </a:lnTo>
                <a:lnTo>
                  <a:pt x="58" y="247"/>
                </a:lnTo>
                <a:lnTo>
                  <a:pt x="44" y="234"/>
                </a:lnTo>
                <a:lnTo>
                  <a:pt x="31" y="220"/>
                </a:lnTo>
                <a:lnTo>
                  <a:pt x="24" y="213"/>
                </a:lnTo>
                <a:lnTo>
                  <a:pt x="19" y="204"/>
                </a:lnTo>
                <a:lnTo>
                  <a:pt x="13" y="195"/>
                </a:lnTo>
                <a:lnTo>
                  <a:pt x="9" y="186"/>
                </a:lnTo>
                <a:lnTo>
                  <a:pt x="4" y="176"/>
                </a:lnTo>
                <a:lnTo>
                  <a:pt x="2" y="166"/>
                </a:lnTo>
                <a:lnTo>
                  <a:pt x="0" y="154"/>
                </a:lnTo>
                <a:lnTo>
                  <a:pt x="0" y="141"/>
                </a:lnTo>
                <a:lnTo>
                  <a:pt x="18" y="141"/>
                </a:lnTo>
                <a:lnTo>
                  <a:pt x="31" y="141"/>
                </a:lnTo>
                <a:lnTo>
                  <a:pt x="40" y="141"/>
                </a:lnTo>
                <a:lnTo>
                  <a:pt x="46" y="141"/>
                </a:lnTo>
                <a:lnTo>
                  <a:pt x="53" y="141"/>
                </a:lnTo>
                <a:lnTo>
                  <a:pt x="58" y="140"/>
                </a:lnTo>
                <a:lnTo>
                  <a:pt x="63" y="138"/>
                </a:lnTo>
                <a:lnTo>
                  <a:pt x="68" y="136"/>
                </a:lnTo>
                <a:lnTo>
                  <a:pt x="77" y="131"/>
                </a:lnTo>
                <a:lnTo>
                  <a:pt x="85" y="124"/>
                </a:lnTo>
                <a:lnTo>
                  <a:pt x="99" y="108"/>
                </a:lnTo>
                <a:lnTo>
                  <a:pt x="113" y="92"/>
                </a:lnTo>
                <a:lnTo>
                  <a:pt x="117" y="87"/>
                </a:lnTo>
                <a:lnTo>
                  <a:pt x="124" y="83"/>
                </a:lnTo>
                <a:lnTo>
                  <a:pt x="130" y="80"/>
                </a:lnTo>
                <a:lnTo>
                  <a:pt x="136" y="77"/>
                </a:lnTo>
                <a:lnTo>
                  <a:pt x="150" y="71"/>
                </a:lnTo>
                <a:lnTo>
                  <a:pt x="165" y="65"/>
                </a:lnTo>
                <a:lnTo>
                  <a:pt x="179" y="60"/>
                </a:lnTo>
                <a:lnTo>
                  <a:pt x="192" y="55"/>
                </a:lnTo>
                <a:lnTo>
                  <a:pt x="203" y="50"/>
                </a:lnTo>
                <a:lnTo>
                  <a:pt x="212" y="43"/>
                </a:lnTo>
                <a:lnTo>
                  <a:pt x="211" y="43"/>
                </a:lnTo>
                <a:lnTo>
                  <a:pt x="210" y="41"/>
                </a:lnTo>
                <a:lnTo>
                  <a:pt x="210" y="38"/>
                </a:lnTo>
                <a:lnTo>
                  <a:pt x="210" y="36"/>
                </a:lnTo>
                <a:lnTo>
                  <a:pt x="211" y="30"/>
                </a:lnTo>
                <a:lnTo>
                  <a:pt x="212" y="24"/>
                </a:lnTo>
                <a:lnTo>
                  <a:pt x="213" y="17"/>
                </a:lnTo>
                <a:lnTo>
                  <a:pt x="214" y="14"/>
                </a:lnTo>
                <a:lnTo>
                  <a:pt x="217" y="12"/>
                </a:lnTo>
                <a:lnTo>
                  <a:pt x="221" y="12"/>
                </a:lnTo>
                <a:lnTo>
                  <a:pt x="225" y="12"/>
                </a:lnTo>
                <a:lnTo>
                  <a:pt x="229" y="11"/>
                </a:lnTo>
                <a:lnTo>
                  <a:pt x="232" y="9"/>
                </a:lnTo>
                <a:lnTo>
                  <a:pt x="234" y="7"/>
                </a:lnTo>
                <a:lnTo>
                  <a:pt x="236" y="4"/>
                </a:lnTo>
                <a:lnTo>
                  <a:pt x="239" y="0"/>
                </a:lnTo>
                <a:lnTo>
                  <a:pt x="244" y="2"/>
                </a:lnTo>
                <a:lnTo>
                  <a:pt x="248" y="3"/>
                </a:lnTo>
                <a:lnTo>
                  <a:pt x="251" y="3"/>
                </a:lnTo>
                <a:lnTo>
                  <a:pt x="256" y="2"/>
                </a:lnTo>
                <a:lnTo>
                  <a:pt x="264" y="1"/>
                </a:lnTo>
                <a:lnTo>
                  <a:pt x="272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25" name="Freeform 477"/>
          <p:cNvSpPr>
            <a:spLocks/>
          </p:cNvSpPr>
          <p:nvPr>
            <p:custDataLst>
              <p:tags r:id="rId315"/>
            </p:custDataLst>
          </p:nvPr>
        </p:nvSpPr>
        <p:spPr bwMode="auto">
          <a:xfrm>
            <a:off x="6084889" y="3930650"/>
            <a:ext cx="293687" cy="300038"/>
          </a:xfrm>
          <a:custGeom>
            <a:avLst/>
            <a:gdLst>
              <a:gd name="T0" fmla="*/ 513 w 678"/>
              <a:gd name="T1" fmla="*/ 8 h 574"/>
              <a:gd name="T2" fmla="*/ 552 w 678"/>
              <a:gd name="T3" fmla="*/ 26 h 574"/>
              <a:gd name="T4" fmla="*/ 645 w 678"/>
              <a:gd name="T5" fmla="*/ 63 h 574"/>
              <a:gd name="T6" fmla="*/ 660 w 678"/>
              <a:gd name="T7" fmla="*/ 88 h 574"/>
              <a:gd name="T8" fmla="*/ 678 w 678"/>
              <a:gd name="T9" fmla="*/ 94 h 574"/>
              <a:gd name="T10" fmla="*/ 678 w 678"/>
              <a:gd name="T11" fmla="*/ 127 h 574"/>
              <a:gd name="T12" fmla="*/ 677 w 678"/>
              <a:gd name="T13" fmla="*/ 144 h 574"/>
              <a:gd name="T14" fmla="*/ 667 w 678"/>
              <a:gd name="T15" fmla="*/ 158 h 574"/>
              <a:gd name="T16" fmla="*/ 647 w 678"/>
              <a:gd name="T17" fmla="*/ 178 h 574"/>
              <a:gd name="T18" fmla="*/ 638 w 678"/>
              <a:gd name="T19" fmla="*/ 346 h 574"/>
              <a:gd name="T20" fmla="*/ 461 w 678"/>
              <a:gd name="T21" fmla="*/ 388 h 574"/>
              <a:gd name="T22" fmla="*/ 461 w 678"/>
              <a:gd name="T23" fmla="*/ 415 h 574"/>
              <a:gd name="T24" fmla="*/ 455 w 678"/>
              <a:gd name="T25" fmla="*/ 435 h 574"/>
              <a:gd name="T26" fmla="*/ 444 w 678"/>
              <a:gd name="T27" fmla="*/ 435 h 574"/>
              <a:gd name="T28" fmla="*/ 434 w 678"/>
              <a:gd name="T29" fmla="*/ 440 h 574"/>
              <a:gd name="T30" fmla="*/ 425 w 678"/>
              <a:gd name="T31" fmla="*/ 445 h 574"/>
              <a:gd name="T32" fmla="*/ 414 w 678"/>
              <a:gd name="T33" fmla="*/ 447 h 574"/>
              <a:gd name="T34" fmla="*/ 411 w 678"/>
              <a:gd name="T35" fmla="*/ 463 h 574"/>
              <a:gd name="T36" fmla="*/ 410 w 678"/>
              <a:gd name="T37" fmla="*/ 474 h 574"/>
              <a:gd name="T38" fmla="*/ 403 w 678"/>
              <a:gd name="T39" fmla="*/ 483 h 574"/>
              <a:gd name="T40" fmla="*/ 365 w 678"/>
              <a:gd name="T41" fmla="*/ 498 h 574"/>
              <a:gd name="T42" fmla="*/ 330 w 678"/>
              <a:gd name="T43" fmla="*/ 513 h 574"/>
              <a:gd name="T44" fmla="*/ 313 w 678"/>
              <a:gd name="T45" fmla="*/ 525 h 574"/>
              <a:gd name="T46" fmla="*/ 277 w 678"/>
              <a:gd name="T47" fmla="*/ 564 h 574"/>
              <a:gd name="T48" fmla="*/ 258 w 678"/>
              <a:gd name="T49" fmla="*/ 573 h 574"/>
              <a:gd name="T50" fmla="*/ 238 w 678"/>
              <a:gd name="T51" fmla="*/ 574 h 574"/>
              <a:gd name="T52" fmla="*/ 193 w 678"/>
              <a:gd name="T53" fmla="*/ 574 h 574"/>
              <a:gd name="T54" fmla="*/ 186 w 678"/>
              <a:gd name="T55" fmla="*/ 559 h 574"/>
              <a:gd name="T56" fmla="*/ 165 w 678"/>
              <a:gd name="T57" fmla="*/ 547 h 574"/>
              <a:gd name="T58" fmla="*/ 133 w 678"/>
              <a:gd name="T59" fmla="*/ 545 h 574"/>
              <a:gd name="T60" fmla="*/ 93 w 678"/>
              <a:gd name="T61" fmla="*/ 556 h 574"/>
              <a:gd name="T62" fmla="*/ 33 w 678"/>
              <a:gd name="T63" fmla="*/ 527 h 574"/>
              <a:gd name="T64" fmla="*/ 0 w 678"/>
              <a:gd name="T65" fmla="*/ 285 h 574"/>
              <a:gd name="T66" fmla="*/ 73 w 678"/>
              <a:gd name="T67" fmla="*/ 286 h 574"/>
              <a:gd name="T68" fmla="*/ 103 w 678"/>
              <a:gd name="T69" fmla="*/ 282 h 574"/>
              <a:gd name="T70" fmla="*/ 119 w 678"/>
              <a:gd name="T71" fmla="*/ 275 h 574"/>
              <a:gd name="T72" fmla="*/ 129 w 678"/>
              <a:gd name="T73" fmla="*/ 256 h 574"/>
              <a:gd name="T74" fmla="*/ 131 w 678"/>
              <a:gd name="T75" fmla="*/ 229 h 574"/>
              <a:gd name="T76" fmla="*/ 126 w 678"/>
              <a:gd name="T77" fmla="*/ 185 h 574"/>
              <a:gd name="T78" fmla="*/ 130 w 678"/>
              <a:gd name="T79" fmla="*/ 165 h 574"/>
              <a:gd name="T80" fmla="*/ 140 w 678"/>
              <a:gd name="T81" fmla="*/ 171 h 574"/>
              <a:gd name="T82" fmla="*/ 174 w 678"/>
              <a:gd name="T83" fmla="*/ 175 h 574"/>
              <a:gd name="T84" fmla="*/ 188 w 678"/>
              <a:gd name="T85" fmla="*/ 186 h 574"/>
              <a:gd name="T86" fmla="*/ 195 w 678"/>
              <a:gd name="T87" fmla="*/ 201 h 574"/>
              <a:gd name="T88" fmla="*/ 208 w 678"/>
              <a:gd name="T89" fmla="*/ 210 h 574"/>
              <a:gd name="T90" fmla="*/ 241 w 678"/>
              <a:gd name="T91" fmla="*/ 217 h 574"/>
              <a:gd name="T92" fmla="*/ 269 w 678"/>
              <a:gd name="T93" fmla="*/ 214 h 574"/>
              <a:gd name="T94" fmla="*/ 301 w 678"/>
              <a:gd name="T95" fmla="*/ 199 h 574"/>
              <a:gd name="T96" fmla="*/ 319 w 678"/>
              <a:gd name="T97" fmla="*/ 196 h 574"/>
              <a:gd name="T98" fmla="*/ 331 w 678"/>
              <a:gd name="T99" fmla="*/ 193 h 574"/>
              <a:gd name="T100" fmla="*/ 343 w 678"/>
              <a:gd name="T101" fmla="*/ 190 h 574"/>
              <a:gd name="T102" fmla="*/ 357 w 678"/>
              <a:gd name="T103" fmla="*/ 182 h 574"/>
              <a:gd name="T104" fmla="*/ 368 w 678"/>
              <a:gd name="T105" fmla="*/ 168 h 574"/>
              <a:gd name="T106" fmla="*/ 383 w 678"/>
              <a:gd name="T107" fmla="*/ 126 h 574"/>
              <a:gd name="T108" fmla="*/ 403 w 678"/>
              <a:gd name="T109" fmla="*/ 47 h 574"/>
              <a:gd name="T110" fmla="*/ 414 w 678"/>
              <a:gd name="T111" fmla="*/ 10 h 574"/>
              <a:gd name="T112" fmla="*/ 431 w 678"/>
              <a:gd name="T113" fmla="*/ 6 h 574"/>
              <a:gd name="T114" fmla="*/ 453 w 678"/>
              <a:gd name="T115" fmla="*/ 8 h 574"/>
              <a:gd name="T116" fmla="*/ 482 w 678"/>
              <a:gd name="T117" fmla="*/ 1 h 5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678" h="574">
                <a:moveTo>
                  <a:pt x="505" y="1"/>
                </a:moveTo>
                <a:lnTo>
                  <a:pt x="507" y="4"/>
                </a:lnTo>
                <a:lnTo>
                  <a:pt x="513" y="8"/>
                </a:lnTo>
                <a:lnTo>
                  <a:pt x="521" y="12"/>
                </a:lnTo>
                <a:lnTo>
                  <a:pt x="529" y="16"/>
                </a:lnTo>
                <a:lnTo>
                  <a:pt x="552" y="26"/>
                </a:lnTo>
                <a:lnTo>
                  <a:pt x="578" y="37"/>
                </a:lnTo>
                <a:lnTo>
                  <a:pt x="624" y="55"/>
                </a:lnTo>
                <a:lnTo>
                  <a:pt x="645" y="63"/>
                </a:lnTo>
                <a:lnTo>
                  <a:pt x="650" y="73"/>
                </a:lnTo>
                <a:lnTo>
                  <a:pt x="657" y="84"/>
                </a:lnTo>
                <a:lnTo>
                  <a:pt x="660" y="88"/>
                </a:lnTo>
                <a:lnTo>
                  <a:pt x="666" y="91"/>
                </a:lnTo>
                <a:lnTo>
                  <a:pt x="671" y="93"/>
                </a:lnTo>
                <a:lnTo>
                  <a:pt x="678" y="94"/>
                </a:lnTo>
                <a:lnTo>
                  <a:pt x="678" y="107"/>
                </a:lnTo>
                <a:lnTo>
                  <a:pt x="678" y="118"/>
                </a:lnTo>
                <a:lnTo>
                  <a:pt x="678" y="127"/>
                </a:lnTo>
                <a:lnTo>
                  <a:pt x="678" y="137"/>
                </a:lnTo>
                <a:lnTo>
                  <a:pt x="678" y="141"/>
                </a:lnTo>
                <a:lnTo>
                  <a:pt x="677" y="144"/>
                </a:lnTo>
                <a:lnTo>
                  <a:pt x="674" y="148"/>
                </a:lnTo>
                <a:lnTo>
                  <a:pt x="673" y="151"/>
                </a:lnTo>
                <a:lnTo>
                  <a:pt x="667" y="158"/>
                </a:lnTo>
                <a:lnTo>
                  <a:pt x="660" y="165"/>
                </a:lnTo>
                <a:lnTo>
                  <a:pt x="653" y="172"/>
                </a:lnTo>
                <a:lnTo>
                  <a:pt x="647" y="178"/>
                </a:lnTo>
                <a:lnTo>
                  <a:pt x="641" y="185"/>
                </a:lnTo>
                <a:lnTo>
                  <a:pt x="638" y="192"/>
                </a:lnTo>
                <a:lnTo>
                  <a:pt x="638" y="346"/>
                </a:lnTo>
                <a:lnTo>
                  <a:pt x="466" y="378"/>
                </a:lnTo>
                <a:lnTo>
                  <a:pt x="464" y="382"/>
                </a:lnTo>
                <a:lnTo>
                  <a:pt x="461" y="388"/>
                </a:lnTo>
                <a:lnTo>
                  <a:pt x="460" y="394"/>
                </a:lnTo>
                <a:lnTo>
                  <a:pt x="460" y="400"/>
                </a:lnTo>
                <a:lnTo>
                  <a:pt x="461" y="415"/>
                </a:lnTo>
                <a:lnTo>
                  <a:pt x="466" y="433"/>
                </a:lnTo>
                <a:lnTo>
                  <a:pt x="460" y="434"/>
                </a:lnTo>
                <a:lnTo>
                  <a:pt x="455" y="435"/>
                </a:lnTo>
                <a:lnTo>
                  <a:pt x="451" y="436"/>
                </a:lnTo>
                <a:lnTo>
                  <a:pt x="448" y="436"/>
                </a:lnTo>
                <a:lnTo>
                  <a:pt x="444" y="435"/>
                </a:lnTo>
                <a:lnTo>
                  <a:pt x="439" y="433"/>
                </a:lnTo>
                <a:lnTo>
                  <a:pt x="436" y="437"/>
                </a:lnTo>
                <a:lnTo>
                  <a:pt x="434" y="440"/>
                </a:lnTo>
                <a:lnTo>
                  <a:pt x="432" y="442"/>
                </a:lnTo>
                <a:lnTo>
                  <a:pt x="429" y="444"/>
                </a:lnTo>
                <a:lnTo>
                  <a:pt x="425" y="445"/>
                </a:lnTo>
                <a:lnTo>
                  <a:pt x="421" y="445"/>
                </a:lnTo>
                <a:lnTo>
                  <a:pt x="417" y="445"/>
                </a:lnTo>
                <a:lnTo>
                  <a:pt x="414" y="447"/>
                </a:lnTo>
                <a:lnTo>
                  <a:pt x="413" y="450"/>
                </a:lnTo>
                <a:lnTo>
                  <a:pt x="412" y="457"/>
                </a:lnTo>
                <a:lnTo>
                  <a:pt x="411" y="463"/>
                </a:lnTo>
                <a:lnTo>
                  <a:pt x="410" y="469"/>
                </a:lnTo>
                <a:lnTo>
                  <a:pt x="410" y="471"/>
                </a:lnTo>
                <a:lnTo>
                  <a:pt x="410" y="474"/>
                </a:lnTo>
                <a:lnTo>
                  <a:pt x="411" y="476"/>
                </a:lnTo>
                <a:lnTo>
                  <a:pt x="412" y="476"/>
                </a:lnTo>
                <a:lnTo>
                  <a:pt x="403" y="483"/>
                </a:lnTo>
                <a:lnTo>
                  <a:pt x="392" y="488"/>
                </a:lnTo>
                <a:lnTo>
                  <a:pt x="379" y="493"/>
                </a:lnTo>
                <a:lnTo>
                  <a:pt x="365" y="498"/>
                </a:lnTo>
                <a:lnTo>
                  <a:pt x="350" y="504"/>
                </a:lnTo>
                <a:lnTo>
                  <a:pt x="336" y="510"/>
                </a:lnTo>
                <a:lnTo>
                  <a:pt x="330" y="513"/>
                </a:lnTo>
                <a:lnTo>
                  <a:pt x="324" y="516"/>
                </a:lnTo>
                <a:lnTo>
                  <a:pt x="317" y="520"/>
                </a:lnTo>
                <a:lnTo>
                  <a:pt x="313" y="525"/>
                </a:lnTo>
                <a:lnTo>
                  <a:pt x="299" y="541"/>
                </a:lnTo>
                <a:lnTo>
                  <a:pt x="285" y="557"/>
                </a:lnTo>
                <a:lnTo>
                  <a:pt x="277" y="564"/>
                </a:lnTo>
                <a:lnTo>
                  <a:pt x="268" y="569"/>
                </a:lnTo>
                <a:lnTo>
                  <a:pt x="263" y="571"/>
                </a:lnTo>
                <a:lnTo>
                  <a:pt x="258" y="573"/>
                </a:lnTo>
                <a:lnTo>
                  <a:pt x="253" y="574"/>
                </a:lnTo>
                <a:lnTo>
                  <a:pt x="246" y="574"/>
                </a:lnTo>
                <a:lnTo>
                  <a:pt x="238" y="574"/>
                </a:lnTo>
                <a:lnTo>
                  <a:pt x="227" y="574"/>
                </a:lnTo>
                <a:lnTo>
                  <a:pt x="212" y="574"/>
                </a:lnTo>
                <a:lnTo>
                  <a:pt x="193" y="574"/>
                </a:lnTo>
                <a:lnTo>
                  <a:pt x="192" y="569"/>
                </a:lnTo>
                <a:lnTo>
                  <a:pt x="189" y="564"/>
                </a:lnTo>
                <a:lnTo>
                  <a:pt x="186" y="559"/>
                </a:lnTo>
                <a:lnTo>
                  <a:pt x="180" y="554"/>
                </a:lnTo>
                <a:lnTo>
                  <a:pt x="173" y="550"/>
                </a:lnTo>
                <a:lnTo>
                  <a:pt x="165" y="547"/>
                </a:lnTo>
                <a:lnTo>
                  <a:pt x="156" y="545"/>
                </a:lnTo>
                <a:lnTo>
                  <a:pt x="146" y="544"/>
                </a:lnTo>
                <a:lnTo>
                  <a:pt x="133" y="545"/>
                </a:lnTo>
                <a:lnTo>
                  <a:pt x="120" y="548"/>
                </a:lnTo>
                <a:lnTo>
                  <a:pt x="108" y="552"/>
                </a:lnTo>
                <a:lnTo>
                  <a:pt x="93" y="556"/>
                </a:lnTo>
                <a:lnTo>
                  <a:pt x="61" y="556"/>
                </a:lnTo>
                <a:lnTo>
                  <a:pt x="48" y="544"/>
                </a:lnTo>
                <a:lnTo>
                  <a:pt x="33" y="527"/>
                </a:lnTo>
                <a:lnTo>
                  <a:pt x="17" y="510"/>
                </a:lnTo>
                <a:lnTo>
                  <a:pt x="0" y="494"/>
                </a:lnTo>
                <a:lnTo>
                  <a:pt x="0" y="285"/>
                </a:lnTo>
                <a:lnTo>
                  <a:pt x="21" y="286"/>
                </a:lnTo>
                <a:lnTo>
                  <a:pt x="54" y="286"/>
                </a:lnTo>
                <a:lnTo>
                  <a:pt x="73" y="286"/>
                </a:lnTo>
                <a:lnTo>
                  <a:pt x="89" y="285"/>
                </a:lnTo>
                <a:lnTo>
                  <a:pt x="97" y="284"/>
                </a:lnTo>
                <a:lnTo>
                  <a:pt x="103" y="282"/>
                </a:lnTo>
                <a:lnTo>
                  <a:pt x="109" y="281"/>
                </a:lnTo>
                <a:lnTo>
                  <a:pt x="113" y="279"/>
                </a:lnTo>
                <a:lnTo>
                  <a:pt x="119" y="275"/>
                </a:lnTo>
                <a:lnTo>
                  <a:pt x="123" y="269"/>
                </a:lnTo>
                <a:lnTo>
                  <a:pt x="126" y="263"/>
                </a:lnTo>
                <a:lnTo>
                  <a:pt x="129" y="256"/>
                </a:lnTo>
                <a:lnTo>
                  <a:pt x="130" y="247"/>
                </a:lnTo>
                <a:lnTo>
                  <a:pt x="131" y="238"/>
                </a:lnTo>
                <a:lnTo>
                  <a:pt x="131" y="229"/>
                </a:lnTo>
                <a:lnTo>
                  <a:pt x="130" y="220"/>
                </a:lnTo>
                <a:lnTo>
                  <a:pt x="129" y="202"/>
                </a:lnTo>
                <a:lnTo>
                  <a:pt x="126" y="185"/>
                </a:lnTo>
                <a:lnTo>
                  <a:pt x="125" y="171"/>
                </a:lnTo>
                <a:lnTo>
                  <a:pt x="126" y="162"/>
                </a:lnTo>
                <a:lnTo>
                  <a:pt x="130" y="165"/>
                </a:lnTo>
                <a:lnTo>
                  <a:pt x="132" y="168"/>
                </a:lnTo>
                <a:lnTo>
                  <a:pt x="136" y="170"/>
                </a:lnTo>
                <a:lnTo>
                  <a:pt x="140" y="171"/>
                </a:lnTo>
                <a:lnTo>
                  <a:pt x="147" y="174"/>
                </a:lnTo>
                <a:lnTo>
                  <a:pt x="156" y="175"/>
                </a:lnTo>
                <a:lnTo>
                  <a:pt x="174" y="175"/>
                </a:lnTo>
                <a:lnTo>
                  <a:pt x="187" y="174"/>
                </a:lnTo>
                <a:lnTo>
                  <a:pt x="187" y="180"/>
                </a:lnTo>
                <a:lnTo>
                  <a:pt x="188" y="186"/>
                </a:lnTo>
                <a:lnTo>
                  <a:pt x="190" y="191"/>
                </a:lnTo>
                <a:lnTo>
                  <a:pt x="192" y="197"/>
                </a:lnTo>
                <a:lnTo>
                  <a:pt x="195" y="201"/>
                </a:lnTo>
                <a:lnTo>
                  <a:pt x="199" y="204"/>
                </a:lnTo>
                <a:lnTo>
                  <a:pt x="202" y="207"/>
                </a:lnTo>
                <a:lnTo>
                  <a:pt x="208" y="210"/>
                </a:lnTo>
                <a:lnTo>
                  <a:pt x="218" y="213"/>
                </a:lnTo>
                <a:lnTo>
                  <a:pt x="229" y="216"/>
                </a:lnTo>
                <a:lnTo>
                  <a:pt x="241" y="217"/>
                </a:lnTo>
                <a:lnTo>
                  <a:pt x="253" y="217"/>
                </a:lnTo>
                <a:lnTo>
                  <a:pt x="260" y="216"/>
                </a:lnTo>
                <a:lnTo>
                  <a:pt x="269" y="214"/>
                </a:lnTo>
                <a:lnTo>
                  <a:pt x="277" y="211"/>
                </a:lnTo>
                <a:lnTo>
                  <a:pt x="286" y="207"/>
                </a:lnTo>
                <a:lnTo>
                  <a:pt x="301" y="199"/>
                </a:lnTo>
                <a:lnTo>
                  <a:pt x="313" y="192"/>
                </a:lnTo>
                <a:lnTo>
                  <a:pt x="315" y="195"/>
                </a:lnTo>
                <a:lnTo>
                  <a:pt x="319" y="196"/>
                </a:lnTo>
                <a:lnTo>
                  <a:pt x="322" y="196"/>
                </a:lnTo>
                <a:lnTo>
                  <a:pt x="325" y="195"/>
                </a:lnTo>
                <a:lnTo>
                  <a:pt x="331" y="193"/>
                </a:lnTo>
                <a:lnTo>
                  <a:pt x="333" y="192"/>
                </a:lnTo>
                <a:lnTo>
                  <a:pt x="338" y="192"/>
                </a:lnTo>
                <a:lnTo>
                  <a:pt x="343" y="190"/>
                </a:lnTo>
                <a:lnTo>
                  <a:pt x="348" y="188"/>
                </a:lnTo>
                <a:lnTo>
                  <a:pt x="353" y="185"/>
                </a:lnTo>
                <a:lnTo>
                  <a:pt x="357" y="182"/>
                </a:lnTo>
                <a:lnTo>
                  <a:pt x="360" y="178"/>
                </a:lnTo>
                <a:lnTo>
                  <a:pt x="364" y="173"/>
                </a:lnTo>
                <a:lnTo>
                  <a:pt x="368" y="168"/>
                </a:lnTo>
                <a:lnTo>
                  <a:pt x="373" y="156"/>
                </a:lnTo>
                <a:lnTo>
                  <a:pt x="379" y="142"/>
                </a:lnTo>
                <a:lnTo>
                  <a:pt x="383" y="126"/>
                </a:lnTo>
                <a:lnTo>
                  <a:pt x="388" y="111"/>
                </a:lnTo>
                <a:lnTo>
                  <a:pt x="395" y="78"/>
                </a:lnTo>
                <a:lnTo>
                  <a:pt x="403" y="47"/>
                </a:lnTo>
                <a:lnTo>
                  <a:pt x="406" y="33"/>
                </a:lnTo>
                <a:lnTo>
                  <a:pt x="410" y="20"/>
                </a:lnTo>
                <a:lnTo>
                  <a:pt x="414" y="10"/>
                </a:lnTo>
                <a:lnTo>
                  <a:pt x="418" y="1"/>
                </a:lnTo>
                <a:lnTo>
                  <a:pt x="425" y="4"/>
                </a:lnTo>
                <a:lnTo>
                  <a:pt x="431" y="6"/>
                </a:lnTo>
                <a:lnTo>
                  <a:pt x="436" y="8"/>
                </a:lnTo>
                <a:lnTo>
                  <a:pt x="442" y="8"/>
                </a:lnTo>
                <a:lnTo>
                  <a:pt x="453" y="8"/>
                </a:lnTo>
                <a:lnTo>
                  <a:pt x="462" y="6"/>
                </a:lnTo>
                <a:lnTo>
                  <a:pt x="472" y="4"/>
                </a:lnTo>
                <a:lnTo>
                  <a:pt x="482" y="1"/>
                </a:lnTo>
                <a:lnTo>
                  <a:pt x="493" y="0"/>
                </a:lnTo>
                <a:lnTo>
                  <a:pt x="505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26" name="Freeform 478"/>
          <p:cNvSpPr>
            <a:spLocks/>
          </p:cNvSpPr>
          <p:nvPr>
            <p:custDataLst>
              <p:tags r:id="rId316"/>
            </p:custDataLst>
          </p:nvPr>
        </p:nvSpPr>
        <p:spPr bwMode="auto">
          <a:xfrm>
            <a:off x="5821364" y="4203700"/>
            <a:ext cx="350837" cy="381000"/>
          </a:xfrm>
          <a:custGeom>
            <a:avLst/>
            <a:gdLst>
              <a:gd name="T0" fmla="*/ 797 w 810"/>
              <a:gd name="T1" fmla="*/ 42 h 727"/>
              <a:gd name="T2" fmla="*/ 766 w 810"/>
              <a:gd name="T3" fmla="*/ 26 h 727"/>
              <a:gd name="T4" fmla="*/ 718 w 810"/>
              <a:gd name="T5" fmla="*/ 33 h 727"/>
              <a:gd name="T6" fmla="*/ 634 w 810"/>
              <a:gd name="T7" fmla="*/ 44 h 727"/>
              <a:gd name="T8" fmla="*/ 604 w 810"/>
              <a:gd name="T9" fmla="*/ 55 h 727"/>
              <a:gd name="T10" fmla="*/ 280 w 810"/>
              <a:gd name="T11" fmla="*/ 40 h 727"/>
              <a:gd name="T12" fmla="*/ 232 w 810"/>
              <a:gd name="T13" fmla="*/ 37 h 727"/>
              <a:gd name="T14" fmla="*/ 172 w 810"/>
              <a:gd name="T15" fmla="*/ 17 h 727"/>
              <a:gd name="T16" fmla="*/ 116 w 810"/>
              <a:gd name="T17" fmla="*/ 0 h 727"/>
              <a:gd name="T18" fmla="*/ 83 w 810"/>
              <a:gd name="T19" fmla="*/ 5 h 727"/>
              <a:gd name="T20" fmla="*/ 53 w 810"/>
              <a:gd name="T21" fmla="*/ 24 h 727"/>
              <a:gd name="T22" fmla="*/ 0 w 810"/>
              <a:gd name="T23" fmla="*/ 55 h 727"/>
              <a:gd name="T24" fmla="*/ 7 w 810"/>
              <a:gd name="T25" fmla="*/ 68 h 727"/>
              <a:gd name="T26" fmla="*/ 26 w 810"/>
              <a:gd name="T27" fmla="*/ 74 h 727"/>
              <a:gd name="T28" fmla="*/ 36 w 810"/>
              <a:gd name="T29" fmla="*/ 129 h 727"/>
              <a:gd name="T30" fmla="*/ 60 w 810"/>
              <a:gd name="T31" fmla="*/ 192 h 727"/>
              <a:gd name="T32" fmla="*/ 109 w 810"/>
              <a:gd name="T33" fmla="*/ 276 h 727"/>
              <a:gd name="T34" fmla="*/ 133 w 810"/>
              <a:gd name="T35" fmla="*/ 300 h 727"/>
              <a:gd name="T36" fmla="*/ 159 w 810"/>
              <a:gd name="T37" fmla="*/ 302 h 727"/>
              <a:gd name="T38" fmla="*/ 159 w 810"/>
              <a:gd name="T39" fmla="*/ 332 h 727"/>
              <a:gd name="T40" fmla="*/ 152 w 810"/>
              <a:gd name="T41" fmla="*/ 359 h 727"/>
              <a:gd name="T42" fmla="*/ 146 w 810"/>
              <a:gd name="T43" fmla="*/ 394 h 727"/>
              <a:gd name="T44" fmla="*/ 150 w 810"/>
              <a:gd name="T45" fmla="*/ 425 h 727"/>
              <a:gd name="T46" fmla="*/ 173 w 810"/>
              <a:gd name="T47" fmla="*/ 484 h 727"/>
              <a:gd name="T48" fmla="*/ 179 w 810"/>
              <a:gd name="T49" fmla="*/ 518 h 727"/>
              <a:gd name="T50" fmla="*/ 187 w 810"/>
              <a:gd name="T51" fmla="*/ 606 h 727"/>
              <a:gd name="T52" fmla="*/ 204 w 810"/>
              <a:gd name="T53" fmla="*/ 647 h 727"/>
              <a:gd name="T54" fmla="*/ 231 w 810"/>
              <a:gd name="T55" fmla="*/ 690 h 727"/>
              <a:gd name="T56" fmla="*/ 245 w 810"/>
              <a:gd name="T57" fmla="*/ 700 h 727"/>
              <a:gd name="T58" fmla="*/ 259 w 810"/>
              <a:gd name="T59" fmla="*/ 715 h 727"/>
              <a:gd name="T60" fmla="*/ 265 w 810"/>
              <a:gd name="T61" fmla="*/ 678 h 727"/>
              <a:gd name="T62" fmla="*/ 308 w 810"/>
              <a:gd name="T63" fmla="*/ 696 h 727"/>
              <a:gd name="T64" fmla="*/ 328 w 810"/>
              <a:gd name="T65" fmla="*/ 713 h 727"/>
              <a:gd name="T66" fmla="*/ 372 w 810"/>
              <a:gd name="T67" fmla="*/ 726 h 727"/>
              <a:gd name="T68" fmla="*/ 407 w 810"/>
              <a:gd name="T69" fmla="*/ 723 h 727"/>
              <a:gd name="T70" fmla="*/ 429 w 810"/>
              <a:gd name="T71" fmla="*/ 710 h 727"/>
              <a:gd name="T72" fmla="*/ 452 w 810"/>
              <a:gd name="T73" fmla="*/ 675 h 727"/>
              <a:gd name="T74" fmla="*/ 463 w 810"/>
              <a:gd name="T75" fmla="*/ 529 h 727"/>
              <a:gd name="T76" fmla="*/ 465 w 810"/>
              <a:gd name="T77" fmla="*/ 480 h 727"/>
              <a:gd name="T78" fmla="*/ 471 w 810"/>
              <a:gd name="T79" fmla="*/ 469 h 727"/>
              <a:gd name="T80" fmla="*/ 463 w 810"/>
              <a:gd name="T81" fmla="*/ 426 h 727"/>
              <a:gd name="T82" fmla="*/ 469 w 810"/>
              <a:gd name="T83" fmla="*/ 368 h 727"/>
              <a:gd name="T84" fmla="*/ 500 w 810"/>
              <a:gd name="T85" fmla="*/ 330 h 727"/>
              <a:gd name="T86" fmla="*/ 525 w 810"/>
              <a:gd name="T87" fmla="*/ 320 h 727"/>
              <a:gd name="T88" fmla="*/ 538 w 810"/>
              <a:gd name="T89" fmla="*/ 232 h 727"/>
              <a:gd name="T90" fmla="*/ 551 w 810"/>
              <a:gd name="T91" fmla="*/ 148 h 727"/>
              <a:gd name="T92" fmla="*/ 541 w 810"/>
              <a:gd name="T93" fmla="*/ 124 h 727"/>
              <a:gd name="T94" fmla="*/ 531 w 810"/>
              <a:gd name="T95" fmla="*/ 99 h 727"/>
              <a:gd name="T96" fmla="*/ 539 w 810"/>
              <a:gd name="T97" fmla="*/ 86 h 727"/>
              <a:gd name="T98" fmla="*/ 617 w 810"/>
              <a:gd name="T99" fmla="*/ 80 h 727"/>
              <a:gd name="T100" fmla="*/ 708 w 810"/>
              <a:gd name="T101" fmla="*/ 63 h 727"/>
              <a:gd name="T102" fmla="*/ 803 w 810"/>
              <a:gd name="T103" fmla="*/ 61 h 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10" h="727">
                <a:moveTo>
                  <a:pt x="810" y="61"/>
                </a:moveTo>
                <a:lnTo>
                  <a:pt x="807" y="54"/>
                </a:lnTo>
                <a:lnTo>
                  <a:pt x="802" y="48"/>
                </a:lnTo>
                <a:lnTo>
                  <a:pt x="797" y="42"/>
                </a:lnTo>
                <a:lnTo>
                  <a:pt x="790" y="36"/>
                </a:lnTo>
                <a:lnTo>
                  <a:pt x="784" y="32"/>
                </a:lnTo>
                <a:lnTo>
                  <a:pt x="775" y="28"/>
                </a:lnTo>
                <a:lnTo>
                  <a:pt x="766" y="26"/>
                </a:lnTo>
                <a:lnTo>
                  <a:pt x="756" y="25"/>
                </a:lnTo>
                <a:lnTo>
                  <a:pt x="743" y="26"/>
                </a:lnTo>
                <a:lnTo>
                  <a:pt x="730" y="29"/>
                </a:lnTo>
                <a:lnTo>
                  <a:pt x="718" y="33"/>
                </a:lnTo>
                <a:lnTo>
                  <a:pt x="703" y="37"/>
                </a:lnTo>
                <a:lnTo>
                  <a:pt x="671" y="37"/>
                </a:lnTo>
                <a:lnTo>
                  <a:pt x="651" y="41"/>
                </a:lnTo>
                <a:lnTo>
                  <a:pt x="634" y="44"/>
                </a:lnTo>
                <a:lnTo>
                  <a:pt x="627" y="46"/>
                </a:lnTo>
                <a:lnTo>
                  <a:pt x="619" y="48"/>
                </a:lnTo>
                <a:lnTo>
                  <a:pt x="611" y="51"/>
                </a:lnTo>
                <a:lnTo>
                  <a:pt x="604" y="55"/>
                </a:lnTo>
                <a:lnTo>
                  <a:pt x="411" y="55"/>
                </a:lnTo>
                <a:lnTo>
                  <a:pt x="411" y="37"/>
                </a:lnTo>
                <a:lnTo>
                  <a:pt x="292" y="37"/>
                </a:lnTo>
                <a:lnTo>
                  <a:pt x="280" y="40"/>
                </a:lnTo>
                <a:lnTo>
                  <a:pt x="269" y="41"/>
                </a:lnTo>
                <a:lnTo>
                  <a:pt x="257" y="40"/>
                </a:lnTo>
                <a:lnTo>
                  <a:pt x="245" y="39"/>
                </a:lnTo>
                <a:lnTo>
                  <a:pt x="232" y="37"/>
                </a:lnTo>
                <a:lnTo>
                  <a:pt x="220" y="34"/>
                </a:lnTo>
                <a:lnTo>
                  <a:pt x="208" y="30"/>
                </a:lnTo>
                <a:lnTo>
                  <a:pt x="196" y="26"/>
                </a:lnTo>
                <a:lnTo>
                  <a:pt x="172" y="17"/>
                </a:lnTo>
                <a:lnTo>
                  <a:pt x="149" y="8"/>
                </a:lnTo>
                <a:lnTo>
                  <a:pt x="137" y="5"/>
                </a:lnTo>
                <a:lnTo>
                  <a:pt x="126" y="2"/>
                </a:lnTo>
                <a:lnTo>
                  <a:pt x="116" y="0"/>
                </a:lnTo>
                <a:lnTo>
                  <a:pt x="105" y="0"/>
                </a:lnTo>
                <a:lnTo>
                  <a:pt x="97" y="0"/>
                </a:lnTo>
                <a:lnTo>
                  <a:pt x="91" y="2"/>
                </a:lnTo>
                <a:lnTo>
                  <a:pt x="83" y="5"/>
                </a:lnTo>
                <a:lnTo>
                  <a:pt x="75" y="8"/>
                </a:lnTo>
                <a:lnTo>
                  <a:pt x="68" y="13"/>
                </a:lnTo>
                <a:lnTo>
                  <a:pt x="60" y="19"/>
                </a:lnTo>
                <a:lnTo>
                  <a:pt x="53" y="24"/>
                </a:lnTo>
                <a:lnTo>
                  <a:pt x="46" y="31"/>
                </a:lnTo>
                <a:lnTo>
                  <a:pt x="6" y="31"/>
                </a:lnTo>
                <a:lnTo>
                  <a:pt x="3" y="45"/>
                </a:lnTo>
                <a:lnTo>
                  <a:pt x="0" y="55"/>
                </a:lnTo>
                <a:lnTo>
                  <a:pt x="0" y="58"/>
                </a:lnTo>
                <a:lnTo>
                  <a:pt x="2" y="61"/>
                </a:lnTo>
                <a:lnTo>
                  <a:pt x="4" y="64"/>
                </a:lnTo>
                <a:lnTo>
                  <a:pt x="7" y="68"/>
                </a:lnTo>
                <a:lnTo>
                  <a:pt x="12" y="70"/>
                </a:lnTo>
                <a:lnTo>
                  <a:pt x="16" y="72"/>
                </a:lnTo>
                <a:lnTo>
                  <a:pt x="21" y="74"/>
                </a:lnTo>
                <a:lnTo>
                  <a:pt x="26" y="74"/>
                </a:lnTo>
                <a:lnTo>
                  <a:pt x="26" y="86"/>
                </a:lnTo>
                <a:lnTo>
                  <a:pt x="28" y="99"/>
                </a:lnTo>
                <a:lnTo>
                  <a:pt x="32" y="113"/>
                </a:lnTo>
                <a:lnTo>
                  <a:pt x="36" y="129"/>
                </a:lnTo>
                <a:lnTo>
                  <a:pt x="40" y="144"/>
                </a:lnTo>
                <a:lnTo>
                  <a:pt x="47" y="160"/>
                </a:lnTo>
                <a:lnTo>
                  <a:pt x="53" y="175"/>
                </a:lnTo>
                <a:lnTo>
                  <a:pt x="60" y="192"/>
                </a:lnTo>
                <a:lnTo>
                  <a:pt x="77" y="223"/>
                </a:lnTo>
                <a:lnTo>
                  <a:pt x="93" y="252"/>
                </a:lnTo>
                <a:lnTo>
                  <a:pt x="102" y="265"/>
                </a:lnTo>
                <a:lnTo>
                  <a:pt x="109" y="276"/>
                </a:lnTo>
                <a:lnTo>
                  <a:pt x="117" y="286"/>
                </a:lnTo>
                <a:lnTo>
                  <a:pt x="125" y="296"/>
                </a:lnTo>
                <a:lnTo>
                  <a:pt x="128" y="298"/>
                </a:lnTo>
                <a:lnTo>
                  <a:pt x="133" y="300"/>
                </a:lnTo>
                <a:lnTo>
                  <a:pt x="137" y="301"/>
                </a:lnTo>
                <a:lnTo>
                  <a:pt x="142" y="301"/>
                </a:lnTo>
                <a:lnTo>
                  <a:pt x="151" y="302"/>
                </a:lnTo>
                <a:lnTo>
                  <a:pt x="159" y="302"/>
                </a:lnTo>
                <a:lnTo>
                  <a:pt x="159" y="309"/>
                </a:lnTo>
                <a:lnTo>
                  <a:pt x="159" y="317"/>
                </a:lnTo>
                <a:lnTo>
                  <a:pt x="159" y="326"/>
                </a:lnTo>
                <a:lnTo>
                  <a:pt x="159" y="332"/>
                </a:lnTo>
                <a:lnTo>
                  <a:pt x="158" y="339"/>
                </a:lnTo>
                <a:lnTo>
                  <a:pt x="157" y="346"/>
                </a:lnTo>
                <a:lnTo>
                  <a:pt x="154" y="353"/>
                </a:lnTo>
                <a:lnTo>
                  <a:pt x="152" y="359"/>
                </a:lnTo>
                <a:lnTo>
                  <a:pt x="149" y="366"/>
                </a:lnTo>
                <a:lnTo>
                  <a:pt x="147" y="374"/>
                </a:lnTo>
                <a:lnTo>
                  <a:pt x="146" y="383"/>
                </a:lnTo>
                <a:lnTo>
                  <a:pt x="146" y="394"/>
                </a:lnTo>
                <a:lnTo>
                  <a:pt x="146" y="403"/>
                </a:lnTo>
                <a:lnTo>
                  <a:pt x="147" y="410"/>
                </a:lnTo>
                <a:lnTo>
                  <a:pt x="148" y="418"/>
                </a:lnTo>
                <a:lnTo>
                  <a:pt x="150" y="425"/>
                </a:lnTo>
                <a:lnTo>
                  <a:pt x="156" y="439"/>
                </a:lnTo>
                <a:lnTo>
                  <a:pt x="162" y="453"/>
                </a:lnTo>
                <a:lnTo>
                  <a:pt x="168" y="469"/>
                </a:lnTo>
                <a:lnTo>
                  <a:pt x="173" y="484"/>
                </a:lnTo>
                <a:lnTo>
                  <a:pt x="175" y="491"/>
                </a:lnTo>
                <a:lnTo>
                  <a:pt x="178" y="500"/>
                </a:lnTo>
                <a:lnTo>
                  <a:pt x="179" y="508"/>
                </a:lnTo>
                <a:lnTo>
                  <a:pt x="179" y="518"/>
                </a:lnTo>
                <a:lnTo>
                  <a:pt x="179" y="542"/>
                </a:lnTo>
                <a:lnTo>
                  <a:pt x="180" y="564"/>
                </a:lnTo>
                <a:lnTo>
                  <a:pt x="183" y="586"/>
                </a:lnTo>
                <a:lnTo>
                  <a:pt x="187" y="606"/>
                </a:lnTo>
                <a:lnTo>
                  <a:pt x="191" y="616"/>
                </a:lnTo>
                <a:lnTo>
                  <a:pt x="194" y="627"/>
                </a:lnTo>
                <a:lnTo>
                  <a:pt x="198" y="637"/>
                </a:lnTo>
                <a:lnTo>
                  <a:pt x="204" y="647"/>
                </a:lnTo>
                <a:lnTo>
                  <a:pt x="209" y="657"/>
                </a:lnTo>
                <a:lnTo>
                  <a:pt x="216" y="667"/>
                </a:lnTo>
                <a:lnTo>
                  <a:pt x="224" y="679"/>
                </a:lnTo>
                <a:lnTo>
                  <a:pt x="231" y="690"/>
                </a:lnTo>
                <a:lnTo>
                  <a:pt x="235" y="696"/>
                </a:lnTo>
                <a:lnTo>
                  <a:pt x="238" y="698"/>
                </a:lnTo>
                <a:lnTo>
                  <a:pt x="241" y="700"/>
                </a:lnTo>
                <a:lnTo>
                  <a:pt x="245" y="700"/>
                </a:lnTo>
                <a:lnTo>
                  <a:pt x="249" y="701"/>
                </a:lnTo>
                <a:lnTo>
                  <a:pt x="252" y="703"/>
                </a:lnTo>
                <a:lnTo>
                  <a:pt x="256" y="707"/>
                </a:lnTo>
                <a:lnTo>
                  <a:pt x="259" y="715"/>
                </a:lnTo>
                <a:lnTo>
                  <a:pt x="259" y="708"/>
                </a:lnTo>
                <a:lnTo>
                  <a:pt x="262" y="699"/>
                </a:lnTo>
                <a:lnTo>
                  <a:pt x="264" y="688"/>
                </a:lnTo>
                <a:lnTo>
                  <a:pt x="265" y="678"/>
                </a:lnTo>
                <a:lnTo>
                  <a:pt x="298" y="678"/>
                </a:lnTo>
                <a:lnTo>
                  <a:pt x="301" y="685"/>
                </a:lnTo>
                <a:lnTo>
                  <a:pt x="304" y="691"/>
                </a:lnTo>
                <a:lnTo>
                  <a:pt x="308" y="696"/>
                </a:lnTo>
                <a:lnTo>
                  <a:pt x="313" y="701"/>
                </a:lnTo>
                <a:lnTo>
                  <a:pt x="317" y="706"/>
                </a:lnTo>
                <a:lnTo>
                  <a:pt x="322" y="710"/>
                </a:lnTo>
                <a:lnTo>
                  <a:pt x="328" y="713"/>
                </a:lnTo>
                <a:lnTo>
                  <a:pt x="333" y="716"/>
                </a:lnTo>
                <a:lnTo>
                  <a:pt x="346" y="721"/>
                </a:lnTo>
                <a:lnTo>
                  <a:pt x="359" y="724"/>
                </a:lnTo>
                <a:lnTo>
                  <a:pt x="372" y="726"/>
                </a:lnTo>
                <a:lnTo>
                  <a:pt x="384" y="727"/>
                </a:lnTo>
                <a:lnTo>
                  <a:pt x="393" y="726"/>
                </a:lnTo>
                <a:lnTo>
                  <a:pt x="400" y="725"/>
                </a:lnTo>
                <a:lnTo>
                  <a:pt x="407" y="723"/>
                </a:lnTo>
                <a:lnTo>
                  <a:pt x="414" y="721"/>
                </a:lnTo>
                <a:lnTo>
                  <a:pt x="419" y="718"/>
                </a:lnTo>
                <a:lnTo>
                  <a:pt x="425" y="714"/>
                </a:lnTo>
                <a:lnTo>
                  <a:pt x="429" y="710"/>
                </a:lnTo>
                <a:lnTo>
                  <a:pt x="433" y="706"/>
                </a:lnTo>
                <a:lnTo>
                  <a:pt x="441" y="696"/>
                </a:lnTo>
                <a:lnTo>
                  <a:pt x="447" y="686"/>
                </a:lnTo>
                <a:lnTo>
                  <a:pt x="452" y="675"/>
                </a:lnTo>
                <a:lnTo>
                  <a:pt x="458" y="665"/>
                </a:lnTo>
                <a:lnTo>
                  <a:pt x="458" y="554"/>
                </a:lnTo>
                <a:lnTo>
                  <a:pt x="462" y="542"/>
                </a:lnTo>
                <a:lnTo>
                  <a:pt x="463" y="529"/>
                </a:lnTo>
                <a:lnTo>
                  <a:pt x="464" y="516"/>
                </a:lnTo>
                <a:lnTo>
                  <a:pt x="464" y="502"/>
                </a:lnTo>
                <a:lnTo>
                  <a:pt x="464" y="490"/>
                </a:lnTo>
                <a:lnTo>
                  <a:pt x="465" y="480"/>
                </a:lnTo>
                <a:lnTo>
                  <a:pt x="466" y="476"/>
                </a:lnTo>
                <a:lnTo>
                  <a:pt x="467" y="473"/>
                </a:lnTo>
                <a:lnTo>
                  <a:pt x="469" y="470"/>
                </a:lnTo>
                <a:lnTo>
                  <a:pt x="471" y="469"/>
                </a:lnTo>
                <a:lnTo>
                  <a:pt x="466" y="456"/>
                </a:lnTo>
                <a:lnTo>
                  <a:pt x="464" y="444"/>
                </a:lnTo>
                <a:lnTo>
                  <a:pt x="463" y="435"/>
                </a:lnTo>
                <a:lnTo>
                  <a:pt x="463" y="426"/>
                </a:lnTo>
                <a:lnTo>
                  <a:pt x="463" y="409"/>
                </a:lnTo>
                <a:lnTo>
                  <a:pt x="464" y="388"/>
                </a:lnTo>
                <a:lnTo>
                  <a:pt x="465" y="378"/>
                </a:lnTo>
                <a:lnTo>
                  <a:pt x="469" y="368"/>
                </a:lnTo>
                <a:lnTo>
                  <a:pt x="474" y="358"/>
                </a:lnTo>
                <a:lnTo>
                  <a:pt x="482" y="348"/>
                </a:lnTo>
                <a:lnTo>
                  <a:pt x="490" y="338"/>
                </a:lnTo>
                <a:lnTo>
                  <a:pt x="500" y="330"/>
                </a:lnTo>
                <a:lnTo>
                  <a:pt x="506" y="327"/>
                </a:lnTo>
                <a:lnTo>
                  <a:pt x="511" y="324"/>
                </a:lnTo>
                <a:lnTo>
                  <a:pt x="518" y="322"/>
                </a:lnTo>
                <a:lnTo>
                  <a:pt x="525" y="320"/>
                </a:lnTo>
                <a:lnTo>
                  <a:pt x="526" y="298"/>
                </a:lnTo>
                <a:lnTo>
                  <a:pt x="528" y="275"/>
                </a:lnTo>
                <a:lnTo>
                  <a:pt x="532" y="254"/>
                </a:lnTo>
                <a:lnTo>
                  <a:pt x="538" y="232"/>
                </a:lnTo>
                <a:lnTo>
                  <a:pt x="542" y="211"/>
                </a:lnTo>
                <a:lnTo>
                  <a:pt x="546" y="190"/>
                </a:lnTo>
                <a:lnTo>
                  <a:pt x="550" y="168"/>
                </a:lnTo>
                <a:lnTo>
                  <a:pt x="551" y="148"/>
                </a:lnTo>
                <a:lnTo>
                  <a:pt x="550" y="141"/>
                </a:lnTo>
                <a:lnTo>
                  <a:pt x="548" y="135"/>
                </a:lnTo>
                <a:lnTo>
                  <a:pt x="544" y="129"/>
                </a:lnTo>
                <a:lnTo>
                  <a:pt x="541" y="124"/>
                </a:lnTo>
                <a:lnTo>
                  <a:pt x="537" y="117"/>
                </a:lnTo>
                <a:lnTo>
                  <a:pt x="533" y="111"/>
                </a:lnTo>
                <a:lnTo>
                  <a:pt x="531" y="105"/>
                </a:lnTo>
                <a:lnTo>
                  <a:pt x="531" y="99"/>
                </a:lnTo>
                <a:lnTo>
                  <a:pt x="531" y="94"/>
                </a:lnTo>
                <a:lnTo>
                  <a:pt x="532" y="91"/>
                </a:lnTo>
                <a:lnTo>
                  <a:pt x="535" y="88"/>
                </a:lnTo>
                <a:lnTo>
                  <a:pt x="539" y="86"/>
                </a:lnTo>
                <a:lnTo>
                  <a:pt x="548" y="84"/>
                </a:lnTo>
                <a:lnTo>
                  <a:pt x="559" y="83"/>
                </a:lnTo>
                <a:lnTo>
                  <a:pt x="587" y="82"/>
                </a:lnTo>
                <a:lnTo>
                  <a:pt x="617" y="80"/>
                </a:lnTo>
                <a:lnTo>
                  <a:pt x="640" y="74"/>
                </a:lnTo>
                <a:lnTo>
                  <a:pt x="662" y="70"/>
                </a:lnTo>
                <a:lnTo>
                  <a:pt x="685" y="67"/>
                </a:lnTo>
                <a:lnTo>
                  <a:pt x="708" y="63"/>
                </a:lnTo>
                <a:lnTo>
                  <a:pt x="731" y="62"/>
                </a:lnTo>
                <a:lnTo>
                  <a:pt x="754" y="61"/>
                </a:lnTo>
                <a:lnTo>
                  <a:pt x="778" y="61"/>
                </a:lnTo>
                <a:lnTo>
                  <a:pt x="803" y="61"/>
                </a:lnTo>
                <a:lnTo>
                  <a:pt x="810" y="6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27" name="Freeform 479"/>
          <p:cNvSpPr>
            <a:spLocks/>
          </p:cNvSpPr>
          <p:nvPr>
            <p:custDataLst>
              <p:tags r:id="rId317"/>
            </p:custDataLst>
          </p:nvPr>
        </p:nvSpPr>
        <p:spPr bwMode="auto">
          <a:xfrm>
            <a:off x="5100639" y="3133725"/>
            <a:ext cx="161925" cy="141288"/>
          </a:xfrm>
          <a:custGeom>
            <a:avLst/>
            <a:gdLst>
              <a:gd name="T0" fmla="*/ 203 w 365"/>
              <a:gd name="T1" fmla="*/ 250 h 271"/>
              <a:gd name="T2" fmla="*/ 163 w 365"/>
              <a:gd name="T3" fmla="*/ 246 h 271"/>
              <a:gd name="T4" fmla="*/ 121 w 365"/>
              <a:gd name="T5" fmla="*/ 247 h 271"/>
              <a:gd name="T6" fmla="*/ 92 w 365"/>
              <a:gd name="T7" fmla="*/ 250 h 271"/>
              <a:gd name="T8" fmla="*/ 74 w 365"/>
              <a:gd name="T9" fmla="*/ 255 h 271"/>
              <a:gd name="T10" fmla="*/ 26 w 365"/>
              <a:gd name="T11" fmla="*/ 271 h 271"/>
              <a:gd name="T12" fmla="*/ 20 w 365"/>
              <a:gd name="T13" fmla="*/ 270 h 271"/>
              <a:gd name="T14" fmla="*/ 17 w 365"/>
              <a:gd name="T15" fmla="*/ 266 h 271"/>
              <a:gd name="T16" fmla="*/ 18 w 365"/>
              <a:gd name="T17" fmla="*/ 254 h 271"/>
              <a:gd name="T18" fmla="*/ 26 w 365"/>
              <a:gd name="T19" fmla="*/ 228 h 271"/>
              <a:gd name="T20" fmla="*/ 61 w 365"/>
              <a:gd name="T21" fmla="*/ 226 h 271"/>
              <a:gd name="T22" fmla="*/ 89 w 365"/>
              <a:gd name="T23" fmla="*/ 222 h 271"/>
              <a:gd name="T24" fmla="*/ 115 w 365"/>
              <a:gd name="T25" fmla="*/ 218 h 271"/>
              <a:gd name="T26" fmla="*/ 146 w 365"/>
              <a:gd name="T27" fmla="*/ 216 h 271"/>
              <a:gd name="T28" fmla="*/ 182 w 365"/>
              <a:gd name="T29" fmla="*/ 218 h 271"/>
              <a:gd name="T30" fmla="*/ 199 w 365"/>
              <a:gd name="T31" fmla="*/ 218 h 271"/>
              <a:gd name="T32" fmla="*/ 219 w 365"/>
              <a:gd name="T33" fmla="*/ 216 h 271"/>
              <a:gd name="T34" fmla="*/ 215 w 365"/>
              <a:gd name="T35" fmla="*/ 208 h 271"/>
              <a:gd name="T36" fmla="*/ 210 w 365"/>
              <a:gd name="T37" fmla="*/ 201 h 271"/>
              <a:gd name="T38" fmla="*/ 195 w 365"/>
              <a:gd name="T39" fmla="*/ 194 h 271"/>
              <a:gd name="T40" fmla="*/ 175 w 365"/>
              <a:gd name="T41" fmla="*/ 191 h 271"/>
              <a:gd name="T42" fmla="*/ 152 w 365"/>
              <a:gd name="T43" fmla="*/ 190 h 271"/>
              <a:gd name="T44" fmla="*/ 93 w 365"/>
              <a:gd name="T45" fmla="*/ 192 h 271"/>
              <a:gd name="T46" fmla="*/ 64 w 365"/>
              <a:gd name="T47" fmla="*/ 196 h 271"/>
              <a:gd name="T48" fmla="*/ 33 w 365"/>
              <a:gd name="T49" fmla="*/ 203 h 271"/>
              <a:gd name="T50" fmla="*/ 38 w 365"/>
              <a:gd name="T51" fmla="*/ 183 h 271"/>
              <a:gd name="T52" fmla="*/ 39 w 365"/>
              <a:gd name="T53" fmla="*/ 172 h 271"/>
              <a:gd name="T54" fmla="*/ 26 w 365"/>
              <a:gd name="T55" fmla="*/ 164 h 271"/>
              <a:gd name="T56" fmla="*/ 13 w 365"/>
              <a:gd name="T57" fmla="*/ 160 h 271"/>
              <a:gd name="T58" fmla="*/ 11 w 365"/>
              <a:gd name="T59" fmla="*/ 147 h 271"/>
              <a:gd name="T60" fmla="*/ 6 w 365"/>
              <a:gd name="T61" fmla="*/ 143 h 271"/>
              <a:gd name="T62" fmla="*/ 2 w 365"/>
              <a:gd name="T63" fmla="*/ 141 h 271"/>
              <a:gd name="T64" fmla="*/ 0 w 365"/>
              <a:gd name="T65" fmla="*/ 135 h 271"/>
              <a:gd name="T66" fmla="*/ 5 w 365"/>
              <a:gd name="T67" fmla="*/ 115 h 271"/>
              <a:gd name="T68" fmla="*/ 17 w 365"/>
              <a:gd name="T69" fmla="*/ 92 h 271"/>
              <a:gd name="T70" fmla="*/ 30 w 365"/>
              <a:gd name="T71" fmla="*/ 69 h 271"/>
              <a:gd name="T72" fmla="*/ 39 w 365"/>
              <a:gd name="T73" fmla="*/ 49 h 271"/>
              <a:gd name="T74" fmla="*/ 48 w 365"/>
              <a:gd name="T75" fmla="*/ 42 h 271"/>
              <a:gd name="T76" fmla="*/ 49 w 365"/>
              <a:gd name="T77" fmla="*/ 48 h 271"/>
              <a:gd name="T78" fmla="*/ 52 w 365"/>
              <a:gd name="T79" fmla="*/ 36 h 271"/>
              <a:gd name="T80" fmla="*/ 75 w 365"/>
              <a:gd name="T81" fmla="*/ 31 h 271"/>
              <a:gd name="T82" fmla="*/ 114 w 365"/>
              <a:gd name="T83" fmla="*/ 18 h 271"/>
              <a:gd name="T84" fmla="*/ 165 w 365"/>
              <a:gd name="T85" fmla="*/ 0 h 271"/>
              <a:gd name="T86" fmla="*/ 184 w 365"/>
              <a:gd name="T87" fmla="*/ 15 h 271"/>
              <a:gd name="T88" fmla="*/ 202 w 365"/>
              <a:gd name="T89" fmla="*/ 24 h 271"/>
              <a:gd name="T90" fmla="*/ 220 w 365"/>
              <a:gd name="T91" fmla="*/ 29 h 271"/>
              <a:gd name="T92" fmla="*/ 239 w 365"/>
              <a:gd name="T93" fmla="*/ 30 h 271"/>
              <a:gd name="T94" fmla="*/ 241 w 365"/>
              <a:gd name="T95" fmla="*/ 52 h 271"/>
              <a:gd name="T96" fmla="*/ 247 w 365"/>
              <a:gd name="T97" fmla="*/ 69 h 271"/>
              <a:gd name="T98" fmla="*/ 254 w 365"/>
              <a:gd name="T99" fmla="*/ 84 h 271"/>
              <a:gd name="T100" fmla="*/ 264 w 365"/>
              <a:gd name="T101" fmla="*/ 95 h 271"/>
              <a:gd name="T102" fmla="*/ 305 w 365"/>
              <a:gd name="T103" fmla="*/ 129 h 271"/>
              <a:gd name="T104" fmla="*/ 352 w 365"/>
              <a:gd name="T105" fmla="*/ 234 h 271"/>
              <a:gd name="T106" fmla="*/ 359 w 365"/>
              <a:gd name="T107" fmla="*/ 257 h 271"/>
              <a:gd name="T108" fmla="*/ 365 w 365"/>
              <a:gd name="T109" fmla="*/ 271 h 271"/>
              <a:gd name="T110" fmla="*/ 321 w 365"/>
              <a:gd name="T111" fmla="*/ 259 h 271"/>
              <a:gd name="T112" fmla="*/ 275 w 365"/>
              <a:gd name="T113" fmla="*/ 252 h 271"/>
              <a:gd name="T114" fmla="*/ 248 w 365"/>
              <a:gd name="T115" fmla="*/ 251 h 271"/>
              <a:gd name="T116" fmla="*/ 219 w 365"/>
              <a:gd name="T117" fmla="*/ 252 h 2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65" h="271">
                <a:moveTo>
                  <a:pt x="219" y="252"/>
                </a:moveTo>
                <a:lnTo>
                  <a:pt x="203" y="250"/>
                </a:lnTo>
                <a:lnTo>
                  <a:pt x="184" y="248"/>
                </a:lnTo>
                <a:lnTo>
                  <a:pt x="163" y="246"/>
                </a:lnTo>
                <a:lnTo>
                  <a:pt x="142" y="246"/>
                </a:lnTo>
                <a:lnTo>
                  <a:pt x="121" y="247"/>
                </a:lnTo>
                <a:lnTo>
                  <a:pt x="101" y="249"/>
                </a:lnTo>
                <a:lnTo>
                  <a:pt x="92" y="250"/>
                </a:lnTo>
                <a:lnTo>
                  <a:pt x="82" y="252"/>
                </a:lnTo>
                <a:lnTo>
                  <a:pt x="74" y="255"/>
                </a:lnTo>
                <a:lnTo>
                  <a:pt x="65" y="258"/>
                </a:lnTo>
                <a:lnTo>
                  <a:pt x="26" y="271"/>
                </a:lnTo>
                <a:lnTo>
                  <a:pt x="23" y="271"/>
                </a:lnTo>
                <a:lnTo>
                  <a:pt x="20" y="270"/>
                </a:lnTo>
                <a:lnTo>
                  <a:pt x="18" y="268"/>
                </a:lnTo>
                <a:lnTo>
                  <a:pt x="17" y="266"/>
                </a:lnTo>
                <a:lnTo>
                  <a:pt x="17" y="260"/>
                </a:lnTo>
                <a:lnTo>
                  <a:pt x="18" y="254"/>
                </a:lnTo>
                <a:lnTo>
                  <a:pt x="24" y="240"/>
                </a:lnTo>
                <a:lnTo>
                  <a:pt x="26" y="228"/>
                </a:lnTo>
                <a:lnTo>
                  <a:pt x="45" y="227"/>
                </a:lnTo>
                <a:lnTo>
                  <a:pt x="61" y="226"/>
                </a:lnTo>
                <a:lnTo>
                  <a:pt x="75" y="224"/>
                </a:lnTo>
                <a:lnTo>
                  <a:pt x="89" y="222"/>
                </a:lnTo>
                <a:lnTo>
                  <a:pt x="102" y="220"/>
                </a:lnTo>
                <a:lnTo>
                  <a:pt x="115" y="218"/>
                </a:lnTo>
                <a:lnTo>
                  <a:pt x="129" y="216"/>
                </a:lnTo>
                <a:lnTo>
                  <a:pt x="146" y="216"/>
                </a:lnTo>
                <a:lnTo>
                  <a:pt x="164" y="217"/>
                </a:lnTo>
                <a:lnTo>
                  <a:pt x="182" y="218"/>
                </a:lnTo>
                <a:lnTo>
                  <a:pt x="191" y="218"/>
                </a:lnTo>
                <a:lnTo>
                  <a:pt x="199" y="218"/>
                </a:lnTo>
                <a:lnTo>
                  <a:pt x="209" y="217"/>
                </a:lnTo>
                <a:lnTo>
                  <a:pt x="219" y="216"/>
                </a:lnTo>
                <a:lnTo>
                  <a:pt x="217" y="211"/>
                </a:lnTo>
                <a:lnTo>
                  <a:pt x="215" y="208"/>
                </a:lnTo>
                <a:lnTo>
                  <a:pt x="213" y="203"/>
                </a:lnTo>
                <a:lnTo>
                  <a:pt x="210" y="201"/>
                </a:lnTo>
                <a:lnTo>
                  <a:pt x="204" y="196"/>
                </a:lnTo>
                <a:lnTo>
                  <a:pt x="195" y="194"/>
                </a:lnTo>
                <a:lnTo>
                  <a:pt x="186" y="192"/>
                </a:lnTo>
                <a:lnTo>
                  <a:pt x="175" y="191"/>
                </a:lnTo>
                <a:lnTo>
                  <a:pt x="164" y="191"/>
                </a:lnTo>
                <a:lnTo>
                  <a:pt x="152" y="190"/>
                </a:lnTo>
                <a:lnTo>
                  <a:pt x="120" y="191"/>
                </a:lnTo>
                <a:lnTo>
                  <a:pt x="93" y="192"/>
                </a:lnTo>
                <a:lnTo>
                  <a:pt x="79" y="193"/>
                </a:lnTo>
                <a:lnTo>
                  <a:pt x="64" y="196"/>
                </a:lnTo>
                <a:lnTo>
                  <a:pt x="49" y="199"/>
                </a:lnTo>
                <a:lnTo>
                  <a:pt x="33" y="203"/>
                </a:lnTo>
                <a:lnTo>
                  <a:pt x="37" y="191"/>
                </a:lnTo>
                <a:lnTo>
                  <a:pt x="38" y="183"/>
                </a:lnTo>
                <a:lnTo>
                  <a:pt x="39" y="177"/>
                </a:lnTo>
                <a:lnTo>
                  <a:pt x="39" y="172"/>
                </a:lnTo>
                <a:lnTo>
                  <a:pt x="34" y="168"/>
                </a:lnTo>
                <a:lnTo>
                  <a:pt x="26" y="164"/>
                </a:lnTo>
                <a:lnTo>
                  <a:pt x="18" y="161"/>
                </a:lnTo>
                <a:lnTo>
                  <a:pt x="13" y="160"/>
                </a:lnTo>
                <a:lnTo>
                  <a:pt x="13" y="153"/>
                </a:lnTo>
                <a:lnTo>
                  <a:pt x="11" y="147"/>
                </a:lnTo>
                <a:lnTo>
                  <a:pt x="8" y="144"/>
                </a:lnTo>
                <a:lnTo>
                  <a:pt x="6" y="143"/>
                </a:lnTo>
                <a:lnTo>
                  <a:pt x="4" y="142"/>
                </a:lnTo>
                <a:lnTo>
                  <a:pt x="2" y="141"/>
                </a:lnTo>
                <a:lnTo>
                  <a:pt x="0" y="139"/>
                </a:lnTo>
                <a:lnTo>
                  <a:pt x="0" y="135"/>
                </a:lnTo>
                <a:lnTo>
                  <a:pt x="1" y="125"/>
                </a:lnTo>
                <a:lnTo>
                  <a:pt x="5" y="115"/>
                </a:lnTo>
                <a:lnTo>
                  <a:pt x="11" y="104"/>
                </a:lnTo>
                <a:lnTo>
                  <a:pt x="17" y="92"/>
                </a:lnTo>
                <a:lnTo>
                  <a:pt x="24" y="80"/>
                </a:lnTo>
                <a:lnTo>
                  <a:pt x="30" y="69"/>
                </a:lnTo>
                <a:lnTo>
                  <a:pt x="36" y="59"/>
                </a:lnTo>
                <a:lnTo>
                  <a:pt x="39" y="49"/>
                </a:lnTo>
                <a:lnTo>
                  <a:pt x="45" y="43"/>
                </a:lnTo>
                <a:lnTo>
                  <a:pt x="48" y="42"/>
                </a:lnTo>
                <a:lnTo>
                  <a:pt x="49" y="44"/>
                </a:lnTo>
                <a:lnTo>
                  <a:pt x="49" y="48"/>
                </a:lnTo>
                <a:lnTo>
                  <a:pt x="48" y="51"/>
                </a:lnTo>
                <a:lnTo>
                  <a:pt x="52" y="36"/>
                </a:lnTo>
                <a:lnTo>
                  <a:pt x="61" y="35"/>
                </a:lnTo>
                <a:lnTo>
                  <a:pt x="75" y="31"/>
                </a:lnTo>
                <a:lnTo>
                  <a:pt x="94" y="25"/>
                </a:lnTo>
                <a:lnTo>
                  <a:pt x="114" y="18"/>
                </a:lnTo>
                <a:lnTo>
                  <a:pt x="150" y="6"/>
                </a:lnTo>
                <a:lnTo>
                  <a:pt x="165" y="0"/>
                </a:lnTo>
                <a:lnTo>
                  <a:pt x="175" y="8"/>
                </a:lnTo>
                <a:lnTo>
                  <a:pt x="184" y="15"/>
                </a:lnTo>
                <a:lnTo>
                  <a:pt x="194" y="20"/>
                </a:lnTo>
                <a:lnTo>
                  <a:pt x="202" y="24"/>
                </a:lnTo>
                <a:lnTo>
                  <a:pt x="210" y="27"/>
                </a:lnTo>
                <a:lnTo>
                  <a:pt x="220" y="29"/>
                </a:lnTo>
                <a:lnTo>
                  <a:pt x="229" y="30"/>
                </a:lnTo>
                <a:lnTo>
                  <a:pt x="239" y="30"/>
                </a:lnTo>
                <a:lnTo>
                  <a:pt x="239" y="42"/>
                </a:lnTo>
                <a:lnTo>
                  <a:pt x="241" y="52"/>
                </a:lnTo>
                <a:lnTo>
                  <a:pt x="243" y="61"/>
                </a:lnTo>
                <a:lnTo>
                  <a:pt x="247" y="69"/>
                </a:lnTo>
                <a:lnTo>
                  <a:pt x="250" y="77"/>
                </a:lnTo>
                <a:lnTo>
                  <a:pt x="254" y="84"/>
                </a:lnTo>
                <a:lnTo>
                  <a:pt x="259" y="90"/>
                </a:lnTo>
                <a:lnTo>
                  <a:pt x="264" y="95"/>
                </a:lnTo>
                <a:lnTo>
                  <a:pt x="286" y="115"/>
                </a:lnTo>
                <a:lnTo>
                  <a:pt x="305" y="129"/>
                </a:lnTo>
                <a:lnTo>
                  <a:pt x="305" y="210"/>
                </a:lnTo>
                <a:lnTo>
                  <a:pt x="352" y="234"/>
                </a:lnTo>
                <a:lnTo>
                  <a:pt x="353" y="245"/>
                </a:lnTo>
                <a:lnTo>
                  <a:pt x="359" y="257"/>
                </a:lnTo>
                <a:lnTo>
                  <a:pt x="363" y="267"/>
                </a:lnTo>
                <a:lnTo>
                  <a:pt x="365" y="271"/>
                </a:lnTo>
                <a:lnTo>
                  <a:pt x="353" y="267"/>
                </a:lnTo>
                <a:lnTo>
                  <a:pt x="321" y="259"/>
                </a:lnTo>
                <a:lnTo>
                  <a:pt x="300" y="255"/>
                </a:lnTo>
                <a:lnTo>
                  <a:pt x="275" y="252"/>
                </a:lnTo>
                <a:lnTo>
                  <a:pt x="262" y="251"/>
                </a:lnTo>
                <a:lnTo>
                  <a:pt x="248" y="251"/>
                </a:lnTo>
                <a:lnTo>
                  <a:pt x="233" y="251"/>
                </a:lnTo>
                <a:lnTo>
                  <a:pt x="219" y="25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28" name="Freeform 480"/>
          <p:cNvSpPr>
            <a:spLocks/>
          </p:cNvSpPr>
          <p:nvPr>
            <p:custDataLst>
              <p:tags r:id="rId318"/>
            </p:custDataLst>
          </p:nvPr>
        </p:nvSpPr>
        <p:spPr bwMode="auto">
          <a:xfrm>
            <a:off x="6273801" y="3695701"/>
            <a:ext cx="269875" cy="334963"/>
          </a:xfrm>
          <a:custGeom>
            <a:avLst/>
            <a:gdLst>
              <a:gd name="T0" fmla="*/ 146 w 624"/>
              <a:gd name="T1" fmla="*/ 12 h 640"/>
              <a:gd name="T2" fmla="*/ 239 w 624"/>
              <a:gd name="T3" fmla="*/ 12 h 640"/>
              <a:gd name="T4" fmla="*/ 287 w 624"/>
              <a:gd name="T5" fmla="*/ 5 h 640"/>
              <a:gd name="T6" fmla="*/ 326 w 624"/>
              <a:gd name="T7" fmla="*/ 22 h 640"/>
              <a:gd name="T8" fmla="*/ 396 w 624"/>
              <a:gd name="T9" fmla="*/ 66 h 640"/>
              <a:gd name="T10" fmla="*/ 465 w 624"/>
              <a:gd name="T11" fmla="*/ 111 h 640"/>
              <a:gd name="T12" fmla="*/ 469 w 624"/>
              <a:gd name="T13" fmla="*/ 131 h 640"/>
              <a:gd name="T14" fmla="*/ 480 w 624"/>
              <a:gd name="T15" fmla="*/ 153 h 640"/>
              <a:gd name="T16" fmla="*/ 497 w 624"/>
              <a:gd name="T17" fmla="*/ 170 h 640"/>
              <a:gd name="T18" fmla="*/ 519 w 624"/>
              <a:gd name="T19" fmla="*/ 183 h 640"/>
              <a:gd name="T20" fmla="*/ 543 w 624"/>
              <a:gd name="T21" fmla="*/ 190 h 640"/>
              <a:gd name="T22" fmla="*/ 554 w 624"/>
              <a:gd name="T23" fmla="*/ 195 h 640"/>
              <a:gd name="T24" fmla="*/ 565 w 624"/>
              <a:gd name="T25" fmla="*/ 205 h 640"/>
              <a:gd name="T26" fmla="*/ 561 w 624"/>
              <a:gd name="T27" fmla="*/ 227 h 640"/>
              <a:gd name="T28" fmla="*/ 537 w 624"/>
              <a:gd name="T29" fmla="*/ 252 h 640"/>
              <a:gd name="T30" fmla="*/ 525 w 624"/>
              <a:gd name="T31" fmla="*/ 271 h 640"/>
              <a:gd name="T32" fmla="*/ 533 w 624"/>
              <a:gd name="T33" fmla="*/ 287 h 640"/>
              <a:gd name="T34" fmla="*/ 547 w 624"/>
              <a:gd name="T35" fmla="*/ 299 h 640"/>
              <a:gd name="T36" fmla="*/ 552 w 624"/>
              <a:gd name="T37" fmla="*/ 425 h 640"/>
              <a:gd name="T38" fmla="*/ 550 w 624"/>
              <a:gd name="T39" fmla="*/ 439 h 640"/>
              <a:gd name="T40" fmla="*/ 558 w 624"/>
              <a:gd name="T41" fmla="*/ 462 h 640"/>
              <a:gd name="T42" fmla="*/ 558 w 624"/>
              <a:gd name="T43" fmla="*/ 489 h 640"/>
              <a:gd name="T44" fmla="*/ 561 w 624"/>
              <a:gd name="T45" fmla="*/ 515 h 640"/>
              <a:gd name="T46" fmla="*/ 594 w 624"/>
              <a:gd name="T47" fmla="*/ 549 h 640"/>
              <a:gd name="T48" fmla="*/ 616 w 624"/>
              <a:gd name="T49" fmla="*/ 579 h 640"/>
              <a:gd name="T50" fmla="*/ 575 w 624"/>
              <a:gd name="T51" fmla="*/ 600 h 640"/>
              <a:gd name="T52" fmla="*/ 491 w 624"/>
              <a:gd name="T53" fmla="*/ 631 h 640"/>
              <a:gd name="T54" fmla="*/ 443 w 624"/>
              <a:gd name="T55" fmla="*/ 638 h 640"/>
              <a:gd name="T56" fmla="*/ 392 w 624"/>
              <a:gd name="T57" fmla="*/ 628 h 640"/>
              <a:gd name="T58" fmla="*/ 339 w 624"/>
              <a:gd name="T59" fmla="*/ 633 h 640"/>
              <a:gd name="T60" fmla="*/ 306 w 624"/>
              <a:gd name="T61" fmla="*/ 628 h 640"/>
              <a:gd name="T62" fmla="*/ 299 w 624"/>
              <a:gd name="T63" fmla="*/ 614 h 640"/>
              <a:gd name="T64" fmla="*/ 294 w 624"/>
              <a:gd name="T65" fmla="*/ 573 h 640"/>
              <a:gd name="T66" fmla="*/ 288 w 624"/>
              <a:gd name="T67" fmla="*/ 529 h 640"/>
              <a:gd name="T68" fmla="*/ 253 w 624"/>
              <a:gd name="T69" fmla="*/ 517 h 640"/>
              <a:gd name="T70" fmla="*/ 185 w 624"/>
              <a:gd name="T71" fmla="*/ 502 h 640"/>
              <a:gd name="T72" fmla="*/ 90 w 624"/>
              <a:gd name="T73" fmla="*/ 459 h 640"/>
              <a:gd name="T74" fmla="*/ 68 w 624"/>
              <a:gd name="T75" fmla="*/ 446 h 640"/>
              <a:gd name="T76" fmla="*/ 66 w 624"/>
              <a:gd name="T77" fmla="*/ 428 h 640"/>
              <a:gd name="T78" fmla="*/ 65 w 624"/>
              <a:gd name="T79" fmla="*/ 402 h 640"/>
              <a:gd name="T80" fmla="*/ 53 w 624"/>
              <a:gd name="T81" fmla="*/ 377 h 640"/>
              <a:gd name="T82" fmla="*/ 41 w 624"/>
              <a:gd name="T83" fmla="*/ 357 h 640"/>
              <a:gd name="T84" fmla="*/ 27 w 624"/>
              <a:gd name="T85" fmla="*/ 347 h 640"/>
              <a:gd name="T86" fmla="*/ 12 w 624"/>
              <a:gd name="T87" fmla="*/ 332 h 640"/>
              <a:gd name="T88" fmla="*/ 5 w 624"/>
              <a:gd name="T89" fmla="*/ 308 h 640"/>
              <a:gd name="T90" fmla="*/ 0 w 624"/>
              <a:gd name="T91" fmla="*/ 262 h 640"/>
              <a:gd name="T92" fmla="*/ 0 w 624"/>
              <a:gd name="T93" fmla="*/ 234 h 640"/>
              <a:gd name="T94" fmla="*/ 10 w 624"/>
              <a:gd name="T95" fmla="*/ 212 h 640"/>
              <a:gd name="T96" fmla="*/ 38 w 624"/>
              <a:gd name="T97" fmla="*/ 195 h 640"/>
              <a:gd name="T98" fmla="*/ 61 w 624"/>
              <a:gd name="T99" fmla="*/ 173 h 640"/>
              <a:gd name="T100" fmla="*/ 77 w 624"/>
              <a:gd name="T101" fmla="*/ 77 h 640"/>
              <a:gd name="T102" fmla="*/ 84 w 624"/>
              <a:gd name="T103" fmla="*/ 43 h 640"/>
              <a:gd name="T104" fmla="*/ 82 w 624"/>
              <a:gd name="T105" fmla="*/ 8 h 6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624" h="640">
                <a:moveTo>
                  <a:pt x="79" y="0"/>
                </a:moveTo>
                <a:lnTo>
                  <a:pt x="146" y="0"/>
                </a:lnTo>
                <a:lnTo>
                  <a:pt x="146" y="12"/>
                </a:lnTo>
                <a:lnTo>
                  <a:pt x="173" y="43"/>
                </a:lnTo>
                <a:lnTo>
                  <a:pt x="232" y="43"/>
                </a:lnTo>
                <a:lnTo>
                  <a:pt x="239" y="12"/>
                </a:lnTo>
                <a:lnTo>
                  <a:pt x="259" y="0"/>
                </a:lnTo>
                <a:lnTo>
                  <a:pt x="273" y="0"/>
                </a:lnTo>
                <a:lnTo>
                  <a:pt x="287" y="5"/>
                </a:lnTo>
                <a:lnTo>
                  <a:pt x="301" y="10"/>
                </a:lnTo>
                <a:lnTo>
                  <a:pt x="314" y="16"/>
                </a:lnTo>
                <a:lnTo>
                  <a:pt x="326" y="22"/>
                </a:lnTo>
                <a:lnTo>
                  <a:pt x="351" y="36"/>
                </a:lnTo>
                <a:lnTo>
                  <a:pt x="374" y="51"/>
                </a:lnTo>
                <a:lnTo>
                  <a:pt x="396" y="66"/>
                </a:lnTo>
                <a:lnTo>
                  <a:pt x="418" y="81"/>
                </a:lnTo>
                <a:lnTo>
                  <a:pt x="441" y="97"/>
                </a:lnTo>
                <a:lnTo>
                  <a:pt x="465" y="111"/>
                </a:lnTo>
                <a:lnTo>
                  <a:pt x="465" y="118"/>
                </a:lnTo>
                <a:lnTo>
                  <a:pt x="467" y="124"/>
                </a:lnTo>
                <a:lnTo>
                  <a:pt x="469" y="131"/>
                </a:lnTo>
                <a:lnTo>
                  <a:pt x="471" y="138"/>
                </a:lnTo>
                <a:lnTo>
                  <a:pt x="476" y="146"/>
                </a:lnTo>
                <a:lnTo>
                  <a:pt x="480" y="153"/>
                </a:lnTo>
                <a:lnTo>
                  <a:pt x="485" y="159"/>
                </a:lnTo>
                <a:lnTo>
                  <a:pt x="491" y="165"/>
                </a:lnTo>
                <a:lnTo>
                  <a:pt x="497" y="170"/>
                </a:lnTo>
                <a:lnTo>
                  <a:pt x="503" y="175"/>
                </a:lnTo>
                <a:lnTo>
                  <a:pt x="511" y="179"/>
                </a:lnTo>
                <a:lnTo>
                  <a:pt x="519" y="183"/>
                </a:lnTo>
                <a:lnTo>
                  <a:pt x="526" y="186"/>
                </a:lnTo>
                <a:lnTo>
                  <a:pt x="534" y="188"/>
                </a:lnTo>
                <a:lnTo>
                  <a:pt x="543" y="190"/>
                </a:lnTo>
                <a:lnTo>
                  <a:pt x="552" y="190"/>
                </a:lnTo>
                <a:lnTo>
                  <a:pt x="552" y="193"/>
                </a:lnTo>
                <a:lnTo>
                  <a:pt x="554" y="195"/>
                </a:lnTo>
                <a:lnTo>
                  <a:pt x="556" y="198"/>
                </a:lnTo>
                <a:lnTo>
                  <a:pt x="559" y="200"/>
                </a:lnTo>
                <a:lnTo>
                  <a:pt x="565" y="205"/>
                </a:lnTo>
                <a:lnTo>
                  <a:pt x="571" y="209"/>
                </a:lnTo>
                <a:lnTo>
                  <a:pt x="567" y="219"/>
                </a:lnTo>
                <a:lnTo>
                  <a:pt x="561" y="227"/>
                </a:lnTo>
                <a:lnTo>
                  <a:pt x="554" y="236"/>
                </a:lnTo>
                <a:lnTo>
                  <a:pt x="545" y="244"/>
                </a:lnTo>
                <a:lnTo>
                  <a:pt x="537" y="252"/>
                </a:lnTo>
                <a:lnTo>
                  <a:pt x="531" y="260"/>
                </a:lnTo>
                <a:lnTo>
                  <a:pt x="526" y="266"/>
                </a:lnTo>
                <a:lnTo>
                  <a:pt x="525" y="271"/>
                </a:lnTo>
                <a:lnTo>
                  <a:pt x="526" y="277"/>
                </a:lnTo>
                <a:lnTo>
                  <a:pt x="528" y="283"/>
                </a:lnTo>
                <a:lnTo>
                  <a:pt x="533" y="287"/>
                </a:lnTo>
                <a:lnTo>
                  <a:pt x="538" y="291"/>
                </a:lnTo>
                <a:lnTo>
                  <a:pt x="543" y="295"/>
                </a:lnTo>
                <a:lnTo>
                  <a:pt x="547" y="299"/>
                </a:lnTo>
                <a:lnTo>
                  <a:pt x="550" y="303"/>
                </a:lnTo>
                <a:lnTo>
                  <a:pt x="552" y="307"/>
                </a:lnTo>
                <a:lnTo>
                  <a:pt x="552" y="425"/>
                </a:lnTo>
                <a:lnTo>
                  <a:pt x="549" y="430"/>
                </a:lnTo>
                <a:lnTo>
                  <a:pt x="549" y="434"/>
                </a:lnTo>
                <a:lnTo>
                  <a:pt x="550" y="439"/>
                </a:lnTo>
                <a:lnTo>
                  <a:pt x="552" y="443"/>
                </a:lnTo>
                <a:lnTo>
                  <a:pt x="556" y="452"/>
                </a:lnTo>
                <a:lnTo>
                  <a:pt x="558" y="462"/>
                </a:lnTo>
                <a:lnTo>
                  <a:pt x="558" y="475"/>
                </a:lnTo>
                <a:lnTo>
                  <a:pt x="558" y="483"/>
                </a:lnTo>
                <a:lnTo>
                  <a:pt x="558" y="489"/>
                </a:lnTo>
                <a:lnTo>
                  <a:pt x="558" y="499"/>
                </a:lnTo>
                <a:lnTo>
                  <a:pt x="559" y="507"/>
                </a:lnTo>
                <a:lnTo>
                  <a:pt x="561" y="515"/>
                </a:lnTo>
                <a:lnTo>
                  <a:pt x="567" y="523"/>
                </a:lnTo>
                <a:lnTo>
                  <a:pt x="574" y="532"/>
                </a:lnTo>
                <a:lnTo>
                  <a:pt x="594" y="549"/>
                </a:lnTo>
                <a:lnTo>
                  <a:pt x="624" y="572"/>
                </a:lnTo>
                <a:lnTo>
                  <a:pt x="622" y="575"/>
                </a:lnTo>
                <a:lnTo>
                  <a:pt x="616" y="579"/>
                </a:lnTo>
                <a:lnTo>
                  <a:pt x="609" y="583"/>
                </a:lnTo>
                <a:lnTo>
                  <a:pt x="599" y="589"/>
                </a:lnTo>
                <a:lnTo>
                  <a:pt x="575" y="600"/>
                </a:lnTo>
                <a:lnTo>
                  <a:pt x="546" y="611"/>
                </a:lnTo>
                <a:lnTo>
                  <a:pt x="518" y="622"/>
                </a:lnTo>
                <a:lnTo>
                  <a:pt x="491" y="631"/>
                </a:lnTo>
                <a:lnTo>
                  <a:pt x="470" y="638"/>
                </a:lnTo>
                <a:lnTo>
                  <a:pt x="458" y="640"/>
                </a:lnTo>
                <a:lnTo>
                  <a:pt x="443" y="638"/>
                </a:lnTo>
                <a:lnTo>
                  <a:pt x="423" y="634"/>
                </a:lnTo>
                <a:lnTo>
                  <a:pt x="403" y="630"/>
                </a:lnTo>
                <a:lnTo>
                  <a:pt x="392" y="628"/>
                </a:lnTo>
                <a:lnTo>
                  <a:pt x="369" y="630"/>
                </a:lnTo>
                <a:lnTo>
                  <a:pt x="348" y="632"/>
                </a:lnTo>
                <a:lnTo>
                  <a:pt x="339" y="633"/>
                </a:lnTo>
                <a:lnTo>
                  <a:pt x="329" y="633"/>
                </a:lnTo>
                <a:lnTo>
                  <a:pt x="318" y="631"/>
                </a:lnTo>
                <a:lnTo>
                  <a:pt x="306" y="628"/>
                </a:lnTo>
                <a:lnTo>
                  <a:pt x="303" y="625"/>
                </a:lnTo>
                <a:lnTo>
                  <a:pt x="301" y="620"/>
                </a:lnTo>
                <a:lnTo>
                  <a:pt x="299" y="614"/>
                </a:lnTo>
                <a:lnTo>
                  <a:pt x="298" y="608"/>
                </a:lnTo>
                <a:lnTo>
                  <a:pt x="295" y="592"/>
                </a:lnTo>
                <a:lnTo>
                  <a:pt x="294" y="573"/>
                </a:lnTo>
                <a:lnTo>
                  <a:pt x="291" y="556"/>
                </a:lnTo>
                <a:lnTo>
                  <a:pt x="289" y="541"/>
                </a:lnTo>
                <a:lnTo>
                  <a:pt x="288" y="529"/>
                </a:lnTo>
                <a:lnTo>
                  <a:pt x="286" y="523"/>
                </a:lnTo>
                <a:lnTo>
                  <a:pt x="270" y="519"/>
                </a:lnTo>
                <a:lnTo>
                  <a:pt x="253" y="517"/>
                </a:lnTo>
                <a:lnTo>
                  <a:pt x="232" y="515"/>
                </a:lnTo>
                <a:lnTo>
                  <a:pt x="206" y="511"/>
                </a:lnTo>
                <a:lnTo>
                  <a:pt x="185" y="502"/>
                </a:lnTo>
                <a:lnTo>
                  <a:pt x="139" y="482"/>
                </a:lnTo>
                <a:lnTo>
                  <a:pt x="113" y="470"/>
                </a:lnTo>
                <a:lnTo>
                  <a:pt x="90" y="459"/>
                </a:lnTo>
                <a:lnTo>
                  <a:pt x="82" y="454"/>
                </a:lnTo>
                <a:lnTo>
                  <a:pt x="74" y="450"/>
                </a:lnTo>
                <a:lnTo>
                  <a:pt x="68" y="446"/>
                </a:lnTo>
                <a:lnTo>
                  <a:pt x="66" y="443"/>
                </a:lnTo>
                <a:lnTo>
                  <a:pt x="66" y="437"/>
                </a:lnTo>
                <a:lnTo>
                  <a:pt x="66" y="428"/>
                </a:lnTo>
                <a:lnTo>
                  <a:pt x="66" y="419"/>
                </a:lnTo>
                <a:lnTo>
                  <a:pt x="66" y="412"/>
                </a:lnTo>
                <a:lnTo>
                  <a:pt x="65" y="402"/>
                </a:lnTo>
                <a:lnTo>
                  <a:pt x="62" y="392"/>
                </a:lnTo>
                <a:lnTo>
                  <a:pt x="57" y="384"/>
                </a:lnTo>
                <a:lnTo>
                  <a:pt x="53" y="377"/>
                </a:lnTo>
                <a:lnTo>
                  <a:pt x="48" y="371"/>
                </a:lnTo>
                <a:lnTo>
                  <a:pt x="44" y="363"/>
                </a:lnTo>
                <a:lnTo>
                  <a:pt x="41" y="357"/>
                </a:lnTo>
                <a:lnTo>
                  <a:pt x="40" y="351"/>
                </a:lnTo>
                <a:lnTo>
                  <a:pt x="32" y="350"/>
                </a:lnTo>
                <a:lnTo>
                  <a:pt x="27" y="347"/>
                </a:lnTo>
                <a:lnTo>
                  <a:pt x="21" y="343"/>
                </a:lnTo>
                <a:lnTo>
                  <a:pt x="17" y="338"/>
                </a:lnTo>
                <a:lnTo>
                  <a:pt x="12" y="332"/>
                </a:lnTo>
                <a:lnTo>
                  <a:pt x="9" y="325"/>
                </a:lnTo>
                <a:lnTo>
                  <a:pt x="7" y="317"/>
                </a:lnTo>
                <a:lnTo>
                  <a:pt x="5" y="308"/>
                </a:lnTo>
                <a:lnTo>
                  <a:pt x="1" y="291"/>
                </a:lnTo>
                <a:lnTo>
                  <a:pt x="0" y="276"/>
                </a:lnTo>
                <a:lnTo>
                  <a:pt x="0" y="262"/>
                </a:lnTo>
                <a:lnTo>
                  <a:pt x="0" y="252"/>
                </a:lnTo>
                <a:lnTo>
                  <a:pt x="0" y="243"/>
                </a:lnTo>
                <a:lnTo>
                  <a:pt x="0" y="234"/>
                </a:lnTo>
                <a:lnTo>
                  <a:pt x="0" y="225"/>
                </a:lnTo>
                <a:lnTo>
                  <a:pt x="0" y="215"/>
                </a:lnTo>
                <a:lnTo>
                  <a:pt x="10" y="212"/>
                </a:lnTo>
                <a:lnTo>
                  <a:pt x="20" y="208"/>
                </a:lnTo>
                <a:lnTo>
                  <a:pt x="29" y="202"/>
                </a:lnTo>
                <a:lnTo>
                  <a:pt x="38" y="195"/>
                </a:lnTo>
                <a:lnTo>
                  <a:pt x="46" y="188"/>
                </a:lnTo>
                <a:lnTo>
                  <a:pt x="54" y="180"/>
                </a:lnTo>
                <a:lnTo>
                  <a:pt x="61" y="173"/>
                </a:lnTo>
                <a:lnTo>
                  <a:pt x="66" y="166"/>
                </a:lnTo>
                <a:lnTo>
                  <a:pt x="73" y="85"/>
                </a:lnTo>
                <a:lnTo>
                  <a:pt x="77" y="77"/>
                </a:lnTo>
                <a:lnTo>
                  <a:pt x="81" y="67"/>
                </a:lnTo>
                <a:lnTo>
                  <a:pt x="83" y="55"/>
                </a:lnTo>
                <a:lnTo>
                  <a:pt x="84" y="43"/>
                </a:lnTo>
                <a:lnTo>
                  <a:pt x="84" y="30"/>
                </a:lnTo>
                <a:lnTo>
                  <a:pt x="83" y="18"/>
                </a:lnTo>
                <a:lnTo>
                  <a:pt x="82" y="8"/>
                </a:lnTo>
                <a:lnTo>
                  <a:pt x="79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29" name="Freeform 481"/>
          <p:cNvSpPr>
            <a:spLocks/>
          </p:cNvSpPr>
          <p:nvPr>
            <p:custDataLst>
              <p:tags r:id="rId319"/>
            </p:custDataLst>
          </p:nvPr>
        </p:nvSpPr>
        <p:spPr bwMode="auto">
          <a:xfrm>
            <a:off x="8837613" y="2209800"/>
            <a:ext cx="19050" cy="57150"/>
          </a:xfrm>
          <a:custGeom>
            <a:avLst/>
            <a:gdLst>
              <a:gd name="T0" fmla="*/ 13 w 52"/>
              <a:gd name="T1" fmla="*/ 50 h 50"/>
              <a:gd name="T2" fmla="*/ 0 w 52"/>
              <a:gd name="T3" fmla="*/ 32 h 50"/>
              <a:gd name="T4" fmla="*/ 2 w 52"/>
              <a:gd name="T5" fmla="*/ 25 h 50"/>
              <a:gd name="T6" fmla="*/ 6 w 52"/>
              <a:gd name="T7" fmla="*/ 18 h 50"/>
              <a:gd name="T8" fmla="*/ 12 w 52"/>
              <a:gd name="T9" fmla="*/ 13 h 50"/>
              <a:gd name="T10" fmla="*/ 18 w 52"/>
              <a:gd name="T11" fmla="*/ 9 h 50"/>
              <a:gd name="T12" fmla="*/ 26 w 52"/>
              <a:gd name="T13" fmla="*/ 5 h 50"/>
              <a:gd name="T14" fmla="*/ 34 w 52"/>
              <a:gd name="T15" fmla="*/ 3 h 50"/>
              <a:gd name="T16" fmla="*/ 43 w 52"/>
              <a:gd name="T17" fmla="*/ 1 h 50"/>
              <a:gd name="T18" fmla="*/ 52 w 52"/>
              <a:gd name="T19" fmla="*/ 0 h 50"/>
              <a:gd name="T20" fmla="*/ 40 w 52"/>
              <a:gd name="T21" fmla="*/ 11 h 50"/>
              <a:gd name="T22" fmla="*/ 27 w 52"/>
              <a:gd name="T23" fmla="*/ 22 h 50"/>
              <a:gd name="T24" fmla="*/ 22 w 52"/>
              <a:gd name="T25" fmla="*/ 30 h 50"/>
              <a:gd name="T26" fmla="*/ 17 w 52"/>
              <a:gd name="T27" fmla="*/ 36 h 50"/>
              <a:gd name="T28" fmla="*/ 14 w 52"/>
              <a:gd name="T29" fmla="*/ 43 h 50"/>
              <a:gd name="T30" fmla="*/ 13 w 52"/>
              <a:gd name="T31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2" h="50">
                <a:moveTo>
                  <a:pt x="13" y="50"/>
                </a:moveTo>
                <a:lnTo>
                  <a:pt x="0" y="32"/>
                </a:lnTo>
                <a:lnTo>
                  <a:pt x="2" y="25"/>
                </a:lnTo>
                <a:lnTo>
                  <a:pt x="6" y="18"/>
                </a:lnTo>
                <a:lnTo>
                  <a:pt x="12" y="13"/>
                </a:lnTo>
                <a:lnTo>
                  <a:pt x="18" y="9"/>
                </a:lnTo>
                <a:lnTo>
                  <a:pt x="26" y="5"/>
                </a:lnTo>
                <a:lnTo>
                  <a:pt x="34" y="3"/>
                </a:lnTo>
                <a:lnTo>
                  <a:pt x="43" y="1"/>
                </a:lnTo>
                <a:lnTo>
                  <a:pt x="52" y="0"/>
                </a:lnTo>
                <a:lnTo>
                  <a:pt x="40" y="11"/>
                </a:lnTo>
                <a:lnTo>
                  <a:pt x="27" y="22"/>
                </a:lnTo>
                <a:lnTo>
                  <a:pt x="22" y="30"/>
                </a:lnTo>
                <a:lnTo>
                  <a:pt x="17" y="36"/>
                </a:lnTo>
                <a:lnTo>
                  <a:pt x="14" y="43"/>
                </a:lnTo>
                <a:lnTo>
                  <a:pt x="13" y="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30" name="Freeform 482"/>
          <p:cNvSpPr>
            <a:spLocks/>
          </p:cNvSpPr>
          <p:nvPr>
            <p:custDataLst>
              <p:tags r:id="rId320"/>
            </p:custDataLst>
          </p:nvPr>
        </p:nvSpPr>
        <p:spPr bwMode="auto">
          <a:xfrm>
            <a:off x="8696325" y="2211388"/>
            <a:ext cx="141288" cy="125412"/>
          </a:xfrm>
          <a:custGeom>
            <a:avLst/>
            <a:gdLst>
              <a:gd name="T0" fmla="*/ 76 w 320"/>
              <a:gd name="T1" fmla="*/ 231 h 234"/>
              <a:gd name="T2" fmla="*/ 61 w 320"/>
              <a:gd name="T3" fmla="*/ 226 h 234"/>
              <a:gd name="T4" fmla="*/ 66 w 320"/>
              <a:gd name="T5" fmla="*/ 222 h 234"/>
              <a:gd name="T6" fmla="*/ 77 w 320"/>
              <a:gd name="T7" fmla="*/ 217 h 234"/>
              <a:gd name="T8" fmla="*/ 64 w 320"/>
              <a:gd name="T9" fmla="*/ 204 h 234"/>
              <a:gd name="T10" fmla="*/ 43 w 320"/>
              <a:gd name="T11" fmla="*/ 189 h 234"/>
              <a:gd name="T12" fmla="*/ 36 w 320"/>
              <a:gd name="T13" fmla="*/ 179 h 234"/>
              <a:gd name="T14" fmla="*/ 34 w 320"/>
              <a:gd name="T15" fmla="*/ 171 h 234"/>
              <a:gd name="T16" fmla="*/ 34 w 320"/>
              <a:gd name="T17" fmla="*/ 164 h 234"/>
              <a:gd name="T18" fmla="*/ 36 w 320"/>
              <a:gd name="T19" fmla="*/ 157 h 234"/>
              <a:gd name="T20" fmla="*/ 43 w 320"/>
              <a:gd name="T21" fmla="*/ 149 h 234"/>
              <a:gd name="T22" fmla="*/ 56 w 320"/>
              <a:gd name="T23" fmla="*/ 141 h 234"/>
              <a:gd name="T24" fmla="*/ 73 w 320"/>
              <a:gd name="T25" fmla="*/ 137 h 234"/>
              <a:gd name="T26" fmla="*/ 80 w 320"/>
              <a:gd name="T27" fmla="*/ 126 h 234"/>
              <a:gd name="T28" fmla="*/ 67 w 320"/>
              <a:gd name="T29" fmla="*/ 111 h 234"/>
              <a:gd name="T30" fmla="*/ 61 w 320"/>
              <a:gd name="T31" fmla="*/ 102 h 234"/>
              <a:gd name="T32" fmla="*/ 60 w 320"/>
              <a:gd name="T33" fmla="*/ 86 h 234"/>
              <a:gd name="T34" fmla="*/ 55 w 320"/>
              <a:gd name="T35" fmla="*/ 70 h 234"/>
              <a:gd name="T36" fmla="*/ 46 w 320"/>
              <a:gd name="T37" fmla="*/ 46 h 234"/>
              <a:gd name="T38" fmla="*/ 33 w 320"/>
              <a:gd name="T39" fmla="*/ 31 h 234"/>
              <a:gd name="T40" fmla="*/ 20 w 320"/>
              <a:gd name="T41" fmla="*/ 25 h 234"/>
              <a:gd name="T42" fmla="*/ 7 w 320"/>
              <a:gd name="T43" fmla="*/ 10 h 234"/>
              <a:gd name="T44" fmla="*/ 9 w 320"/>
              <a:gd name="T45" fmla="*/ 0 h 234"/>
              <a:gd name="T46" fmla="*/ 24 w 320"/>
              <a:gd name="T47" fmla="*/ 0 h 234"/>
              <a:gd name="T48" fmla="*/ 38 w 320"/>
              <a:gd name="T49" fmla="*/ 3 h 234"/>
              <a:gd name="T50" fmla="*/ 56 w 320"/>
              <a:gd name="T51" fmla="*/ 16 h 234"/>
              <a:gd name="T52" fmla="*/ 78 w 320"/>
              <a:gd name="T53" fmla="*/ 35 h 234"/>
              <a:gd name="T54" fmla="*/ 96 w 320"/>
              <a:gd name="T55" fmla="*/ 48 h 234"/>
              <a:gd name="T56" fmla="*/ 119 w 320"/>
              <a:gd name="T57" fmla="*/ 58 h 234"/>
              <a:gd name="T58" fmla="*/ 152 w 320"/>
              <a:gd name="T59" fmla="*/ 70 h 234"/>
              <a:gd name="T60" fmla="*/ 181 w 320"/>
              <a:gd name="T61" fmla="*/ 79 h 234"/>
              <a:gd name="T62" fmla="*/ 214 w 320"/>
              <a:gd name="T63" fmla="*/ 85 h 234"/>
              <a:gd name="T64" fmla="*/ 236 w 320"/>
              <a:gd name="T65" fmla="*/ 77 h 234"/>
              <a:gd name="T66" fmla="*/ 257 w 320"/>
              <a:gd name="T67" fmla="*/ 83 h 234"/>
              <a:gd name="T68" fmla="*/ 284 w 320"/>
              <a:gd name="T69" fmla="*/ 107 h 234"/>
              <a:gd name="T70" fmla="*/ 305 w 320"/>
              <a:gd name="T71" fmla="*/ 119 h 234"/>
              <a:gd name="T72" fmla="*/ 297 w 320"/>
              <a:gd name="T73" fmla="*/ 133 h 234"/>
              <a:gd name="T74" fmla="*/ 268 w 320"/>
              <a:gd name="T75" fmla="*/ 144 h 234"/>
              <a:gd name="T76" fmla="*/ 249 w 320"/>
              <a:gd name="T77" fmla="*/ 148 h 234"/>
              <a:gd name="T78" fmla="*/ 237 w 320"/>
              <a:gd name="T79" fmla="*/ 159 h 234"/>
              <a:gd name="T80" fmla="*/ 232 w 320"/>
              <a:gd name="T81" fmla="*/ 176 h 234"/>
              <a:gd name="T82" fmla="*/ 231 w 320"/>
              <a:gd name="T83" fmla="*/ 187 h 234"/>
              <a:gd name="T84" fmla="*/ 222 w 320"/>
              <a:gd name="T85" fmla="*/ 192 h 234"/>
              <a:gd name="T86" fmla="*/ 204 w 320"/>
              <a:gd name="T87" fmla="*/ 189 h 234"/>
              <a:gd name="T88" fmla="*/ 186 w 320"/>
              <a:gd name="T89" fmla="*/ 181 h 234"/>
              <a:gd name="T90" fmla="*/ 168 w 320"/>
              <a:gd name="T91" fmla="*/ 170 h 234"/>
              <a:gd name="T92" fmla="*/ 155 w 320"/>
              <a:gd name="T93" fmla="*/ 164 h 234"/>
              <a:gd name="T94" fmla="*/ 145 w 320"/>
              <a:gd name="T95" fmla="*/ 161 h 234"/>
              <a:gd name="T96" fmla="*/ 131 w 320"/>
              <a:gd name="T97" fmla="*/ 162 h 234"/>
              <a:gd name="T98" fmla="*/ 114 w 320"/>
              <a:gd name="T99" fmla="*/ 167 h 234"/>
              <a:gd name="T100" fmla="*/ 100 w 320"/>
              <a:gd name="T101" fmla="*/ 173 h 234"/>
              <a:gd name="T102" fmla="*/ 87 w 320"/>
              <a:gd name="T103" fmla="*/ 178 h 234"/>
              <a:gd name="T104" fmla="*/ 85 w 320"/>
              <a:gd name="T105" fmla="*/ 183 h 234"/>
              <a:gd name="T106" fmla="*/ 96 w 320"/>
              <a:gd name="T107" fmla="*/ 191 h 234"/>
              <a:gd name="T108" fmla="*/ 116 w 320"/>
              <a:gd name="T109" fmla="*/ 200 h 234"/>
              <a:gd name="T110" fmla="*/ 126 w 320"/>
              <a:gd name="T111" fmla="*/ 212 h 234"/>
              <a:gd name="T112" fmla="*/ 113 w 320"/>
              <a:gd name="T113" fmla="*/ 224 h 234"/>
              <a:gd name="T114" fmla="*/ 102 w 320"/>
              <a:gd name="T115" fmla="*/ 231 h 234"/>
              <a:gd name="T116" fmla="*/ 91 w 320"/>
              <a:gd name="T117" fmla="*/ 234 h 2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20" h="234">
                <a:moveTo>
                  <a:pt x="87" y="234"/>
                </a:moveTo>
                <a:lnTo>
                  <a:pt x="76" y="231"/>
                </a:lnTo>
                <a:lnTo>
                  <a:pt x="61" y="228"/>
                </a:lnTo>
                <a:lnTo>
                  <a:pt x="61" y="226"/>
                </a:lnTo>
                <a:lnTo>
                  <a:pt x="63" y="224"/>
                </a:lnTo>
                <a:lnTo>
                  <a:pt x="66" y="222"/>
                </a:lnTo>
                <a:lnTo>
                  <a:pt x="70" y="220"/>
                </a:lnTo>
                <a:lnTo>
                  <a:pt x="77" y="217"/>
                </a:lnTo>
                <a:lnTo>
                  <a:pt x="80" y="216"/>
                </a:lnTo>
                <a:lnTo>
                  <a:pt x="64" y="204"/>
                </a:lnTo>
                <a:lnTo>
                  <a:pt x="50" y="194"/>
                </a:lnTo>
                <a:lnTo>
                  <a:pt x="43" y="189"/>
                </a:lnTo>
                <a:lnTo>
                  <a:pt x="38" y="182"/>
                </a:lnTo>
                <a:lnTo>
                  <a:pt x="36" y="179"/>
                </a:lnTo>
                <a:lnTo>
                  <a:pt x="34" y="175"/>
                </a:lnTo>
                <a:lnTo>
                  <a:pt x="34" y="171"/>
                </a:lnTo>
                <a:lnTo>
                  <a:pt x="33" y="167"/>
                </a:lnTo>
                <a:lnTo>
                  <a:pt x="34" y="164"/>
                </a:lnTo>
                <a:lnTo>
                  <a:pt x="34" y="160"/>
                </a:lnTo>
                <a:lnTo>
                  <a:pt x="36" y="157"/>
                </a:lnTo>
                <a:lnTo>
                  <a:pt x="38" y="154"/>
                </a:lnTo>
                <a:lnTo>
                  <a:pt x="43" y="149"/>
                </a:lnTo>
                <a:lnTo>
                  <a:pt x="50" y="145"/>
                </a:lnTo>
                <a:lnTo>
                  <a:pt x="56" y="141"/>
                </a:lnTo>
                <a:lnTo>
                  <a:pt x="64" y="139"/>
                </a:lnTo>
                <a:lnTo>
                  <a:pt x="73" y="137"/>
                </a:lnTo>
                <a:lnTo>
                  <a:pt x="80" y="137"/>
                </a:lnTo>
                <a:lnTo>
                  <a:pt x="80" y="126"/>
                </a:lnTo>
                <a:lnTo>
                  <a:pt x="80" y="111"/>
                </a:lnTo>
                <a:lnTo>
                  <a:pt x="67" y="111"/>
                </a:lnTo>
                <a:lnTo>
                  <a:pt x="61" y="111"/>
                </a:lnTo>
                <a:lnTo>
                  <a:pt x="61" y="102"/>
                </a:lnTo>
                <a:lnTo>
                  <a:pt x="61" y="93"/>
                </a:lnTo>
                <a:lnTo>
                  <a:pt x="60" y="86"/>
                </a:lnTo>
                <a:lnTo>
                  <a:pt x="58" y="79"/>
                </a:lnTo>
                <a:lnTo>
                  <a:pt x="55" y="70"/>
                </a:lnTo>
                <a:lnTo>
                  <a:pt x="53" y="62"/>
                </a:lnTo>
                <a:lnTo>
                  <a:pt x="46" y="46"/>
                </a:lnTo>
                <a:lnTo>
                  <a:pt x="40" y="32"/>
                </a:lnTo>
                <a:lnTo>
                  <a:pt x="33" y="31"/>
                </a:lnTo>
                <a:lnTo>
                  <a:pt x="27" y="29"/>
                </a:lnTo>
                <a:lnTo>
                  <a:pt x="20" y="25"/>
                </a:lnTo>
                <a:lnTo>
                  <a:pt x="16" y="21"/>
                </a:lnTo>
                <a:lnTo>
                  <a:pt x="7" y="10"/>
                </a:lnTo>
                <a:lnTo>
                  <a:pt x="0" y="0"/>
                </a:lnTo>
                <a:lnTo>
                  <a:pt x="9" y="0"/>
                </a:lnTo>
                <a:lnTo>
                  <a:pt x="17" y="0"/>
                </a:lnTo>
                <a:lnTo>
                  <a:pt x="24" y="0"/>
                </a:lnTo>
                <a:lnTo>
                  <a:pt x="33" y="0"/>
                </a:lnTo>
                <a:lnTo>
                  <a:pt x="38" y="3"/>
                </a:lnTo>
                <a:lnTo>
                  <a:pt x="45" y="8"/>
                </a:lnTo>
                <a:lnTo>
                  <a:pt x="56" y="16"/>
                </a:lnTo>
                <a:lnTo>
                  <a:pt x="67" y="26"/>
                </a:lnTo>
                <a:lnTo>
                  <a:pt x="78" y="35"/>
                </a:lnTo>
                <a:lnTo>
                  <a:pt x="88" y="42"/>
                </a:lnTo>
                <a:lnTo>
                  <a:pt x="96" y="48"/>
                </a:lnTo>
                <a:lnTo>
                  <a:pt x="100" y="50"/>
                </a:lnTo>
                <a:lnTo>
                  <a:pt x="119" y="58"/>
                </a:lnTo>
                <a:lnTo>
                  <a:pt x="135" y="65"/>
                </a:lnTo>
                <a:lnTo>
                  <a:pt x="152" y="70"/>
                </a:lnTo>
                <a:lnTo>
                  <a:pt x="166" y="76"/>
                </a:lnTo>
                <a:lnTo>
                  <a:pt x="181" y="79"/>
                </a:lnTo>
                <a:lnTo>
                  <a:pt x="197" y="82"/>
                </a:lnTo>
                <a:lnTo>
                  <a:pt x="214" y="85"/>
                </a:lnTo>
                <a:lnTo>
                  <a:pt x="233" y="87"/>
                </a:lnTo>
                <a:lnTo>
                  <a:pt x="236" y="77"/>
                </a:lnTo>
                <a:lnTo>
                  <a:pt x="240" y="62"/>
                </a:lnTo>
                <a:lnTo>
                  <a:pt x="257" y="83"/>
                </a:lnTo>
                <a:lnTo>
                  <a:pt x="275" y="100"/>
                </a:lnTo>
                <a:lnTo>
                  <a:pt x="284" y="107"/>
                </a:lnTo>
                <a:lnTo>
                  <a:pt x="293" y="113"/>
                </a:lnTo>
                <a:lnTo>
                  <a:pt x="305" y="119"/>
                </a:lnTo>
                <a:lnTo>
                  <a:pt x="320" y="123"/>
                </a:lnTo>
                <a:lnTo>
                  <a:pt x="297" y="133"/>
                </a:lnTo>
                <a:lnTo>
                  <a:pt x="277" y="141"/>
                </a:lnTo>
                <a:lnTo>
                  <a:pt x="268" y="144"/>
                </a:lnTo>
                <a:lnTo>
                  <a:pt x="258" y="147"/>
                </a:lnTo>
                <a:lnTo>
                  <a:pt x="249" y="148"/>
                </a:lnTo>
                <a:lnTo>
                  <a:pt x="240" y="149"/>
                </a:lnTo>
                <a:lnTo>
                  <a:pt x="237" y="159"/>
                </a:lnTo>
                <a:lnTo>
                  <a:pt x="234" y="170"/>
                </a:lnTo>
                <a:lnTo>
                  <a:pt x="232" y="176"/>
                </a:lnTo>
                <a:lnTo>
                  <a:pt x="231" y="181"/>
                </a:lnTo>
                <a:lnTo>
                  <a:pt x="231" y="187"/>
                </a:lnTo>
                <a:lnTo>
                  <a:pt x="233" y="192"/>
                </a:lnTo>
                <a:lnTo>
                  <a:pt x="222" y="192"/>
                </a:lnTo>
                <a:lnTo>
                  <a:pt x="213" y="191"/>
                </a:lnTo>
                <a:lnTo>
                  <a:pt x="204" y="189"/>
                </a:lnTo>
                <a:lnTo>
                  <a:pt x="198" y="187"/>
                </a:lnTo>
                <a:lnTo>
                  <a:pt x="186" y="181"/>
                </a:lnTo>
                <a:lnTo>
                  <a:pt x="176" y="176"/>
                </a:lnTo>
                <a:lnTo>
                  <a:pt x="168" y="170"/>
                </a:lnTo>
                <a:lnTo>
                  <a:pt x="159" y="165"/>
                </a:lnTo>
                <a:lnTo>
                  <a:pt x="155" y="164"/>
                </a:lnTo>
                <a:lnTo>
                  <a:pt x="151" y="162"/>
                </a:lnTo>
                <a:lnTo>
                  <a:pt x="145" y="161"/>
                </a:lnTo>
                <a:lnTo>
                  <a:pt x="140" y="161"/>
                </a:lnTo>
                <a:lnTo>
                  <a:pt x="131" y="162"/>
                </a:lnTo>
                <a:lnTo>
                  <a:pt x="122" y="164"/>
                </a:lnTo>
                <a:lnTo>
                  <a:pt x="114" y="167"/>
                </a:lnTo>
                <a:lnTo>
                  <a:pt x="108" y="170"/>
                </a:lnTo>
                <a:lnTo>
                  <a:pt x="100" y="173"/>
                </a:lnTo>
                <a:lnTo>
                  <a:pt x="94" y="176"/>
                </a:lnTo>
                <a:lnTo>
                  <a:pt x="87" y="178"/>
                </a:lnTo>
                <a:lnTo>
                  <a:pt x="80" y="179"/>
                </a:lnTo>
                <a:lnTo>
                  <a:pt x="85" y="183"/>
                </a:lnTo>
                <a:lnTo>
                  <a:pt x="90" y="188"/>
                </a:lnTo>
                <a:lnTo>
                  <a:pt x="96" y="191"/>
                </a:lnTo>
                <a:lnTo>
                  <a:pt x="101" y="194"/>
                </a:lnTo>
                <a:lnTo>
                  <a:pt x="116" y="200"/>
                </a:lnTo>
                <a:lnTo>
                  <a:pt x="133" y="204"/>
                </a:lnTo>
                <a:lnTo>
                  <a:pt x="126" y="212"/>
                </a:lnTo>
                <a:lnTo>
                  <a:pt x="119" y="219"/>
                </a:lnTo>
                <a:lnTo>
                  <a:pt x="113" y="224"/>
                </a:lnTo>
                <a:lnTo>
                  <a:pt x="108" y="228"/>
                </a:lnTo>
                <a:lnTo>
                  <a:pt x="102" y="231"/>
                </a:lnTo>
                <a:lnTo>
                  <a:pt x="97" y="233"/>
                </a:lnTo>
                <a:lnTo>
                  <a:pt x="91" y="234"/>
                </a:lnTo>
                <a:lnTo>
                  <a:pt x="87" y="234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31" name="Freeform 483"/>
          <p:cNvSpPr>
            <a:spLocks/>
          </p:cNvSpPr>
          <p:nvPr>
            <p:custDataLst>
              <p:tags r:id="rId321"/>
            </p:custDataLst>
          </p:nvPr>
        </p:nvSpPr>
        <p:spPr bwMode="auto">
          <a:xfrm>
            <a:off x="8666164" y="2565400"/>
            <a:ext cx="52387" cy="57150"/>
          </a:xfrm>
          <a:custGeom>
            <a:avLst/>
            <a:gdLst>
              <a:gd name="T0" fmla="*/ 33 w 125"/>
              <a:gd name="T1" fmla="*/ 19 h 93"/>
              <a:gd name="T2" fmla="*/ 43 w 125"/>
              <a:gd name="T3" fmla="*/ 19 h 93"/>
              <a:gd name="T4" fmla="*/ 52 w 125"/>
              <a:gd name="T5" fmla="*/ 19 h 93"/>
              <a:gd name="T6" fmla="*/ 55 w 125"/>
              <a:gd name="T7" fmla="*/ 19 h 93"/>
              <a:gd name="T8" fmla="*/ 58 w 125"/>
              <a:gd name="T9" fmla="*/ 17 h 93"/>
              <a:gd name="T10" fmla="*/ 61 w 125"/>
              <a:gd name="T11" fmla="*/ 15 h 93"/>
              <a:gd name="T12" fmla="*/ 65 w 125"/>
              <a:gd name="T13" fmla="*/ 11 h 93"/>
              <a:gd name="T14" fmla="*/ 68 w 125"/>
              <a:gd name="T15" fmla="*/ 8 h 93"/>
              <a:gd name="T16" fmla="*/ 70 w 125"/>
              <a:gd name="T17" fmla="*/ 5 h 93"/>
              <a:gd name="T18" fmla="*/ 72 w 125"/>
              <a:gd name="T19" fmla="*/ 3 h 93"/>
              <a:gd name="T20" fmla="*/ 72 w 125"/>
              <a:gd name="T21" fmla="*/ 0 h 93"/>
              <a:gd name="T22" fmla="*/ 118 w 125"/>
              <a:gd name="T23" fmla="*/ 0 h 93"/>
              <a:gd name="T24" fmla="*/ 122 w 125"/>
              <a:gd name="T25" fmla="*/ 15 h 93"/>
              <a:gd name="T26" fmla="*/ 125 w 125"/>
              <a:gd name="T27" fmla="*/ 25 h 93"/>
              <a:gd name="T28" fmla="*/ 124 w 125"/>
              <a:gd name="T29" fmla="*/ 29 h 93"/>
              <a:gd name="T30" fmla="*/ 122 w 125"/>
              <a:gd name="T31" fmla="*/ 33 h 93"/>
              <a:gd name="T32" fmla="*/ 119 w 125"/>
              <a:gd name="T33" fmla="*/ 35 h 93"/>
              <a:gd name="T34" fmla="*/ 117 w 125"/>
              <a:gd name="T35" fmla="*/ 37 h 93"/>
              <a:gd name="T36" fmla="*/ 111 w 125"/>
              <a:gd name="T37" fmla="*/ 40 h 93"/>
              <a:gd name="T38" fmla="*/ 104 w 125"/>
              <a:gd name="T39" fmla="*/ 41 h 93"/>
              <a:gd name="T40" fmla="*/ 88 w 125"/>
              <a:gd name="T41" fmla="*/ 41 h 93"/>
              <a:gd name="T42" fmla="*/ 72 w 125"/>
              <a:gd name="T43" fmla="*/ 43 h 93"/>
              <a:gd name="T44" fmla="*/ 70 w 125"/>
              <a:gd name="T45" fmla="*/ 47 h 93"/>
              <a:gd name="T46" fmla="*/ 69 w 125"/>
              <a:gd name="T47" fmla="*/ 53 h 93"/>
              <a:gd name="T48" fmla="*/ 67 w 125"/>
              <a:gd name="T49" fmla="*/ 61 h 93"/>
              <a:gd name="T50" fmla="*/ 67 w 125"/>
              <a:gd name="T51" fmla="*/ 71 h 93"/>
              <a:gd name="T52" fmla="*/ 66 w 125"/>
              <a:gd name="T53" fmla="*/ 86 h 93"/>
              <a:gd name="T54" fmla="*/ 66 w 125"/>
              <a:gd name="T55" fmla="*/ 93 h 93"/>
              <a:gd name="T56" fmla="*/ 49 w 125"/>
              <a:gd name="T57" fmla="*/ 85 h 93"/>
              <a:gd name="T58" fmla="*/ 27 w 125"/>
              <a:gd name="T59" fmla="*/ 73 h 93"/>
              <a:gd name="T60" fmla="*/ 16 w 125"/>
              <a:gd name="T61" fmla="*/ 65 h 93"/>
              <a:gd name="T62" fmla="*/ 7 w 125"/>
              <a:gd name="T63" fmla="*/ 58 h 93"/>
              <a:gd name="T64" fmla="*/ 4 w 125"/>
              <a:gd name="T65" fmla="*/ 54 h 93"/>
              <a:gd name="T66" fmla="*/ 2 w 125"/>
              <a:gd name="T67" fmla="*/ 50 h 93"/>
              <a:gd name="T68" fmla="*/ 0 w 125"/>
              <a:gd name="T69" fmla="*/ 47 h 93"/>
              <a:gd name="T70" fmla="*/ 0 w 125"/>
              <a:gd name="T71" fmla="*/ 43 h 93"/>
              <a:gd name="T72" fmla="*/ 7 w 125"/>
              <a:gd name="T73" fmla="*/ 43 h 93"/>
              <a:gd name="T74" fmla="*/ 15 w 125"/>
              <a:gd name="T75" fmla="*/ 41 h 93"/>
              <a:gd name="T76" fmla="*/ 20 w 125"/>
              <a:gd name="T77" fmla="*/ 39 h 93"/>
              <a:gd name="T78" fmla="*/ 23 w 125"/>
              <a:gd name="T79" fmla="*/ 36 h 93"/>
              <a:gd name="T80" fmla="*/ 28 w 125"/>
              <a:gd name="T81" fmla="*/ 28 h 93"/>
              <a:gd name="T82" fmla="*/ 33 w 125"/>
              <a:gd name="T83" fmla="*/ 19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25" h="93">
                <a:moveTo>
                  <a:pt x="33" y="19"/>
                </a:moveTo>
                <a:lnTo>
                  <a:pt x="43" y="19"/>
                </a:lnTo>
                <a:lnTo>
                  <a:pt x="52" y="19"/>
                </a:lnTo>
                <a:lnTo>
                  <a:pt x="55" y="19"/>
                </a:lnTo>
                <a:lnTo>
                  <a:pt x="58" y="17"/>
                </a:lnTo>
                <a:lnTo>
                  <a:pt x="61" y="15"/>
                </a:lnTo>
                <a:lnTo>
                  <a:pt x="65" y="11"/>
                </a:lnTo>
                <a:lnTo>
                  <a:pt x="68" y="8"/>
                </a:lnTo>
                <a:lnTo>
                  <a:pt x="70" y="5"/>
                </a:lnTo>
                <a:lnTo>
                  <a:pt x="72" y="3"/>
                </a:lnTo>
                <a:lnTo>
                  <a:pt x="72" y="0"/>
                </a:lnTo>
                <a:lnTo>
                  <a:pt x="118" y="0"/>
                </a:lnTo>
                <a:lnTo>
                  <a:pt x="122" y="15"/>
                </a:lnTo>
                <a:lnTo>
                  <a:pt x="125" y="25"/>
                </a:lnTo>
                <a:lnTo>
                  <a:pt x="124" y="29"/>
                </a:lnTo>
                <a:lnTo>
                  <a:pt x="122" y="33"/>
                </a:lnTo>
                <a:lnTo>
                  <a:pt x="119" y="35"/>
                </a:lnTo>
                <a:lnTo>
                  <a:pt x="117" y="37"/>
                </a:lnTo>
                <a:lnTo>
                  <a:pt x="111" y="40"/>
                </a:lnTo>
                <a:lnTo>
                  <a:pt x="104" y="41"/>
                </a:lnTo>
                <a:lnTo>
                  <a:pt x="88" y="41"/>
                </a:lnTo>
                <a:lnTo>
                  <a:pt x="72" y="43"/>
                </a:lnTo>
                <a:lnTo>
                  <a:pt x="70" y="47"/>
                </a:lnTo>
                <a:lnTo>
                  <a:pt x="69" y="53"/>
                </a:lnTo>
                <a:lnTo>
                  <a:pt x="67" y="61"/>
                </a:lnTo>
                <a:lnTo>
                  <a:pt x="67" y="71"/>
                </a:lnTo>
                <a:lnTo>
                  <a:pt x="66" y="86"/>
                </a:lnTo>
                <a:lnTo>
                  <a:pt x="66" y="93"/>
                </a:lnTo>
                <a:lnTo>
                  <a:pt x="49" y="85"/>
                </a:lnTo>
                <a:lnTo>
                  <a:pt x="27" y="73"/>
                </a:lnTo>
                <a:lnTo>
                  <a:pt x="16" y="65"/>
                </a:lnTo>
                <a:lnTo>
                  <a:pt x="7" y="58"/>
                </a:lnTo>
                <a:lnTo>
                  <a:pt x="4" y="54"/>
                </a:lnTo>
                <a:lnTo>
                  <a:pt x="2" y="50"/>
                </a:lnTo>
                <a:lnTo>
                  <a:pt x="0" y="47"/>
                </a:lnTo>
                <a:lnTo>
                  <a:pt x="0" y="43"/>
                </a:lnTo>
                <a:lnTo>
                  <a:pt x="7" y="43"/>
                </a:lnTo>
                <a:lnTo>
                  <a:pt x="15" y="41"/>
                </a:lnTo>
                <a:lnTo>
                  <a:pt x="20" y="39"/>
                </a:lnTo>
                <a:lnTo>
                  <a:pt x="23" y="36"/>
                </a:lnTo>
                <a:lnTo>
                  <a:pt x="28" y="28"/>
                </a:lnTo>
                <a:lnTo>
                  <a:pt x="33" y="19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32" name="Freeform 484"/>
          <p:cNvSpPr>
            <a:spLocks/>
          </p:cNvSpPr>
          <p:nvPr>
            <p:custDataLst>
              <p:tags r:id="rId322"/>
            </p:custDataLst>
          </p:nvPr>
        </p:nvSpPr>
        <p:spPr bwMode="auto">
          <a:xfrm>
            <a:off x="8612189" y="2579689"/>
            <a:ext cx="60325" cy="84137"/>
          </a:xfrm>
          <a:custGeom>
            <a:avLst/>
            <a:gdLst>
              <a:gd name="T0" fmla="*/ 20 w 133"/>
              <a:gd name="T1" fmla="*/ 12 h 154"/>
              <a:gd name="T2" fmla="*/ 24 w 133"/>
              <a:gd name="T3" fmla="*/ 10 h 154"/>
              <a:gd name="T4" fmla="*/ 31 w 133"/>
              <a:gd name="T5" fmla="*/ 6 h 154"/>
              <a:gd name="T6" fmla="*/ 34 w 133"/>
              <a:gd name="T7" fmla="*/ 4 h 154"/>
              <a:gd name="T8" fmla="*/ 37 w 133"/>
              <a:gd name="T9" fmla="*/ 2 h 154"/>
              <a:gd name="T10" fmla="*/ 42 w 133"/>
              <a:gd name="T11" fmla="*/ 1 h 154"/>
              <a:gd name="T12" fmla="*/ 46 w 133"/>
              <a:gd name="T13" fmla="*/ 0 h 154"/>
              <a:gd name="T14" fmla="*/ 59 w 133"/>
              <a:gd name="T15" fmla="*/ 1 h 154"/>
              <a:gd name="T16" fmla="*/ 70 w 133"/>
              <a:gd name="T17" fmla="*/ 4 h 154"/>
              <a:gd name="T18" fmla="*/ 81 w 133"/>
              <a:gd name="T19" fmla="*/ 8 h 154"/>
              <a:gd name="T20" fmla="*/ 90 w 133"/>
              <a:gd name="T21" fmla="*/ 14 h 154"/>
              <a:gd name="T22" fmla="*/ 99 w 133"/>
              <a:gd name="T23" fmla="*/ 21 h 154"/>
              <a:gd name="T24" fmla="*/ 105 w 133"/>
              <a:gd name="T25" fmla="*/ 30 h 154"/>
              <a:gd name="T26" fmla="*/ 112 w 133"/>
              <a:gd name="T27" fmla="*/ 40 h 154"/>
              <a:gd name="T28" fmla="*/ 116 w 133"/>
              <a:gd name="T29" fmla="*/ 50 h 154"/>
              <a:gd name="T30" fmla="*/ 121 w 133"/>
              <a:gd name="T31" fmla="*/ 60 h 154"/>
              <a:gd name="T32" fmla="*/ 124 w 133"/>
              <a:gd name="T33" fmla="*/ 71 h 154"/>
              <a:gd name="T34" fmla="*/ 127 w 133"/>
              <a:gd name="T35" fmla="*/ 82 h 154"/>
              <a:gd name="T36" fmla="*/ 130 w 133"/>
              <a:gd name="T37" fmla="*/ 94 h 154"/>
              <a:gd name="T38" fmla="*/ 132 w 133"/>
              <a:gd name="T39" fmla="*/ 116 h 154"/>
              <a:gd name="T40" fmla="*/ 133 w 133"/>
              <a:gd name="T41" fmla="*/ 135 h 154"/>
              <a:gd name="T42" fmla="*/ 132 w 133"/>
              <a:gd name="T43" fmla="*/ 138 h 154"/>
              <a:gd name="T44" fmla="*/ 130 w 133"/>
              <a:gd name="T45" fmla="*/ 141 h 154"/>
              <a:gd name="T46" fmla="*/ 125 w 133"/>
              <a:gd name="T47" fmla="*/ 144 h 154"/>
              <a:gd name="T48" fmla="*/ 121 w 133"/>
              <a:gd name="T49" fmla="*/ 147 h 154"/>
              <a:gd name="T50" fmla="*/ 115 w 133"/>
              <a:gd name="T51" fmla="*/ 150 h 154"/>
              <a:gd name="T52" fmla="*/ 110 w 133"/>
              <a:gd name="T53" fmla="*/ 153 h 154"/>
              <a:gd name="T54" fmla="*/ 104 w 133"/>
              <a:gd name="T55" fmla="*/ 154 h 154"/>
              <a:gd name="T56" fmla="*/ 99 w 133"/>
              <a:gd name="T57" fmla="*/ 154 h 154"/>
              <a:gd name="T58" fmla="*/ 93 w 133"/>
              <a:gd name="T59" fmla="*/ 153 h 154"/>
              <a:gd name="T60" fmla="*/ 87 w 133"/>
              <a:gd name="T61" fmla="*/ 149 h 154"/>
              <a:gd name="T62" fmla="*/ 79 w 133"/>
              <a:gd name="T63" fmla="*/ 141 h 154"/>
              <a:gd name="T64" fmla="*/ 71 w 133"/>
              <a:gd name="T65" fmla="*/ 134 h 154"/>
              <a:gd name="T66" fmla="*/ 64 w 133"/>
              <a:gd name="T67" fmla="*/ 126 h 154"/>
              <a:gd name="T68" fmla="*/ 58 w 133"/>
              <a:gd name="T69" fmla="*/ 118 h 154"/>
              <a:gd name="T70" fmla="*/ 54 w 133"/>
              <a:gd name="T71" fmla="*/ 111 h 154"/>
              <a:gd name="T72" fmla="*/ 53 w 133"/>
              <a:gd name="T73" fmla="*/ 105 h 154"/>
              <a:gd name="T74" fmla="*/ 54 w 133"/>
              <a:gd name="T75" fmla="*/ 98 h 154"/>
              <a:gd name="T76" fmla="*/ 56 w 133"/>
              <a:gd name="T77" fmla="*/ 83 h 154"/>
              <a:gd name="T78" fmla="*/ 58 w 133"/>
              <a:gd name="T79" fmla="*/ 68 h 154"/>
              <a:gd name="T80" fmla="*/ 59 w 133"/>
              <a:gd name="T81" fmla="*/ 62 h 154"/>
              <a:gd name="T82" fmla="*/ 47 w 133"/>
              <a:gd name="T83" fmla="*/ 61 h 154"/>
              <a:gd name="T84" fmla="*/ 36 w 133"/>
              <a:gd name="T85" fmla="*/ 59 h 154"/>
              <a:gd name="T86" fmla="*/ 25 w 133"/>
              <a:gd name="T87" fmla="*/ 56 h 154"/>
              <a:gd name="T88" fmla="*/ 17 w 133"/>
              <a:gd name="T89" fmla="*/ 52 h 154"/>
              <a:gd name="T90" fmla="*/ 13 w 133"/>
              <a:gd name="T91" fmla="*/ 49 h 154"/>
              <a:gd name="T92" fmla="*/ 10 w 133"/>
              <a:gd name="T93" fmla="*/ 46 h 154"/>
              <a:gd name="T94" fmla="*/ 7 w 133"/>
              <a:gd name="T95" fmla="*/ 43 h 154"/>
              <a:gd name="T96" fmla="*/ 4 w 133"/>
              <a:gd name="T97" fmla="*/ 39 h 154"/>
              <a:gd name="T98" fmla="*/ 2 w 133"/>
              <a:gd name="T99" fmla="*/ 34 h 154"/>
              <a:gd name="T100" fmla="*/ 1 w 133"/>
              <a:gd name="T101" fmla="*/ 29 h 154"/>
              <a:gd name="T102" fmla="*/ 0 w 133"/>
              <a:gd name="T103" fmla="*/ 24 h 154"/>
              <a:gd name="T104" fmla="*/ 0 w 133"/>
              <a:gd name="T105" fmla="*/ 18 h 154"/>
              <a:gd name="T106" fmla="*/ 7 w 133"/>
              <a:gd name="T107" fmla="*/ 15 h 154"/>
              <a:gd name="T108" fmla="*/ 20 w 133"/>
              <a:gd name="T109" fmla="*/ 12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33" h="154">
                <a:moveTo>
                  <a:pt x="20" y="12"/>
                </a:moveTo>
                <a:lnTo>
                  <a:pt x="24" y="10"/>
                </a:lnTo>
                <a:lnTo>
                  <a:pt x="31" y="6"/>
                </a:lnTo>
                <a:lnTo>
                  <a:pt x="34" y="4"/>
                </a:lnTo>
                <a:lnTo>
                  <a:pt x="37" y="2"/>
                </a:lnTo>
                <a:lnTo>
                  <a:pt x="42" y="1"/>
                </a:lnTo>
                <a:lnTo>
                  <a:pt x="46" y="0"/>
                </a:lnTo>
                <a:lnTo>
                  <a:pt x="59" y="1"/>
                </a:lnTo>
                <a:lnTo>
                  <a:pt x="70" y="4"/>
                </a:lnTo>
                <a:lnTo>
                  <a:pt x="81" y="8"/>
                </a:lnTo>
                <a:lnTo>
                  <a:pt x="90" y="14"/>
                </a:lnTo>
                <a:lnTo>
                  <a:pt x="99" y="21"/>
                </a:lnTo>
                <a:lnTo>
                  <a:pt x="105" y="30"/>
                </a:lnTo>
                <a:lnTo>
                  <a:pt x="112" y="40"/>
                </a:lnTo>
                <a:lnTo>
                  <a:pt x="116" y="50"/>
                </a:lnTo>
                <a:lnTo>
                  <a:pt x="121" y="60"/>
                </a:lnTo>
                <a:lnTo>
                  <a:pt x="124" y="71"/>
                </a:lnTo>
                <a:lnTo>
                  <a:pt x="127" y="82"/>
                </a:lnTo>
                <a:lnTo>
                  <a:pt x="130" y="94"/>
                </a:lnTo>
                <a:lnTo>
                  <a:pt x="132" y="116"/>
                </a:lnTo>
                <a:lnTo>
                  <a:pt x="133" y="135"/>
                </a:lnTo>
                <a:lnTo>
                  <a:pt x="132" y="138"/>
                </a:lnTo>
                <a:lnTo>
                  <a:pt x="130" y="141"/>
                </a:lnTo>
                <a:lnTo>
                  <a:pt x="125" y="144"/>
                </a:lnTo>
                <a:lnTo>
                  <a:pt x="121" y="147"/>
                </a:lnTo>
                <a:lnTo>
                  <a:pt x="115" y="150"/>
                </a:lnTo>
                <a:lnTo>
                  <a:pt x="110" y="153"/>
                </a:lnTo>
                <a:lnTo>
                  <a:pt x="104" y="154"/>
                </a:lnTo>
                <a:lnTo>
                  <a:pt x="99" y="154"/>
                </a:lnTo>
                <a:lnTo>
                  <a:pt x="93" y="153"/>
                </a:lnTo>
                <a:lnTo>
                  <a:pt x="87" y="149"/>
                </a:lnTo>
                <a:lnTo>
                  <a:pt x="79" y="141"/>
                </a:lnTo>
                <a:lnTo>
                  <a:pt x="71" y="134"/>
                </a:lnTo>
                <a:lnTo>
                  <a:pt x="64" y="126"/>
                </a:lnTo>
                <a:lnTo>
                  <a:pt x="58" y="118"/>
                </a:lnTo>
                <a:lnTo>
                  <a:pt x="54" y="111"/>
                </a:lnTo>
                <a:lnTo>
                  <a:pt x="53" y="105"/>
                </a:lnTo>
                <a:lnTo>
                  <a:pt x="54" y="98"/>
                </a:lnTo>
                <a:lnTo>
                  <a:pt x="56" y="83"/>
                </a:lnTo>
                <a:lnTo>
                  <a:pt x="58" y="68"/>
                </a:lnTo>
                <a:lnTo>
                  <a:pt x="59" y="62"/>
                </a:lnTo>
                <a:lnTo>
                  <a:pt x="47" y="61"/>
                </a:lnTo>
                <a:lnTo>
                  <a:pt x="36" y="59"/>
                </a:lnTo>
                <a:lnTo>
                  <a:pt x="25" y="56"/>
                </a:lnTo>
                <a:lnTo>
                  <a:pt x="17" y="52"/>
                </a:lnTo>
                <a:lnTo>
                  <a:pt x="13" y="49"/>
                </a:lnTo>
                <a:lnTo>
                  <a:pt x="10" y="46"/>
                </a:lnTo>
                <a:lnTo>
                  <a:pt x="7" y="43"/>
                </a:lnTo>
                <a:lnTo>
                  <a:pt x="4" y="39"/>
                </a:lnTo>
                <a:lnTo>
                  <a:pt x="2" y="34"/>
                </a:lnTo>
                <a:lnTo>
                  <a:pt x="1" y="29"/>
                </a:lnTo>
                <a:lnTo>
                  <a:pt x="0" y="24"/>
                </a:lnTo>
                <a:lnTo>
                  <a:pt x="0" y="18"/>
                </a:lnTo>
                <a:lnTo>
                  <a:pt x="7" y="15"/>
                </a:lnTo>
                <a:lnTo>
                  <a:pt x="20" y="12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33" name="Freeform 485"/>
          <p:cNvSpPr>
            <a:spLocks/>
          </p:cNvSpPr>
          <p:nvPr>
            <p:custDataLst>
              <p:tags r:id="rId323"/>
            </p:custDataLst>
          </p:nvPr>
        </p:nvSpPr>
        <p:spPr bwMode="auto">
          <a:xfrm>
            <a:off x="8628063" y="2341564"/>
            <a:ext cx="209550" cy="244475"/>
          </a:xfrm>
          <a:custGeom>
            <a:avLst/>
            <a:gdLst>
              <a:gd name="T0" fmla="*/ 134 w 485"/>
              <a:gd name="T1" fmla="*/ 351 h 468"/>
              <a:gd name="T2" fmla="*/ 167 w 485"/>
              <a:gd name="T3" fmla="*/ 339 h 468"/>
              <a:gd name="T4" fmla="*/ 200 w 485"/>
              <a:gd name="T5" fmla="*/ 339 h 468"/>
              <a:gd name="T6" fmla="*/ 226 w 485"/>
              <a:gd name="T7" fmla="*/ 348 h 468"/>
              <a:gd name="T8" fmla="*/ 224 w 485"/>
              <a:gd name="T9" fmla="*/ 327 h 468"/>
              <a:gd name="T10" fmla="*/ 220 w 485"/>
              <a:gd name="T11" fmla="*/ 316 h 468"/>
              <a:gd name="T12" fmla="*/ 233 w 485"/>
              <a:gd name="T13" fmla="*/ 303 h 468"/>
              <a:gd name="T14" fmla="*/ 239 w 485"/>
              <a:gd name="T15" fmla="*/ 276 h 468"/>
              <a:gd name="T16" fmla="*/ 242 w 485"/>
              <a:gd name="T17" fmla="*/ 246 h 468"/>
              <a:gd name="T18" fmla="*/ 268 w 485"/>
              <a:gd name="T19" fmla="*/ 255 h 468"/>
              <a:gd name="T20" fmla="*/ 300 w 485"/>
              <a:gd name="T21" fmla="*/ 238 h 468"/>
              <a:gd name="T22" fmla="*/ 316 w 485"/>
              <a:gd name="T23" fmla="*/ 217 h 468"/>
              <a:gd name="T24" fmla="*/ 293 w 485"/>
              <a:gd name="T25" fmla="*/ 194 h 468"/>
              <a:gd name="T26" fmla="*/ 318 w 485"/>
              <a:gd name="T27" fmla="*/ 199 h 468"/>
              <a:gd name="T28" fmla="*/ 343 w 485"/>
              <a:gd name="T29" fmla="*/ 202 h 468"/>
              <a:gd name="T30" fmla="*/ 346 w 485"/>
              <a:gd name="T31" fmla="*/ 185 h 468"/>
              <a:gd name="T32" fmla="*/ 295 w 485"/>
              <a:gd name="T33" fmla="*/ 96 h 468"/>
              <a:gd name="T34" fmla="*/ 285 w 485"/>
              <a:gd name="T35" fmla="*/ 53 h 468"/>
              <a:gd name="T36" fmla="*/ 291 w 485"/>
              <a:gd name="T37" fmla="*/ 19 h 468"/>
              <a:gd name="T38" fmla="*/ 316 w 485"/>
              <a:gd name="T39" fmla="*/ 1 h 468"/>
              <a:gd name="T40" fmla="*/ 336 w 485"/>
              <a:gd name="T41" fmla="*/ 18 h 468"/>
              <a:gd name="T42" fmla="*/ 377 w 485"/>
              <a:gd name="T43" fmla="*/ 45 h 468"/>
              <a:gd name="T44" fmla="*/ 415 w 485"/>
              <a:gd name="T45" fmla="*/ 72 h 468"/>
              <a:gd name="T46" fmla="*/ 426 w 485"/>
              <a:gd name="T47" fmla="*/ 98 h 468"/>
              <a:gd name="T48" fmla="*/ 436 w 485"/>
              <a:gd name="T49" fmla="*/ 137 h 468"/>
              <a:gd name="T50" fmla="*/ 445 w 485"/>
              <a:gd name="T51" fmla="*/ 173 h 468"/>
              <a:gd name="T52" fmla="*/ 428 w 485"/>
              <a:gd name="T53" fmla="*/ 179 h 468"/>
              <a:gd name="T54" fmla="*/ 412 w 485"/>
              <a:gd name="T55" fmla="*/ 185 h 468"/>
              <a:gd name="T56" fmla="*/ 426 w 485"/>
              <a:gd name="T57" fmla="*/ 199 h 468"/>
              <a:gd name="T58" fmla="*/ 445 w 485"/>
              <a:gd name="T59" fmla="*/ 203 h 468"/>
              <a:gd name="T60" fmla="*/ 455 w 485"/>
              <a:gd name="T61" fmla="*/ 262 h 468"/>
              <a:gd name="T62" fmla="*/ 475 w 485"/>
              <a:gd name="T63" fmla="*/ 312 h 468"/>
              <a:gd name="T64" fmla="*/ 480 w 485"/>
              <a:gd name="T65" fmla="*/ 381 h 468"/>
              <a:gd name="T66" fmla="*/ 463 w 485"/>
              <a:gd name="T67" fmla="*/ 364 h 468"/>
              <a:gd name="T68" fmla="*/ 453 w 485"/>
              <a:gd name="T69" fmla="*/ 356 h 468"/>
              <a:gd name="T70" fmla="*/ 436 w 485"/>
              <a:gd name="T71" fmla="*/ 363 h 468"/>
              <a:gd name="T72" fmla="*/ 429 w 485"/>
              <a:gd name="T73" fmla="*/ 399 h 468"/>
              <a:gd name="T74" fmla="*/ 408 w 485"/>
              <a:gd name="T75" fmla="*/ 389 h 468"/>
              <a:gd name="T76" fmla="*/ 389 w 485"/>
              <a:gd name="T77" fmla="*/ 382 h 468"/>
              <a:gd name="T78" fmla="*/ 376 w 485"/>
              <a:gd name="T79" fmla="*/ 402 h 468"/>
              <a:gd name="T80" fmla="*/ 345 w 485"/>
              <a:gd name="T81" fmla="*/ 413 h 468"/>
              <a:gd name="T82" fmla="*/ 334 w 485"/>
              <a:gd name="T83" fmla="*/ 400 h 468"/>
              <a:gd name="T84" fmla="*/ 312 w 485"/>
              <a:gd name="T85" fmla="*/ 395 h 468"/>
              <a:gd name="T86" fmla="*/ 303 w 485"/>
              <a:gd name="T87" fmla="*/ 426 h 468"/>
              <a:gd name="T88" fmla="*/ 299 w 485"/>
              <a:gd name="T89" fmla="*/ 450 h 468"/>
              <a:gd name="T90" fmla="*/ 307 w 485"/>
              <a:gd name="T91" fmla="*/ 466 h 468"/>
              <a:gd name="T92" fmla="*/ 272 w 485"/>
              <a:gd name="T93" fmla="*/ 468 h 468"/>
              <a:gd name="T94" fmla="*/ 258 w 485"/>
              <a:gd name="T95" fmla="*/ 465 h 468"/>
              <a:gd name="T96" fmla="*/ 244 w 485"/>
              <a:gd name="T97" fmla="*/ 440 h 468"/>
              <a:gd name="T98" fmla="*/ 229 w 485"/>
              <a:gd name="T99" fmla="*/ 418 h 468"/>
              <a:gd name="T100" fmla="*/ 204 w 485"/>
              <a:gd name="T101" fmla="*/ 406 h 468"/>
              <a:gd name="T102" fmla="*/ 190 w 485"/>
              <a:gd name="T103" fmla="*/ 394 h 468"/>
              <a:gd name="T104" fmla="*/ 136 w 485"/>
              <a:gd name="T105" fmla="*/ 417 h 468"/>
              <a:gd name="T106" fmla="*/ 90 w 485"/>
              <a:gd name="T107" fmla="*/ 435 h 468"/>
              <a:gd name="T108" fmla="*/ 65 w 485"/>
              <a:gd name="T109" fmla="*/ 459 h 468"/>
              <a:gd name="T110" fmla="*/ 27 w 485"/>
              <a:gd name="T111" fmla="*/ 461 h 468"/>
              <a:gd name="T112" fmla="*/ 7 w 485"/>
              <a:gd name="T113" fmla="*/ 438 h 468"/>
              <a:gd name="T114" fmla="*/ 0 w 485"/>
              <a:gd name="T115" fmla="*/ 417 h 468"/>
              <a:gd name="T116" fmla="*/ 7 w 485"/>
              <a:gd name="T117" fmla="*/ 413 h 468"/>
              <a:gd name="T118" fmla="*/ 27 w 485"/>
              <a:gd name="T119" fmla="*/ 414 h 468"/>
              <a:gd name="T120" fmla="*/ 48 w 485"/>
              <a:gd name="T121" fmla="*/ 405 h 468"/>
              <a:gd name="T122" fmla="*/ 72 w 485"/>
              <a:gd name="T123" fmla="*/ 369 h 468"/>
              <a:gd name="T124" fmla="*/ 93 w 485"/>
              <a:gd name="T125" fmla="*/ 352 h 4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85" h="468">
                <a:moveTo>
                  <a:pt x="100" y="351"/>
                </a:moveTo>
                <a:lnTo>
                  <a:pt x="113" y="351"/>
                </a:lnTo>
                <a:lnTo>
                  <a:pt x="126" y="351"/>
                </a:lnTo>
                <a:lnTo>
                  <a:pt x="134" y="351"/>
                </a:lnTo>
                <a:lnTo>
                  <a:pt x="142" y="348"/>
                </a:lnTo>
                <a:lnTo>
                  <a:pt x="149" y="346"/>
                </a:lnTo>
                <a:lnTo>
                  <a:pt x="158" y="342"/>
                </a:lnTo>
                <a:lnTo>
                  <a:pt x="167" y="339"/>
                </a:lnTo>
                <a:lnTo>
                  <a:pt x="177" y="336"/>
                </a:lnTo>
                <a:lnTo>
                  <a:pt x="188" y="334"/>
                </a:lnTo>
                <a:lnTo>
                  <a:pt x="199" y="333"/>
                </a:lnTo>
                <a:lnTo>
                  <a:pt x="200" y="339"/>
                </a:lnTo>
                <a:lnTo>
                  <a:pt x="203" y="345"/>
                </a:lnTo>
                <a:lnTo>
                  <a:pt x="208" y="352"/>
                </a:lnTo>
                <a:lnTo>
                  <a:pt x="212" y="357"/>
                </a:lnTo>
                <a:lnTo>
                  <a:pt x="226" y="348"/>
                </a:lnTo>
                <a:lnTo>
                  <a:pt x="239" y="339"/>
                </a:lnTo>
                <a:lnTo>
                  <a:pt x="233" y="335"/>
                </a:lnTo>
                <a:lnTo>
                  <a:pt x="226" y="329"/>
                </a:lnTo>
                <a:lnTo>
                  <a:pt x="224" y="327"/>
                </a:lnTo>
                <a:lnTo>
                  <a:pt x="221" y="325"/>
                </a:lnTo>
                <a:lnTo>
                  <a:pt x="220" y="322"/>
                </a:lnTo>
                <a:lnTo>
                  <a:pt x="220" y="320"/>
                </a:lnTo>
                <a:lnTo>
                  <a:pt x="220" y="316"/>
                </a:lnTo>
                <a:lnTo>
                  <a:pt x="222" y="312"/>
                </a:lnTo>
                <a:lnTo>
                  <a:pt x="225" y="309"/>
                </a:lnTo>
                <a:lnTo>
                  <a:pt x="229" y="306"/>
                </a:lnTo>
                <a:lnTo>
                  <a:pt x="233" y="303"/>
                </a:lnTo>
                <a:lnTo>
                  <a:pt x="236" y="301"/>
                </a:lnTo>
                <a:lnTo>
                  <a:pt x="238" y="298"/>
                </a:lnTo>
                <a:lnTo>
                  <a:pt x="239" y="296"/>
                </a:lnTo>
                <a:lnTo>
                  <a:pt x="239" y="276"/>
                </a:lnTo>
                <a:lnTo>
                  <a:pt x="239" y="268"/>
                </a:lnTo>
                <a:lnTo>
                  <a:pt x="239" y="259"/>
                </a:lnTo>
                <a:lnTo>
                  <a:pt x="239" y="240"/>
                </a:lnTo>
                <a:lnTo>
                  <a:pt x="242" y="246"/>
                </a:lnTo>
                <a:lnTo>
                  <a:pt x="246" y="253"/>
                </a:lnTo>
                <a:lnTo>
                  <a:pt x="253" y="259"/>
                </a:lnTo>
                <a:lnTo>
                  <a:pt x="259" y="265"/>
                </a:lnTo>
                <a:lnTo>
                  <a:pt x="268" y="255"/>
                </a:lnTo>
                <a:lnTo>
                  <a:pt x="277" y="249"/>
                </a:lnTo>
                <a:lnTo>
                  <a:pt x="284" y="244"/>
                </a:lnTo>
                <a:lnTo>
                  <a:pt x="292" y="241"/>
                </a:lnTo>
                <a:lnTo>
                  <a:pt x="300" y="238"/>
                </a:lnTo>
                <a:lnTo>
                  <a:pt x="307" y="235"/>
                </a:lnTo>
                <a:lnTo>
                  <a:pt x="316" y="230"/>
                </a:lnTo>
                <a:lnTo>
                  <a:pt x="325" y="222"/>
                </a:lnTo>
                <a:lnTo>
                  <a:pt x="316" y="217"/>
                </a:lnTo>
                <a:lnTo>
                  <a:pt x="310" y="212"/>
                </a:lnTo>
                <a:lnTo>
                  <a:pt x="304" y="208"/>
                </a:lnTo>
                <a:lnTo>
                  <a:pt x="301" y="203"/>
                </a:lnTo>
                <a:lnTo>
                  <a:pt x="293" y="194"/>
                </a:lnTo>
                <a:lnTo>
                  <a:pt x="285" y="185"/>
                </a:lnTo>
                <a:lnTo>
                  <a:pt x="300" y="190"/>
                </a:lnTo>
                <a:lnTo>
                  <a:pt x="312" y="196"/>
                </a:lnTo>
                <a:lnTo>
                  <a:pt x="318" y="199"/>
                </a:lnTo>
                <a:lnTo>
                  <a:pt x="325" y="201"/>
                </a:lnTo>
                <a:lnTo>
                  <a:pt x="332" y="203"/>
                </a:lnTo>
                <a:lnTo>
                  <a:pt x="338" y="203"/>
                </a:lnTo>
                <a:lnTo>
                  <a:pt x="343" y="202"/>
                </a:lnTo>
                <a:lnTo>
                  <a:pt x="345" y="200"/>
                </a:lnTo>
                <a:lnTo>
                  <a:pt x="347" y="197"/>
                </a:lnTo>
                <a:lnTo>
                  <a:pt x="347" y="193"/>
                </a:lnTo>
                <a:lnTo>
                  <a:pt x="346" y="185"/>
                </a:lnTo>
                <a:lnTo>
                  <a:pt x="345" y="179"/>
                </a:lnTo>
                <a:lnTo>
                  <a:pt x="322" y="142"/>
                </a:lnTo>
                <a:lnTo>
                  <a:pt x="303" y="111"/>
                </a:lnTo>
                <a:lnTo>
                  <a:pt x="295" y="96"/>
                </a:lnTo>
                <a:lnTo>
                  <a:pt x="290" y="80"/>
                </a:lnTo>
                <a:lnTo>
                  <a:pt x="288" y="72"/>
                </a:lnTo>
                <a:lnTo>
                  <a:pt x="287" y="63"/>
                </a:lnTo>
                <a:lnTo>
                  <a:pt x="285" y="53"/>
                </a:lnTo>
                <a:lnTo>
                  <a:pt x="285" y="43"/>
                </a:lnTo>
                <a:lnTo>
                  <a:pt x="287" y="34"/>
                </a:lnTo>
                <a:lnTo>
                  <a:pt x="288" y="26"/>
                </a:lnTo>
                <a:lnTo>
                  <a:pt x="291" y="19"/>
                </a:lnTo>
                <a:lnTo>
                  <a:pt x="295" y="13"/>
                </a:lnTo>
                <a:lnTo>
                  <a:pt x="301" y="7"/>
                </a:lnTo>
                <a:lnTo>
                  <a:pt x="307" y="4"/>
                </a:lnTo>
                <a:lnTo>
                  <a:pt x="316" y="1"/>
                </a:lnTo>
                <a:lnTo>
                  <a:pt x="325" y="0"/>
                </a:lnTo>
                <a:lnTo>
                  <a:pt x="328" y="7"/>
                </a:lnTo>
                <a:lnTo>
                  <a:pt x="332" y="13"/>
                </a:lnTo>
                <a:lnTo>
                  <a:pt x="336" y="18"/>
                </a:lnTo>
                <a:lnTo>
                  <a:pt x="340" y="23"/>
                </a:lnTo>
                <a:lnTo>
                  <a:pt x="351" y="31"/>
                </a:lnTo>
                <a:lnTo>
                  <a:pt x="363" y="38"/>
                </a:lnTo>
                <a:lnTo>
                  <a:pt x="377" y="45"/>
                </a:lnTo>
                <a:lnTo>
                  <a:pt x="389" y="51"/>
                </a:lnTo>
                <a:lnTo>
                  <a:pt x="401" y="60"/>
                </a:lnTo>
                <a:lnTo>
                  <a:pt x="412" y="68"/>
                </a:lnTo>
                <a:lnTo>
                  <a:pt x="415" y="72"/>
                </a:lnTo>
                <a:lnTo>
                  <a:pt x="418" y="76"/>
                </a:lnTo>
                <a:lnTo>
                  <a:pt x="421" y="81"/>
                </a:lnTo>
                <a:lnTo>
                  <a:pt x="423" y="86"/>
                </a:lnTo>
                <a:lnTo>
                  <a:pt x="426" y="98"/>
                </a:lnTo>
                <a:lnTo>
                  <a:pt x="428" y="111"/>
                </a:lnTo>
                <a:lnTo>
                  <a:pt x="430" y="122"/>
                </a:lnTo>
                <a:lnTo>
                  <a:pt x="434" y="133"/>
                </a:lnTo>
                <a:lnTo>
                  <a:pt x="436" y="137"/>
                </a:lnTo>
                <a:lnTo>
                  <a:pt x="438" y="142"/>
                </a:lnTo>
                <a:lnTo>
                  <a:pt x="441" y="145"/>
                </a:lnTo>
                <a:lnTo>
                  <a:pt x="445" y="148"/>
                </a:lnTo>
                <a:lnTo>
                  <a:pt x="445" y="173"/>
                </a:lnTo>
                <a:lnTo>
                  <a:pt x="440" y="173"/>
                </a:lnTo>
                <a:lnTo>
                  <a:pt x="436" y="175"/>
                </a:lnTo>
                <a:lnTo>
                  <a:pt x="432" y="177"/>
                </a:lnTo>
                <a:lnTo>
                  <a:pt x="428" y="179"/>
                </a:lnTo>
                <a:lnTo>
                  <a:pt x="425" y="181"/>
                </a:lnTo>
                <a:lnTo>
                  <a:pt x="421" y="183"/>
                </a:lnTo>
                <a:lnTo>
                  <a:pt x="416" y="184"/>
                </a:lnTo>
                <a:lnTo>
                  <a:pt x="412" y="185"/>
                </a:lnTo>
                <a:lnTo>
                  <a:pt x="415" y="189"/>
                </a:lnTo>
                <a:lnTo>
                  <a:pt x="418" y="193"/>
                </a:lnTo>
                <a:lnTo>
                  <a:pt x="422" y="196"/>
                </a:lnTo>
                <a:lnTo>
                  <a:pt x="426" y="199"/>
                </a:lnTo>
                <a:lnTo>
                  <a:pt x="430" y="201"/>
                </a:lnTo>
                <a:lnTo>
                  <a:pt x="435" y="202"/>
                </a:lnTo>
                <a:lnTo>
                  <a:pt x="440" y="203"/>
                </a:lnTo>
                <a:lnTo>
                  <a:pt x="445" y="203"/>
                </a:lnTo>
                <a:lnTo>
                  <a:pt x="446" y="211"/>
                </a:lnTo>
                <a:lnTo>
                  <a:pt x="447" y="225"/>
                </a:lnTo>
                <a:lnTo>
                  <a:pt x="450" y="243"/>
                </a:lnTo>
                <a:lnTo>
                  <a:pt x="455" y="262"/>
                </a:lnTo>
                <a:lnTo>
                  <a:pt x="460" y="282"/>
                </a:lnTo>
                <a:lnTo>
                  <a:pt x="468" y="299"/>
                </a:lnTo>
                <a:lnTo>
                  <a:pt x="471" y="306"/>
                </a:lnTo>
                <a:lnTo>
                  <a:pt x="475" y="312"/>
                </a:lnTo>
                <a:lnTo>
                  <a:pt x="480" y="317"/>
                </a:lnTo>
                <a:lnTo>
                  <a:pt x="485" y="320"/>
                </a:lnTo>
                <a:lnTo>
                  <a:pt x="485" y="382"/>
                </a:lnTo>
                <a:lnTo>
                  <a:pt x="480" y="381"/>
                </a:lnTo>
                <a:lnTo>
                  <a:pt x="475" y="378"/>
                </a:lnTo>
                <a:lnTo>
                  <a:pt x="471" y="374"/>
                </a:lnTo>
                <a:lnTo>
                  <a:pt x="467" y="369"/>
                </a:lnTo>
                <a:lnTo>
                  <a:pt x="463" y="364"/>
                </a:lnTo>
                <a:lnTo>
                  <a:pt x="460" y="359"/>
                </a:lnTo>
                <a:lnTo>
                  <a:pt x="459" y="354"/>
                </a:lnTo>
                <a:lnTo>
                  <a:pt x="458" y="351"/>
                </a:lnTo>
                <a:lnTo>
                  <a:pt x="453" y="356"/>
                </a:lnTo>
                <a:lnTo>
                  <a:pt x="448" y="360"/>
                </a:lnTo>
                <a:lnTo>
                  <a:pt x="444" y="361"/>
                </a:lnTo>
                <a:lnTo>
                  <a:pt x="440" y="362"/>
                </a:lnTo>
                <a:lnTo>
                  <a:pt x="436" y="363"/>
                </a:lnTo>
                <a:lnTo>
                  <a:pt x="432" y="363"/>
                </a:lnTo>
                <a:lnTo>
                  <a:pt x="432" y="380"/>
                </a:lnTo>
                <a:lnTo>
                  <a:pt x="430" y="391"/>
                </a:lnTo>
                <a:lnTo>
                  <a:pt x="429" y="399"/>
                </a:lnTo>
                <a:lnTo>
                  <a:pt x="425" y="413"/>
                </a:lnTo>
                <a:lnTo>
                  <a:pt x="419" y="403"/>
                </a:lnTo>
                <a:lnTo>
                  <a:pt x="412" y="393"/>
                </a:lnTo>
                <a:lnTo>
                  <a:pt x="408" y="389"/>
                </a:lnTo>
                <a:lnTo>
                  <a:pt x="404" y="385"/>
                </a:lnTo>
                <a:lnTo>
                  <a:pt x="401" y="382"/>
                </a:lnTo>
                <a:lnTo>
                  <a:pt x="399" y="382"/>
                </a:lnTo>
                <a:lnTo>
                  <a:pt x="389" y="382"/>
                </a:lnTo>
                <a:lnTo>
                  <a:pt x="379" y="382"/>
                </a:lnTo>
                <a:lnTo>
                  <a:pt x="378" y="389"/>
                </a:lnTo>
                <a:lnTo>
                  <a:pt x="376" y="398"/>
                </a:lnTo>
                <a:lnTo>
                  <a:pt x="376" y="402"/>
                </a:lnTo>
                <a:lnTo>
                  <a:pt x="376" y="406"/>
                </a:lnTo>
                <a:lnTo>
                  <a:pt x="377" y="410"/>
                </a:lnTo>
                <a:lnTo>
                  <a:pt x="379" y="413"/>
                </a:lnTo>
                <a:lnTo>
                  <a:pt x="345" y="413"/>
                </a:lnTo>
                <a:lnTo>
                  <a:pt x="340" y="410"/>
                </a:lnTo>
                <a:lnTo>
                  <a:pt x="337" y="407"/>
                </a:lnTo>
                <a:lnTo>
                  <a:pt x="335" y="404"/>
                </a:lnTo>
                <a:lnTo>
                  <a:pt x="334" y="400"/>
                </a:lnTo>
                <a:lnTo>
                  <a:pt x="333" y="392"/>
                </a:lnTo>
                <a:lnTo>
                  <a:pt x="332" y="382"/>
                </a:lnTo>
                <a:lnTo>
                  <a:pt x="312" y="382"/>
                </a:lnTo>
                <a:lnTo>
                  <a:pt x="312" y="395"/>
                </a:lnTo>
                <a:lnTo>
                  <a:pt x="310" y="405"/>
                </a:lnTo>
                <a:lnTo>
                  <a:pt x="307" y="413"/>
                </a:lnTo>
                <a:lnTo>
                  <a:pt x="305" y="420"/>
                </a:lnTo>
                <a:lnTo>
                  <a:pt x="303" y="426"/>
                </a:lnTo>
                <a:lnTo>
                  <a:pt x="301" y="431"/>
                </a:lnTo>
                <a:lnTo>
                  <a:pt x="300" y="437"/>
                </a:lnTo>
                <a:lnTo>
                  <a:pt x="299" y="443"/>
                </a:lnTo>
                <a:lnTo>
                  <a:pt x="299" y="450"/>
                </a:lnTo>
                <a:lnTo>
                  <a:pt x="301" y="456"/>
                </a:lnTo>
                <a:lnTo>
                  <a:pt x="302" y="460"/>
                </a:lnTo>
                <a:lnTo>
                  <a:pt x="304" y="463"/>
                </a:lnTo>
                <a:lnTo>
                  <a:pt x="307" y="466"/>
                </a:lnTo>
                <a:lnTo>
                  <a:pt x="312" y="468"/>
                </a:lnTo>
                <a:lnTo>
                  <a:pt x="298" y="468"/>
                </a:lnTo>
                <a:lnTo>
                  <a:pt x="284" y="468"/>
                </a:lnTo>
                <a:lnTo>
                  <a:pt x="272" y="468"/>
                </a:lnTo>
                <a:lnTo>
                  <a:pt x="266" y="468"/>
                </a:lnTo>
                <a:lnTo>
                  <a:pt x="264" y="468"/>
                </a:lnTo>
                <a:lnTo>
                  <a:pt x="260" y="467"/>
                </a:lnTo>
                <a:lnTo>
                  <a:pt x="258" y="465"/>
                </a:lnTo>
                <a:lnTo>
                  <a:pt x="256" y="462"/>
                </a:lnTo>
                <a:lnTo>
                  <a:pt x="251" y="456"/>
                </a:lnTo>
                <a:lnTo>
                  <a:pt x="247" y="449"/>
                </a:lnTo>
                <a:lnTo>
                  <a:pt x="244" y="440"/>
                </a:lnTo>
                <a:lnTo>
                  <a:pt x="242" y="432"/>
                </a:lnTo>
                <a:lnTo>
                  <a:pt x="239" y="424"/>
                </a:lnTo>
                <a:lnTo>
                  <a:pt x="239" y="419"/>
                </a:lnTo>
                <a:lnTo>
                  <a:pt x="229" y="418"/>
                </a:lnTo>
                <a:lnTo>
                  <a:pt x="222" y="417"/>
                </a:lnTo>
                <a:lnTo>
                  <a:pt x="215" y="414"/>
                </a:lnTo>
                <a:lnTo>
                  <a:pt x="209" y="411"/>
                </a:lnTo>
                <a:lnTo>
                  <a:pt x="204" y="406"/>
                </a:lnTo>
                <a:lnTo>
                  <a:pt x="202" y="401"/>
                </a:lnTo>
                <a:lnTo>
                  <a:pt x="200" y="395"/>
                </a:lnTo>
                <a:lnTo>
                  <a:pt x="199" y="389"/>
                </a:lnTo>
                <a:lnTo>
                  <a:pt x="190" y="394"/>
                </a:lnTo>
                <a:lnTo>
                  <a:pt x="179" y="399"/>
                </a:lnTo>
                <a:lnTo>
                  <a:pt x="166" y="405"/>
                </a:lnTo>
                <a:lnTo>
                  <a:pt x="150" y="411"/>
                </a:lnTo>
                <a:lnTo>
                  <a:pt x="136" y="417"/>
                </a:lnTo>
                <a:lnTo>
                  <a:pt x="121" y="421"/>
                </a:lnTo>
                <a:lnTo>
                  <a:pt x="107" y="424"/>
                </a:lnTo>
                <a:lnTo>
                  <a:pt x="93" y="425"/>
                </a:lnTo>
                <a:lnTo>
                  <a:pt x="90" y="435"/>
                </a:lnTo>
                <a:lnTo>
                  <a:pt x="86" y="443"/>
                </a:lnTo>
                <a:lnTo>
                  <a:pt x="80" y="451"/>
                </a:lnTo>
                <a:lnTo>
                  <a:pt x="72" y="455"/>
                </a:lnTo>
                <a:lnTo>
                  <a:pt x="65" y="459"/>
                </a:lnTo>
                <a:lnTo>
                  <a:pt x="56" y="461"/>
                </a:lnTo>
                <a:lnTo>
                  <a:pt x="45" y="462"/>
                </a:lnTo>
                <a:lnTo>
                  <a:pt x="33" y="462"/>
                </a:lnTo>
                <a:lnTo>
                  <a:pt x="27" y="461"/>
                </a:lnTo>
                <a:lnTo>
                  <a:pt x="22" y="457"/>
                </a:lnTo>
                <a:lnTo>
                  <a:pt x="16" y="452"/>
                </a:lnTo>
                <a:lnTo>
                  <a:pt x="11" y="446"/>
                </a:lnTo>
                <a:lnTo>
                  <a:pt x="7" y="438"/>
                </a:lnTo>
                <a:lnTo>
                  <a:pt x="3" y="431"/>
                </a:lnTo>
                <a:lnTo>
                  <a:pt x="1" y="424"/>
                </a:lnTo>
                <a:lnTo>
                  <a:pt x="0" y="419"/>
                </a:lnTo>
                <a:lnTo>
                  <a:pt x="0" y="417"/>
                </a:lnTo>
                <a:lnTo>
                  <a:pt x="1" y="415"/>
                </a:lnTo>
                <a:lnTo>
                  <a:pt x="2" y="414"/>
                </a:lnTo>
                <a:lnTo>
                  <a:pt x="3" y="414"/>
                </a:lnTo>
                <a:lnTo>
                  <a:pt x="7" y="413"/>
                </a:lnTo>
                <a:lnTo>
                  <a:pt x="11" y="414"/>
                </a:lnTo>
                <a:lnTo>
                  <a:pt x="16" y="414"/>
                </a:lnTo>
                <a:lnTo>
                  <a:pt x="22" y="415"/>
                </a:lnTo>
                <a:lnTo>
                  <a:pt x="27" y="414"/>
                </a:lnTo>
                <a:lnTo>
                  <a:pt x="33" y="413"/>
                </a:lnTo>
                <a:lnTo>
                  <a:pt x="38" y="411"/>
                </a:lnTo>
                <a:lnTo>
                  <a:pt x="44" y="409"/>
                </a:lnTo>
                <a:lnTo>
                  <a:pt x="48" y="405"/>
                </a:lnTo>
                <a:lnTo>
                  <a:pt x="53" y="401"/>
                </a:lnTo>
                <a:lnTo>
                  <a:pt x="60" y="391"/>
                </a:lnTo>
                <a:lnTo>
                  <a:pt x="66" y="379"/>
                </a:lnTo>
                <a:lnTo>
                  <a:pt x="72" y="369"/>
                </a:lnTo>
                <a:lnTo>
                  <a:pt x="80" y="360"/>
                </a:lnTo>
                <a:lnTo>
                  <a:pt x="83" y="356"/>
                </a:lnTo>
                <a:lnTo>
                  <a:pt x="89" y="354"/>
                </a:lnTo>
                <a:lnTo>
                  <a:pt x="93" y="352"/>
                </a:lnTo>
                <a:lnTo>
                  <a:pt x="100" y="351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34" name="Freeform 486"/>
          <p:cNvSpPr>
            <a:spLocks/>
          </p:cNvSpPr>
          <p:nvPr>
            <p:custDataLst>
              <p:tags r:id="rId324"/>
            </p:custDataLst>
          </p:nvPr>
        </p:nvSpPr>
        <p:spPr bwMode="auto">
          <a:xfrm>
            <a:off x="6211888" y="1231901"/>
            <a:ext cx="107950" cy="60325"/>
          </a:xfrm>
          <a:custGeom>
            <a:avLst/>
            <a:gdLst>
              <a:gd name="T0" fmla="*/ 27 w 246"/>
              <a:gd name="T1" fmla="*/ 36 h 42"/>
              <a:gd name="T2" fmla="*/ 36 w 246"/>
              <a:gd name="T3" fmla="*/ 36 h 42"/>
              <a:gd name="T4" fmla="*/ 45 w 246"/>
              <a:gd name="T5" fmla="*/ 35 h 42"/>
              <a:gd name="T6" fmla="*/ 53 w 246"/>
              <a:gd name="T7" fmla="*/ 33 h 42"/>
              <a:gd name="T8" fmla="*/ 59 w 246"/>
              <a:gd name="T9" fmla="*/ 31 h 42"/>
              <a:gd name="T10" fmla="*/ 66 w 246"/>
              <a:gd name="T11" fmla="*/ 30 h 42"/>
              <a:gd name="T12" fmla="*/ 72 w 246"/>
              <a:gd name="T13" fmla="*/ 29 h 42"/>
              <a:gd name="T14" fmla="*/ 80 w 246"/>
              <a:gd name="T15" fmla="*/ 29 h 42"/>
              <a:gd name="T16" fmla="*/ 87 w 246"/>
              <a:gd name="T17" fmla="*/ 30 h 42"/>
              <a:gd name="T18" fmla="*/ 87 w 246"/>
              <a:gd name="T19" fmla="*/ 42 h 42"/>
              <a:gd name="T20" fmla="*/ 154 w 246"/>
              <a:gd name="T21" fmla="*/ 42 h 42"/>
              <a:gd name="T22" fmla="*/ 154 w 246"/>
              <a:gd name="T23" fmla="*/ 39 h 42"/>
              <a:gd name="T24" fmla="*/ 156 w 246"/>
              <a:gd name="T25" fmla="*/ 36 h 42"/>
              <a:gd name="T26" fmla="*/ 159 w 246"/>
              <a:gd name="T27" fmla="*/ 33 h 42"/>
              <a:gd name="T28" fmla="*/ 163 w 246"/>
              <a:gd name="T29" fmla="*/ 31 h 42"/>
              <a:gd name="T30" fmla="*/ 175 w 246"/>
              <a:gd name="T31" fmla="*/ 26 h 42"/>
              <a:gd name="T32" fmla="*/ 190 w 246"/>
              <a:gd name="T33" fmla="*/ 23 h 42"/>
              <a:gd name="T34" fmla="*/ 221 w 246"/>
              <a:gd name="T35" fmla="*/ 17 h 42"/>
              <a:gd name="T36" fmla="*/ 246 w 246"/>
              <a:gd name="T37" fmla="*/ 12 h 42"/>
              <a:gd name="T38" fmla="*/ 212 w 246"/>
              <a:gd name="T39" fmla="*/ 13 h 42"/>
              <a:gd name="T40" fmla="*/ 186 w 246"/>
              <a:gd name="T41" fmla="*/ 14 h 42"/>
              <a:gd name="T42" fmla="*/ 178 w 246"/>
              <a:gd name="T43" fmla="*/ 15 h 42"/>
              <a:gd name="T44" fmla="*/ 171 w 246"/>
              <a:gd name="T45" fmla="*/ 15 h 42"/>
              <a:gd name="T46" fmla="*/ 168 w 246"/>
              <a:gd name="T47" fmla="*/ 14 h 42"/>
              <a:gd name="T48" fmla="*/ 167 w 246"/>
              <a:gd name="T49" fmla="*/ 12 h 42"/>
              <a:gd name="T50" fmla="*/ 159 w 246"/>
              <a:gd name="T51" fmla="*/ 16 h 42"/>
              <a:gd name="T52" fmla="*/ 152 w 246"/>
              <a:gd name="T53" fmla="*/ 17 h 42"/>
              <a:gd name="T54" fmla="*/ 147 w 246"/>
              <a:gd name="T55" fmla="*/ 17 h 42"/>
              <a:gd name="T56" fmla="*/ 141 w 246"/>
              <a:gd name="T57" fmla="*/ 15 h 42"/>
              <a:gd name="T58" fmla="*/ 137 w 246"/>
              <a:gd name="T59" fmla="*/ 12 h 42"/>
              <a:gd name="T60" fmla="*/ 133 w 246"/>
              <a:gd name="T61" fmla="*/ 9 h 42"/>
              <a:gd name="T62" fmla="*/ 129 w 246"/>
              <a:gd name="T63" fmla="*/ 5 h 42"/>
              <a:gd name="T64" fmla="*/ 126 w 246"/>
              <a:gd name="T65" fmla="*/ 0 h 42"/>
              <a:gd name="T66" fmla="*/ 121 w 246"/>
              <a:gd name="T67" fmla="*/ 2 h 42"/>
              <a:gd name="T68" fmla="*/ 113 w 246"/>
              <a:gd name="T69" fmla="*/ 4 h 42"/>
              <a:gd name="T70" fmla="*/ 103 w 246"/>
              <a:gd name="T71" fmla="*/ 5 h 42"/>
              <a:gd name="T72" fmla="*/ 93 w 246"/>
              <a:gd name="T73" fmla="*/ 5 h 42"/>
              <a:gd name="T74" fmla="*/ 74 w 246"/>
              <a:gd name="T75" fmla="*/ 6 h 42"/>
              <a:gd name="T76" fmla="*/ 60 w 246"/>
              <a:gd name="T77" fmla="*/ 6 h 42"/>
              <a:gd name="T78" fmla="*/ 58 w 246"/>
              <a:gd name="T79" fmla="*/ 9 h 42"/>
              <a:gd name="T80" fmla="*/ 56 w 246"/>
              <a:gd name="T81" fmla="*/ 12 h 42"/>
              <a:gd name="T82" fmla="*/ 54 w 246"/>
              <a:gd name="T83" fmla="*/ 15 h 42"/>
              <a:gd name="T84" fmla="*/ 50 w 246"/>
              <a:gd name="T85" fmla="*/ 17 h 42"/>
              <a:gd name="T86" fmla="*/ 42 w 246"/>
              <a:gd name="T87" fmla="*/ 20 h 42"/>
              <a:gd name="T88" fmla="*/ 33 w 246"/>
              <a:gd name="T89" fmla="*/ 22 h 42"/>
              <a:gd name="T90" fmla="*/ 14 w 246"/>
              <a:gd name="T91" fmla="*/ 24 h 42"/>
              <a:gd name="T92" fmla="*/ 0 w 246"/>
              <a:gd name="T93" fmla="*/ 24 h 42"/>
              <a:gd name="T94" fmla="*/ 1 w 246"/>
              <a:gd name="T95" fmla="*/ 27 h 42"/>
              <a:gd name="T96" fmla="*/ 3 w 246"/>
              <a:gd name="T97" fmla="*/ 29 h 42"/>
              <a:gd name="T98" fmla="*/ 5 w 246"/>
              <a:gd name="T99" fmla="*/ 31 h 42"/>
              <a:gd name="T100" fmla="*/ 9 w 246"/>
              <a:gd name="T101" fmla="*/ 33 h 42"/>
              <a:gd name="T102" fmla="*/ 17 w 246"/>
              <a:gd name="T103" fmla="*/ 35 h 42"/>
              <a:gd name="T104" fmla="*/ 27 w 246"/>
              <a:gd name="T105" fmla="*/ 36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35" name="Freeform 487"/>
          <p:cNvSpPr>
            <a:spLocks/>
          </p:cNvSpPr>
          <p:nvPr>
            <p:custDataLst>
              <p:tags r:id="rId325"/>
            </p:custDataLst>
          </p:nvPr>
        </p:nvSpPr>
        <p:spPr bwMode="auto">
          <a:xfrm>
            <a:off x="6354763" y="1214438"/>
            <a:ext cx="63500" cy="57150"/>
          </a:xfrm>
          <a:custGeom>
            <a:avLst/>
            <a:gdLst>
              <a:gd name="T0" fmla="*/ 103 w 149"/>
              <a:gd name="T1" fmla="*/ 0 h 61"/>
              <a:gd name="T2" fmla="*/ 118 w 149"/>
              <a:gd name="T3" fmla="*/ 1 h 61"/>
              <a:gd name="T4" fmla="*/ 134 w 149"/>
              <a:gd name="T5" fmla="*/ 3 h 61"/>
              <a:gd name="T6" fmla="*/ 145 w 149"/>
              <a:gd name="T7" fmla="*/ 5 h 61"/>
              <a:gd name="T8" fmla="*/ 149 w 149"/>
              <a:gd name="T9" fmla="*/ 6 h 61"/>
              <a:gd name="T10" fmla="*/ 149 w 149"/>
              <a:gd name="T11" fmla="*/ 8 h 61"/>
              <a:gd name="T12" fmla="*/ 147 w 149"/>
              <a:gd name="T13" fmla="*/ 10 h 61"/>
              <a:gd name="T14" fmla="*/ 145 w 149"/>
              <a:gd name="T15" fmla="*/ 12 h 61"/>
              <a:gd name="T16" fmla="*/ 141 w 149"/>
              <a:gd name="T17" fmla="*/ 13 h 61"/>
              <a:gd name="T18" fmla="*/ 137 w 149"/>
              <a:gd name="T19" fmla="*/ 14 h 61"/>
              <a:gd name="T20" fmla="*/ 132 w 149"/>
              <a:gd name="T21" fmla="*/ 14 h 61"/>
              <a:gd name="T22" fmla="*/ 127 w 149"/>
              <a:gd name="T23" fmla="*/ 14 h 61"/>
              <a:gd name="T24" fmla="*/ 123 w 149"/>
              <a:gd name="T25" fmla="*/ 12 h 61"/>
              <a:gd name="T26" fmla="*/ 123 w 149"/>
              <a:gd name="T27" fmla="*/ 23 h 61"/>
              <a:gd name="T28" fmla="*/ 123 w 149"/>
              <a:gd name="T29" fmla="*/ 33 h 61"/>
              <a:gd name="T30" fmla="*/ 123 w 149"/>
              <a:gd name="T31" fmla="*/ 41 h 61"/>
              <a:gd name="T32" fmla="*/ 123 w 149"/>
              <a:gd name="T33" fmla="*/ 49 h 61"/>
              <a:gd name="T34" fmla="*/ 116 w 149"/>
              <a:gd name="T35" fmla="*/ 50 h 61"/>
              <a:gd name="T36" fmla="*/ 109 w 149"/>
              <a:gd name="T37" fmla="*/ 51 h 61"/>
              <a:gd name="T38" fmla="*/ 104 w 149"/>
              <a:gd name="T39" fmla="*/ 53 h 61"/>
              <a:gd name="T40" fmla="*/ 100 w 149"/>
              <a:gd name="T41" fmla="*/ 55 h 61"/>
              <a:gd name="T42" fmla="*/ 94 w 149"/>
              <a:gd name="T43" fmla="*/ 57 h 61"/>
              <a:gd name="T44" fmla="*/ 89 w 149"/>
              <a:gd name="T45" fmla="*/ 59 h 61"/>
              <a:gd name="T46" fmla="*/ 83 w 149"/>
              <a:gd name="T47" fmla="*/ 61 h 61"/>
              <a:gd name="T48" fmla="*/ 76 w 149"/>
              <a:gd name="T49" fmla="*/ 61 h 61"/>
              <a:gd name="T50" fmla="*/ 67 w 149"/>
              <a:gd name="T51" fmla="*/ 60 h 61"/>
              <a:gd name="T52" fmla="*/ 53 w 149"/>
              <a:gd name="T53" fmla="*/ 57 h 61"/>
              <a:gd name="T54" fmla="*/ 39 w 149"/>
              <a:gd name="T55" fmla="*/ 54 h 61"/>
              <a:gd name="T56" fmla="*/ 25 w 149"/>
              <a:gd name="T57" fmla="*/ 49 h 61"/>
              <a:gd name="T58" fmla="*/ 12 w 149"/>
              <a:gd name="T59" fmla="*/ 45 h 61"/>
              <a:gd name="T60" fmla="*/ 3 w 149"/>
              <a:gd name="T61" fmla="*/ 41 h 61"/>
              <a:gd name="T62" fmla="*/ 1 w 149"/>
              <a:gd name="T63" fmla="*/ 39 h 61"/>
              <a:gd name="T64" fmla="*/ 0 w 149"/>
              <a:gd name="T65" fmla="*/ 38 h 61"/>
              <a:gd name="T66" fmla="*/ 0 w 149"/>
              <a:gd name="T67" fmla="*/ 37 h 61"/>
              <a:gd name="T68" fmla="*/ 3 w 149"/>
              <a:gd name="T69" fmla="*/ 37 h 61"/>
              <a:gd name="T70" fmla="*/ 19 w 149"/>
              <a:gd name="T71" fmla="*/ 36 h 61"/>
              <a:gd name="T72" fmla="*/ 35 w 149"/>
              <a:gd name="T73" fmla="*/ 35 h 61"/>
              <a:gd name="T74" fmla="*/ 48 w 149"/>
              <a:gd name="T75" fmla="*/ 32 h 61"/>
              <a:gd name="T76" fmla="*/ 60 w 149"/>
              <a:gd name="T77" fmla="*/ 27 h 61"/>
              <a:gd name="T78" fmla="*/ 72 w 149"/>
              <a:gd name="T79" fmla="*/ 22 h 61"/>
              <a:gd name="T80" fmla="*/ 82 w 149"/>
              <a:gd name="T81" fmla="*/ 16 h 61"/>
              <a:gd name="T82" fmla="*/ 93 w 149"/>
              <a:gd name="T83" fmla="*/ 8 h 61"/>
              <a:gd name="T84" fmla="*/ 103 w 149"/>
              <a:gd name="T85" fmla="*/ 0 h 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36" name="Freeform 488"/>
          <p:cNvSpPr>
            <a:spLocks/>
          </p:cNvSpPr>
          <p:nvPr>
            <p:custDataLst>
              <p:tags r:id="rId326"/>
            </p:custDataLst>
          </p:nvPr>
        </p:nvSpPr>
        <p:spPr bwMode="auto">
          <a:xfrm>
            <a:off x="6391276" y="1222375"/>
            <a:ext cx="130175" cy="57150"/>
          </a:xfrm>
          <a:custGeom>
            <a:avLst/>
            <a:gdLst>
              <a:gd name="T0" fmla="*/ 133 w 299"/>
              <a:gd name="T1" fmla="*/ 72 h 74"/>
              <a:gd name="T2" fmla="*/ 154 w 299"/>
              <a:gd name="T3" fmla="*/ 65 h 74"/>
              <a:gd name="T4" fmla="*/ 178 w 299"/>
              <a:gd name="T5" fmla="*/ 54 h 74"/>
              <a:gd name="T6" fmla="*/ 199 w 299"/>
              <a:gd name="T7" fmla="*/ 42 h 74"/>
              <a:gd name="T8" fmla="*/ 207 w 299"/>
              <a:gd name="T9" fmla="*/ 40 h 74"/>
              <a:gd name="T10" fmla="*/ 211 w 299"/>
              <a:gd name="T11" fmla="*/ 46 h 74"/>
              <a:gd name="T12" fmla="*/ 220 w 299"/>
              <a:gd name="T13" fmla="*/ 51 h 74"/>
              <a:gd name="T14" fmla="*/ 243 w 299"/>
              <a:gd name="T15" fmla="*/ 55 h 74"/>
              <a:gd name="T16" fmla="*/ 269 w 299"/>
              <a:gd name="T17" fmla="*/ 55 h 74"/>
              <a:gd name="T18" fmla="*/ 286 w 299"/>
              <a:gd name="T19" fmla="*/ 55 h 74"/>
              <a:gd name="T20" fmla="*/ 293 w 299"/>
              <a:gd name="T21" fmla="*/ 46 h 74"/>
              <a:gd name="T22" fmla="*/ 298 w 299"/>
              <a:gd name="T23" fmla="*/ 31 h 74"/>
              <a:gd name="T24" fmla="*/ 279 w 299"/>
              <a:gd name="T25" fmla="*/ 25 h 74"/>
              <a:gd name="T26" fmla="*/ 244 w 299"/>
              <a:gd name="T27" fmla="*/ 25 h 74"/>
              <a:gd name="T28" fmla="*/ 225 w 299"/>
              <a:gd name="T29" fmla="*/ 25 h 74"/>
              <a:gd name="T30" fmla="*/ 214 w 299"/>
              <a:gd name="T31" fmla="*/ 27 h 74"/>
              <a:gd name="T32" fmla="*/ 204 w 299"/>
              <a:gd name="T33" fmla="*/ 33 h 74"/>
              <a:gd name="T34" fmla="*/ 172 w 299"/>
              <a:gd name="T35" fmla="*/ 37 h 74"/>
              <a:gd name="T36" fmla="*/ 176 w 299"/>
              <a:gd name="T37" fmla="*/ 28 h 74"/>
              <a:gd name="T38" fmla="*/ 180 w 299"/>
              <a:gd name="T39" fmla="*/ 21 h 74"/>
              <a:gd name="T40" fmla="*/ 194 w 299"/>
              <a:gd name="T41" fmla="*/ 13 h 74"/>
              <a:gd name="T42" fmla="*/ 210 w 299"/>
              <a:gd name="T43" fmla="*/ 9 h 74"/>
              <a:gd name="T44" fmla="*/ 225 w 299"/>
              <a:gd name="T45" fmla="*/ 0 h 74"/>
              <a:gd name="T46" fmla="*/ 185 w 299"/>
              <a:gd name="T47" fmla="*/ 3 h 74"/>
              <a:gd name="T48" fmla="*/ 157 w 299"/>
              <a:gd name="T49" fmla="*/ 11 h 74"/>
              <a:gd name="T50" fmla="*/ 134 w 299"/>
              <a:gd name="T51" fmla="*/ 25 h 74"/>
              <a:gd name="T52" fmla="*/ 114 w 299"/>
              <a:gd name="T53" fmla="*/ 40 h 74"/>
              <a:gd name="T54" fmla="*/ 100 w 299"/>
              <a:gd name="T55" fmla="*/ 53 h 74"/>
              <a:gd name="T56" fmla="*/ 87 w 299"/>
              <a:gd name="T57" fmla="*/ 59 h 74"/>
              <a:gd name="T58" fmla="*/ 64 w 299"/>
              <a:gd name="T59" fmla="*/ 63 h 74"/>
              <a:gd name="T60" fmla="*/ 32 w 299"/>
              <a:gd name="T61" fmla="*/ 64 h 74"/>
              <a:gd name="T62" fmla="*/ 12 w 299"/>
              <a:gd name="T63" fmla="*/ 67 h 74"/>
              <a:gd name="T64" fmla="*/ 2 w 299"/>
              <a:gd name="T65" fmla="*/ 70 h 74"/>
              <a:gd name="T66" fmla="*/ 39 w 299"/>
              <a:gd name="T67" fmla="*/ 74 h 74"/>
              <a:gd name="T68" fmla="*/ 102 w 299"/>
              <a:gd name="T69" fmla="*/ 74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37" name="Freeform 489"/>
          <p:cNvSpPr>
            <a:spLocks/>
          </p:cNvSpPr>
          <p:nvPr>
            <p:custDataLst>
              <p:tags r:id="rId327"/>
            </p:custDataLst>
          </p:nvPr>
        </p:nvSpPr>
        <p:spPr bwMode="auto">
          <a:xfrm>
            <a:off x="6924676" y="1408113"/>
            <a:ext cx="41275" cy="57150"/>
          </a:xfrm>
          <a:custGeom>
            <a:avLst/>
            <a:gdLst>
              <a:gd name="T0" fmla="*/ 93 w 100"/>
              <a:gd name="T1" fmla="*/ 0 h 42"/>
              <a:gd name="T2" fmla="*/ 97 w 100"/>
              <a:gd name="T3" fmla="*/ 7 h 42"/>
              <a:gd name="T4" fmla="*/ 100 w 100"/>
              <a:gd name="T5" fmla="*/ 18 h 42"/>
              <a:gd name="T6" fmla="*/ 92 w 100"/>
              <a:gd name="T7" fmla="*/ 24 h 42"/>
              <a:gd name="T8" fmla="*/ 86 w 100"/>
              <a:gd name="T9" fmla="*/ 29 h 42"/>
              <a:gd name="T10" fmla="*/ 79 w 100"/>
              <a:gd name="T11" fmla="*/ 34 h 42"/>
              <a:gd name="T12" fmla="*/ 72 w 100"/>
              <a:gd name="T13" fmla="*/ 37 h 42"/>
              <a:gd name="T14" fmla="*/ 65 w 100"/>
              <a:gd name="T15" fmla="*/ 39 h 42"/>
              <a:gd name="T16" fmla="*/ 57 w 100"/>
              <a:gd name="T17" fmla="*/ 41 h 42"/>
              <a:gd name="T18" fmla="*/ 49 w 100"/>
              <a:gd name="T19" fmla="*/ 42 h 42"/>
              <a:gd name="T20" fmla="*/ 40 w 100"/>
              <a:gd name="T21" fmla="*/ 42 h 42"/>
              <a:gd name="T22" fmla="*/ 27 w 100"/>
              <a:gd name="T23" fmla="*/ 41 h 42"/>
              <a:gd name="T24" fmla="*/ 12 w 100"/>
              <a:gd name="T25" fmla="*/ 39 h 42"/>
              <a:gd name="T26" fmla="*/ 1 w 100"/>
              <a:gd name="T27" fmla="*/ 37 h 42"/>
              <a:gd name="T28" fmla="*/ 0 w 100"/>
              <a:gd name="T29" fmla="*/ 36 h 42"/>
              <a:gd name="T30" fmla="*/ 6 w 100"/>
              <a:gd name="T31" fmla="*/ 36 h 42"/>
              <a:gd name="T32" fmla="*/ 12 w 100"/>
              <a:gd name="T33" fmla="*/ 35 h 42"/>
              <a:gd name="T34" fmla="*/ 18 w 100"/>
              <a:gd name="T35" fmla="*/ 33 h 42"/>
              <a:gd name="T36" fmla="*/ 23 w 100"/>
              <a:gd name="T37" fmla="*/ 30 h 42"/>
              <a:gd name="T38" fmla="*/ 33 w 100"/>
              <a:gd name="T39" fmla="*/ 25 h 42"/>
              <a:gd name="T40" fmla="*/ 44 w 100"/>
              <a:gd name="T41" fmla="*/ 18 h 42"/>
              <a:gd name="T42" fmla="*/ 55 w 100"/>
              <a:gd name="T43" fmla="*/ 11 h 42"/>
              <a:gd name="T44" fmla="*/ 66 w 100"/>
              <a:gd name="T45" fmla="*/ 5 h 42"/>
              <a:gd name="T46" fmla="*/ 72 w 100"/>
              <a:gd name="T47" fmla="*/ 3 h 42"/>
              <a:gd name="T48" fmla="*/ 79 w 100"/>
              <a:gd name="T49" fmla="*/ 1 h 42"/>
              <a:gd name="T50" fmla="*/ 86 w 100"/>
              <a:gd name="T51" fmla="*/ 0 h 42"/>
              <a:gd name="T52" fmla="*/ 93 w 100"/>
              <a:gd name="T53" fmla="*/ 0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00" h="42">
                <a:moveTo>
                  <a:pt x="93" y="0"/>
                </a:moveTo>
                <a:lnTo>
                  <a:pt x="97" y="7"/>
                </a:lnTo>
                <a:lnTo>
                  <a:pt x="100" y="18"/>
                </a:lnTo>
                <a:lnTo>
                  <a:pt x="92" y="24"/>
                </a:lnTo>
                <a:lnTo>
                  <a:pt x="86" y="29"/>
                </a:lnTo>
                <a:lnTo>
                  <a:pt x="79" y="34"/>
                </a:lnTo>
                <a:lnTo>
                  <a:pt x="72" y="37"/>
                </a:lnTo>
                <a:lnTo>
                  <a:pt x="65" y="39"/>
                </a:lnTo>
                <a:lnTo>
                  <a:pt x="57" y="41"/>
                </a:lnTo>
                <a:lnTo>
                  <a:pt x="49" y="42"/>
                </a:lnTo>
                <a:lnTo>
                  <a:pt x="40" y="42"/>
                </a:lnTo>
                <a:lnTo>
                  <a:pt x="27" y="41"/>
                </a:lnTo>
                <a:lnTo>
                  <a:pt x="12" y="39"/>
                </a:lnTo>
                <a:lnTo>
                  <a:pt x="1" y="37"/>
                </a:lnTo>
                <a:lnTo>
                  <a:pt x="0" y="36"/>
                </a:lnTo>
                <a:lnTo>
                  <a:pt x="6" y="36"/>
                </a:lnTo>
                <a:lnTo>
                  <a:pt x="12" y="35"/>
                </a:lnTo>
                <a:lnTo>
                  <a:pt x="18" y="33"/>
                </a:lnTo>
                <a:lnTo>
                  <a:pt x="23" y="30"/>
                </a:lnTo>
                <a:lnTo>
                  <a:pt x="33" y="25"/>
                </a:lnTo>
                <a:lnTo>
                  <a:pt x="44" y="18"/>
                </a:lnTo>
                <a:lnTo>
                  <a:pt x="55" y="11"/>
                </a:lnTo>
                <a:lnTo>
                  <a:pt x="66" y="5"/>
                </a:lnTo>
                <a:lnTo>
                  <a:pt x="72" y="3"/>
                </a:lnTo>
                <a:lnTo>
                  <a:pt x="79" y="1"/>
                </a:lnTo>
                <a:lnTo>
                  <a:pt x="86" y="0"/>
                </a:lnTo>
                <a:lnTo>
                  <a:pt x="9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38" name="Freeform 490"/>
          <p:cNvSpPr>
            <a:spLocks/>
          </p:cNvSpPr>
          <p:nvPr>
            <p:custDataLst>
              <p:tags r:id="rId328"/>
            </p:custDataLst>
          </p:nvPr>
        </p:nvSpPr>
        <p:spPr bwMode="auto">
          <a:xfrm>
            <a:off x="6834189" y="1266825"/>
            <a:ext cx="15875" cy="58738"/>
          </a:xfrm>
          <a:custGeom>
            <a:avLst/>
            <a:gdLst>
              <a:gd name="T0" fmla="*/ 40 w 40"/>
              <a:gd name="T1" fmla="*/ 5 h 5"/>
              <a:gd name="T2" fmla="*/ 0 w 40"/>
              <a:gd name="T3" fmla="*/ 5 h 5"/>
              <a:gd name="T4" fmla="*/ 5 w 40"/>
              <a:gd name="T5" fmla="*/ 3 h 5"/>
              <a:gd name="T6" fmla="*/ 9 w 40"/>
              <a:gd name="T7" fmla="*/ 1 h 5"/>
              <a:gd name="T8" fmla="*/ 15 w 40"/>
              <a:gd name="T9" fmla="*/ 0 h 5"/>
              <a:gd name="T10" fmla="*/ 20 w 40"/>
              <a:gd name="T11" fmla="*/ 0 h 5"/>
              <a:gd name="T12" fmla="*/ 25 w 40"/>
              <a:gd name="T13" fmla="*/ 0 h 5"/>
              <a:gd name="T14" fmla="*/ 30 w 40"/>
              <a:gd name="T15" fmla="*/ 1 h 5"/>
              <a:gd name="T16" fmla="*/ 35 w 40"/>
              <a:gd name="T17" fmla="*/ 3 h 5"/>
              <a:gd name="T18" fmla="*/ 40 w 40"/>
              <a:gd name="T19" fmla="*/ 5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0" h="5">
                <a:moveTo>
                  <a:pt x="40" y="5"/>
                </a:moveTo>
                <a:lnTo>
                  <a:pt x="0" y="5"/>
                </a:lnTo>
                <a:lnTo>
                  <a:pt x="5" y="3"/>
                </a:lnTo>
                <a:lnTo>
                  <a:pt x="9" y="1"/>
                </a:lnTo>
                <a:lnTo>
                  <a:pt x="15" y="0"/>
                </a:lnTo>
                <a:lnTo>
                  <a:pt x="20" y="0"/>
                </a:lnTo>
                <a:lnTo>
                  <a:pt x="25" y="0"/>
                </a:lnTo>
                <a:lnTo>
                  <a:pt x="30" y="1"/>
                </a:lnTo>
                <a:lnTo>
                  <a:pt x="35" y="3"/>
                </a:lnTo>
                <a:lnTo>
                  <a:pt x="40" y="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39" name="Freeform 491"/>
          <p:cNvSpPr>
            <a:spLocks/>
          </p:cNvSpPr>
          <p:nvPr>
            <p:custDataLst>
              <p:tags r:id="rId329"/>
            </p:custDataLst>
          </p:nvPr>
        </p:nvSpPr>
        <p:spPr bwMode="auto">
          <a:xfrm>
            <a:off x="6856414" y="1225551"/>
            <a:ext cx="14287" cy="60325"/>
          </a:xfrm>
          <a:custGeom>
            <a:avLst/>
            <a:gdLst>
              <a:gd name="T0" fmla="*/ 0 w 33"/>
              <a:gd name="T1" fmla="*/ 19 h 31"/>
              <a:gd name="T2" fmla="*/ 20 w 33"/>
              <a:gd name="T3" fmla="*/ 0 h 31"/>
              <a:gd name="T4" fmla="*/ 20 w 33"/>
              <a:gd name="T5" fmla="*/ 4 h 31"/>
              <a:gd name="T6" fmla="*/ 22 w 33"/>
              <a:gd name="T7" fmla="*/ 10 h 31"/>
              <a:gd name="T8" fmla="*/ 25 w 33"/>
              <a:gd name="T9" fmla="*/ 14 h 31"/>
              <a:gd name="T10" fmla="*/ 27 w 33"/>
              <a:gd name="T11" fmla="*/ 18 h 31"/>
              <a:gd name="T12" fmla="*/ 31 w 33"/>
              <a:gd name="T13" fmla="*/ 26 h 31"/>
              <a:gd name="T14" fmla="*/ 33 w 33"/>
              <a:gd name="T15" fmla="*/ 31 h 31"/>
              <a:gd name="T16" fmla="*/ 0 w 33"/>
              <a:gd name="T17" fmla="*/ 31 h 31"/>
              <a:gd name="T18" fmla="*/ 0 w 33"/>
              <a:gd name="T19" fmla="*/ 25 h 31"/>
              <a:gd name="T20" fmla="*/ 0 w 33"/>
              <a:gd name="T21" fmla="*/ 19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3" h="31">
                <a:moveTo>
                  <a:pt x="0" y="19"/>
                </a:moveTo>
                <a:lnTo>
                  <a:pt x="20" y="0"/>
                </a:lnTo>
                <a:lnTo>
                  <a:pt x="20" y="4"/>
                </a:lnTo>
                <a:lnTo>
                  <a:pt x="22" y="10"/>
                </a:lnTo>
                <a:lnTo>
                  <a:pt x="25" y="14"/>
                </a:lnTo>
                <a:lnTo>
                  <a:pt x="27" y="18"/>
                </a:lnTo>
                <a:lnTo>
                  <a:pt x="31" y="26"/>
                </a:lnTo>
                <a:lnTo>
                  <a:pt x="33" y="31"/>
                </a:lnTo>
                <a:lnTo>
                  <a:pt x="0" y="31"/>
                </a:lnTo>
                <a:lnTo>
                  <a:pt x="0" y="25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40" name="Freeform 492"/>
          <p:cNvSpPr>
            <a:spLocks/>
          </p:cNvSpPr>
          <p:nvPr>
            <p:custDataLst>
              <p:tags r:id="rId330"/>
            </p:custDataLst>
          </p:nvPr>
        </p:nvSpPr>
        <p:spPr bwMode="auto">
          <a:xfrm>
            <a:off x="7000876" y="1341438"/>
            <a:ext cx="17463" cy="57150"/>
          </a:xfrm>
          <a:custGeom>
            <a:avLst/>
            <a:gdLst>
              <a:gd name="T0" fmla="*/ 41 w 41"/>
              <a:gd name="T1" fmla="*/ 0 h 43"/>
              <a:gd name="T2" fmla="*/ 41 w 41"/>
              <a:gd name="T3" fmla="*/ 43 h 43"/>
              <a:gd name="T4" fmla="*/ 31 w 41"/>
              <a:gd name="T5" fmla="*/ 42 h 43"/>
              <a:gd name="T6" fmla="*/ 24 w 41"/>
              <a:gd name="T7" fmla="*/ 40 h 43"/>
              <a:gd name="T8" fmla="*/ 18 w 41"/>
              <a:gd name="T9" fmla="*/ 37 h 43"/>
              <a:gd name="T10" fmla="*/ 13 w 41"/>
              <a:gd name="T11" fmla="*/ 33 h 43"/>
              <a:gd name="T12" fmla="*/ 5 w 41"/>
              <a:gd name="T13" fmla="*/ 25 h 43"/>
              <a:gd name="T14" fmla="*/ 0 w 41"/>
              <a:gd name="T15" fmla="*/ 19 h 43"/>
              <a:gd name="T16" fmla="*/ 12 w 41"/>
              <a:gd name="T17" fmla="*/ 13 h 43"/>
              <a:gd name="T18" fmla="*/ 25 w 41"/>
              <a:gd name="T19" fmla="*/ 7 h 43"/>
              <a:gd name="T20" fmla="*/ 36 w 41"/>
              <a:gd name="T21" fmla="*/ 2 h 43"/>
              <a:gd name="T22" fmla="*/ 41 w 41"/>
              <a:gd name="T23" fmla="*/ 0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1" h="43">
                <a:moveTo>
                  <a:pt x="41" y="0"/>
                </a:moveTo>
                <a:lnTo>
                  <a:pt x="41" y="43"/>
                </a:lnTo>
                <a:lnTo>
                  <a:pt x="31" y="42"/>
                </a:lnTo>
                <a:lnTo>
                  <a:pt x="24" y="40"/>
                </a:lnTo>
                <a:lnTo>
                  <a:pt x="18" y="37"/>
                </a:lnTo>
                <a:lnTo>
                  <a:pt x="13" y="33"/>
                </a:lnTo>
                <a:lnTo>
                  <a:pt x="5" y="25"/>
                </a:lnTo>
                <a:lnTo>
                  <a:pt x="0" y="19"/>
                </a:lnTo>
                <a:lnTo>
                  <a:pt x="12" y="13"/>
                </a:lnTo>
                <a:lnTo>
                  <a:pt x="25" y="7"/>
                </a:lnTo>
                <a:lnTo>
                  <a:pt x="36" y="2"/>
                </a:lnTo>
                <a:lnTo>
                  <a:pt x="4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41" name="Freeform 493"/>
          <p:cNvSpPr>
            <a:spLocks/>
          </p:cNvSpPr>
          <p:nvPr>
            <p:custDataLst>
              <p:tags r:id="rId331"/>
            </p:custDataLst>
          </p:nvPr>
        </p:nvSpPr>
        <p:spPr bwMode="auto">
          <a:xfrm>
            <a:off x="7054851" y="1225551"/>
            <a:ext cx="93663" cy="60325"/>
          </a:xfrm>
          <a:custGeom>
            <a:avLst/>
            <a:gdLst>
              <a:gd name="T0" fmla="*/ 61 w 213"/>
              <a:gd name="T1" fmla="*/ 0 h 62"/>
              <a:gd name="T2" fmla="*/ 83 w 213"/>
              <a:gd name="T3" fmla="*/ 0 h 62"/>
              <a:gd name="T4" fmla="*/ 105 w 213"/>
              <a:gd name="T5" fmla="*/ 1 h 62"/>
              <a:gd name="T6" fmla="*/ 127 w 213"/>
              <a:gd name="T7" fmla="*/ 3 h 62"/>
              <a:gd name="T8" fmla="*/ 146 w 213"/>
              <a:gd name="T9" fmla="*/ 7 h 62"/>
              <a:gd name="T10" fmla="*/ 166 w 213"/>
              <a:gd name="T11" fmla="*/ 11 h 62"/>
              <a:gd name="T12" fmla="*/ 184 w 213"/>
              <a:gd name="T13" fmla="*/ 16 h 62"/>
              <a:gd name="T14" fmla="*/ 191 w 213"/>
              <a:gd name="T15" fmla="*/ 19 h 62"/>
              <a:gd name="T16" fmla="*/ 199 w 213"/>
              <a:gd name="T17" fmla="*/ 23 h 62"/>
              <a:gd name="T18" fmla="*/ 207 w 213"/>
              <a:gd name="T19" fmla="*/ 27 h 62"/>
              <a:gd name="T20" fmla="*/ 213 w 213"/>
              <a:gd name="T21" fmla="*/ 31 h 62"/>
              <a:gd name="T22" fmla="*/ 211 w 213"/>
              <a:gd name="T23" fmla="*/ 35 h 62"/>
              <a:gd name="T24" fmla="*/ 207 w 213"/>
              <a:gd name="T25" fmla="*/ 38 h 62"/>
              <a:gd name="T26" fmla="*/ 201 w 213"/>
              <a:gd name="T27" fmla="*/ 41 h 62"/>
              <a:gd name="T28" fmla="*/ 195 w 213"/>
              <a:gd name="T29" fmla="*/ 44 h 62"/>
              <a:gd name="T30" fmla="*/ 177 w 213"/>
              <a:gd name="T31" fmla="*/ 49 h 62"/>
              <a:gd name="T32" fmla="*/ 156 w 213"/>
              <a:gd name="T33" fmla="*/ 53 h 62"/>
              <a:gd name="T34" fmla="*/ 135 w 213"/>
              <a:gd name="T35" fmla="*/ 57 h 62"/>
              <a:gd name="T36" fmla="*/ 114 w 213"/>
              <a:gd name="T37" fmla="*/ 59 h 62"/>
              <a:gd name="T38" fmla="*/ 95 w 213"/>
              <a:gd name="T39" fmla="*/ 62 h 62"/>
              <a:gd name="T40" fmla="*/ 80 w 213"/>
              <a:gd name="T41" fmla="*/ 62 h 62"/>
              <a:gd name="T42" fmla="*/ 62 w 213"/>
              <a:gd name="T43" fmla="*/ 62 h 62"/>
              <a:gd name="T44" fmla="*/ 43 w 213"/>
              <a:gd name="T45" fmla="*/ 59 h 62"/>
              <a:gd name="T46" fmla="*/ 33 w 213"/>
              <a:gd name="T47" fmla="*/ 59 h 62"/>
              <a:gd name="T48" fmla="*/ 23 w 213"/>
              <a:gd name="T49" fmla="*/ 59 h 62"/>
              <a:gd name="T50" fmla="*/ 12 w 213"/>
              <a:gd name="T51" fmla="*/ 60 h 62"/>
              <a:gd name="T52" fmla="*/ 0 w 213"/>
              <a:gd name="T53" fmla="*/ 62 h 62"/>
              <a:gd name="T54" fmla="*/ 6 w 213"/>
              <a:gd name="T55" fmla="*/ 50 h 62"/>
              <a:gd name="T56" fmla="*/ 11 w 213"/>
              <a:gd name="T57" fmla="*/ 39 h 62"/>
              <a:gd name="T58" fmla="*/ 17 w 213"/>
              <a:gd name="T59" fmla="*/ 29 h 62"/>
              <a:gd name="T60" fmla="*/ 23 w 213"/>
              <a:gd name="T61" fmla="*/ 20 h 62"/>
              <a:gd name="T62" fmla="*/ 27 w 213"/>
              <a:gd name="T63" fmla="*/ 16 h 62"/>
              <a:gd name="T64" fmla="*/ 30 w 213"/>
              <a:gd name="T65" fmla="*/ 12 h 62"/>
              <a:gd name="T66" fmla="*/ 34 w 213"/>
              <a:gd name="T67" fmla="*/ 9 h 62"/>
              <a:gd name="T68" fmla="*/ 39 w 213"/>
              <a:gd name="T69" fmla="*/ 6 h 62"/>
              <a:gd name="T70" fmla="*/ 43 w 213"/>
              <a:gd name="T71" fmla="*/ 3 h 62"/>
              <a:gd name="T72" fmla="*/ 49 w 213"/>
              <a:gd name="T73" fmla="*/ 1 h 62"/>
              <a:gd name="T74" fmla="*/ 54 w 213"/>
              <a:gd name="T75" fmla="*/ 0 h 62"/>
              <a:gd name="T76" fmla="*/ 61 w 213"/>
              <a:gd name="T77" fmla="*/ 0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13" h="62">
                <a:moveTo>
                  <a:pt x="61" y="0"/>
                </a:moveTo>
                <a:lnTo>
                  <a:pt x="83" y="0"/>
                </a:lnTo>
                <a:lnTo>
                  <a:pt x="105" y="1"/>
                </a:lnTo>
                <a:lnTo>
                  <a:pt x="127" y="3"/>
                </a:lnTo>
                <a:lnTo>
                  <a:pt x="146" y="7"/>
                </a:lnTo>
                <a:lnTo>
                  <a:pt x="166" y="11"/>
                </a:lnTo>
                <a:lnTo>
                  <a:pt x="184" y="16"/>
                </a:lnTo>
                <a:lnTo>
                  <a:pt x="191" y="19"/>
                </a:lnTo>
                <a:lnTo>
                  <a:pt x="199" y="23"/>
                </a:lnTo>
                <a:lnTo>
                  <a:pt x="207" y="27"/>
                </a:lnTo>
                <a:lnTo>
                  <a:pt x="213" y="31"/>
                </a:lnTo>
                <a:lnTo>
                  <a:pt x="211" y="35"/>
                </a:lnTo>
                <a:lnTo>
                  <a:pt x="207" y="38"/>
                </a:lnTo>
                <a:lnTo>
                  <a:pt x="201" y="41"/>
                </a:lnTo>
                <a:lnTo>
                  <a:pt x="195" y="44"/>
                </a:lnTo>
                <a:lnTo>
                  <a:pt x="177" y="49"/>
                </a:lnTo>
                <a:lnTo>
                  <a:pt x="156" y="53"/>
                </a:lnTo>
                <a:lnTo>
                  <a:pt x="135" y="57"/>
                </a:lnTo>
                <a:lnTo>
                  <a:pt x="114" y="59"/>
                </a:lnTo>
                <a:lnTo>
                  <a:pt x="95" y="62"/>
                </a:lnTo>
                <a:lnTo>
                  <a:pt x="80" y="62"/>
                </a:lnTo>
                <a:lnTo>
                  <a:pt x="62" y="62"/>
                </a:lnTo>
                <a:lnTo>
                  <a:pt x="43" y="59"/>
                </a:lnTo>
                <a:lnTo>
                  <a:pt x="33" y="59"/>
                </a:lnTo>
                <a:lnTo>
                  <a:pt x="23" y="59"/>
                </a:lnTo>
                <a:lnTo>
                  <a:pt x="12" y="60"/>
                </a:lnTo>
                <a:lnTo>
                  <a:pt x="0" y="62"/>
                </a:lnTo>
                <a:lnTo>
                  <a:pt x="6" y="50"/>
                </a:lnTo>
                <a:lnTo>
                  <a:pt x="11" y="39"/>
                </a:lnTo>
                <a:lnTo>
                  <a:pt x="17" y="29"/>
                </a:lnTo>
                <a:lnTo>
                  <a:pt x="23" y="20"/>
                </a:lnTo>
                <a:lnTo>
                  <a:pt x="27" y="16"/>
                </a:lnTo>
                <a:lnTo>
                  <a:pt x="30" y="12"/>
                </a:lnTo>
                <a:lnTo>
                  <a:pt x="34" y="9"/>
                </a:lnTo>
                <a:lnTo>
                  <a:pt x="39" y="6"/>
                </a:lnTo>
                <a:lnTo>
                  <a:pt x="43" y="3"/>
                </a:lnTo>
                <a:lnTo>
                  <a:pt x="49" y="1"/>
                </a:lnTo>
                <a:lnTo>
                  <a:pt x="54" y="0"/>
                </a:lnTo>
                <a:lnTo>
                  <a:pt x="6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42" name="Freeform 494"/>
          <p:cNvSpPr>
            <a:spLocks/>
          </p:cNvSpPr>
          <p:nvPr>
            <p:custDataLst>
              <p:tags r:id="rId332"/>
            </p:custDataLst>
          </p:nvPr>
        </p:nvSpPr>
        <p:spPr bwMode="auto">
          <a:xfrm>
            <a:off x="7115175" y="1250951"/>
            <a:ext cx="103188" cy="60325"/>
          </a:xfrm>
          <a:custGeom>
            <a:avLst/>
            <a:gdLst>
              <a:gd name="T0" fmla="*/ 41 w 239"/>
              <a:gd name="T1" fmla="*/ 0 h 56"/>
              <a:gd name="T2" fmla="*/ 30 w 239"/>
              <a:gd name="T3" fmla="*/ 3 h 56"/>
              <a:gd name="T4" fmla="*/ 23 w 239"/>
              <a:gd name="T5" fmla="*/ 5 h 56"/>
              <a:gd name="T6" fmla="*/ 19 w 239"/>
              <a:gd name="T7" fmla="*/ 7 h 56"/>
              <a:gd name="T8" fmla="*/ 15 w 239"/>
              <a:gd name="T9" fmla="*/ 9 h 56"/>
              <a:gd name="T10" fmla="*/ 13 w 239"/>
              <a:gd name="T11" fmla="*/ 13 h 56"/>
              <a:gd name="T12" fmla="*/ 10 w 239"/>
              <a:gd name="T13" fmla="*/ 15 h 56"/>
              <a:gd name="T14" fmla="*/ 7 w 239"/>
              <a:gd name="T15" fmla="*/ 17 h 56"/>
              <a:gd name="T16" fmla="*/ 0 w 239"/>
              <a:gd name="T17" fmla="*/ 19 h 56"/>
              <a:gd name="T18" fmla="*/ 2 w 239"/>
              <a:gd name="T19" fmla="*/ 24 h 56"/>
              <a:gd name="T20" fmla="*/ 5 w 239"/>
              <a:gd name="T21" fmla="*/ 27 h 56"/>
              <a:gd name="T22" fmla="*/ 7 w 239"/>
              <a:gd name="T23" fmla="*/ 30 h 56"/>
              <a:gd name="T24" fmla="*/ 10 w 239"/>
              <a:gd name="T25" fmla="*/ 33 h 56"/>
              <a:gd name="T26" fmla="*/ 17 w 239"/>
              <a:gd name="T27" fmla="*/ 36 h 56"/>
              <a:gd name="T28" fmla="*/ 24 w 239"/>
              <a:gd name="T29" fmla="*/ 38 h 56"/>
              <a:gd name="T30" fmla="*/ 41 w 239"/>
              <a:gd name="T31" fmla="*/ 38 h 56"/>
              <a:gd name="T32" fmla="*/ 54 w 239"/>
              <a:gd name="T33" fmla="*/ 38 h 56"/>
              <a:gd name="T34" fmla="*/ 153 w 239"/>
              <a:gd name="T35" fmla="*/ 38 h 56"/>
              <a:gd name="T36" fmla="*/ 155 w 239"/>
              <a:gd name="T37" fmla="*/ 41 h 56"/>
              <a:gd name="T38" fmla="*/ 156 w 239"/>
              <a:gd name="T39" fmla="*/ 44 h 56"/>
              <a:gd name="T40" fmla="*/ 159 w 239"/>
              <a:gd name="T41" fmla="*/ 46 h 56"/>
              <a:gd name="T42" fmla="*/ 162 w 239"/>
              <a:gd name="T43" fmla="*/ 48 h 56"/>
              <a:gd name="T44" fmla="*/ 167 w 239"/>
              <a:gd name="T45" fmla="*/ 51 h 56"/>
              <a:gd name="T46" fmla="*/ 174 w 239"/>
              <a:gd name="T47" fmla="*/ 54 h 56"/>
              <a:gd name="T48" fmla="*/ 188 w 239"/>
              <a:gd name="T49" fmla="*/ 56 h 56"/>
              <a:gd name="T50" fmla="*/ 200 w 239"/>
              <a:gd name="T51" fmla="*/ 56 h 56"/>
              <a:gd name="T52" fmla="*/ 204 w 239"/>
              <a:gd name="T53" fmla="*/ 55 h 56"/>
              <a:gd name="T54" fmla="*/ 210 w 239"/>
              <a:gd name="T55" fmla="*/ 54 h 56"/>
              <a:gd name="T56" fmla="*/ 214 w 239"/>
              <a:gd name="T57" fmla="*/ 52 h 56"/>
              <a:gd name="T58" fmla="*/ 220 w 239"/>
              <a:gd name="T59" fmla="*/ 49 h 56"/>
              <a:gd name="T60" fmla="*/ 230 w 239"/>
              <a:gd name="T61" fmla="*/ 43 h 56"/>
              <a:gd name="T62" fmla="*/ 239 w 239"/>
              <a:gd name="T63" fmla="*/ 38 h 56"/>
              <a:gd name="T64" fmla="*/ 232 w 239"/>
              <a:gd name="T65" fmla="*/ 37 h 56"/>
              <a:gd name="T66" fmla="*/ 225 w 239"/>
              <a:gd name="T67" fmla="*/ 36 h 56"/>
              <a:gd name="T68" fmla="*/ 219 w 239"/>
              <a:gd name="T69" fmla="*/ 34 h 56"/>
              <a:gd name="T70" fmla="*/ 213 w 239"/>
              <a:gd name="T71" fmla="*/ 32 h 56"/>
              <a:gd name="T72" fmla="*/ 201 w 239"/>
              <a:gd name="T73" fmla="*/ 26 h 56"/>
              <a:gd name="T74" fmla="*/ 190 w 239"/>
              <a:gd name="T75" fmla="*/ 19 h 56"/>
              <a:gd name="T76" fmla="*/ 178 w 239"/>
              <a:gd name="T77" fmla="*/ 13 h 56"/>
              <a:gd name="T78" fmla="*/ 167 w 239"/>
              <a:gd name="T79" fmla="*/ 6 h 56"/>
              <a:gd name="T80" fmla="*/ 160 w 239"/>
              <a:gd name="T81" fmla="*/ 4 h 56"/>
              <a:gd name="T82" fmla="*/ 154 w 239"/>
              <a:gd name="T83" fmla="*/ 2 h 56"/>
              <a:gd name="T84" fmla="*/ 147 w 239"/>
              <a:gd name="T85" fmla="*/ 1 h 56"/>
              <a:gd name="T86" fmla="*/ 140 w 239"/>
              <a:gd name="T87" fmla="*/ 0 h 56"/>
              <a:gd name="T88" fmla="*/ 134 w 239"/>
              <a:gd name="T89" fmla="*/ 1 h 56"/>
              <a:gd name="T90" fmla="*/ 127 w 239"/>
              <a:gd name="T91" fmla="*/ 4 h 56"/>
              <a:gd name="T92" fmla="*/ 124 w 239"/>
              <a:gd name="T93" fmla="*/ 6 h 56"/>
              <a:gd name="T94" fmla="*/ 122 w 239"/>
              <a:gd name="T95" fmla="*/ 8 h 56"/>
              <a:gd name="T96" fmla="*/ 121 w 239"/>
              <a:gd name="T97" fmla="*/ 10 h 56"/>
              <a:gd name="T98" fmla="*/ 120 w 239"/>
              <a:gd name="T99" fmla="*/ 13 h 56"/>
              <a:gd name="T100" fmla="*/ 100 w 239"/>
              <a:gd name="T101" fmla="*/ 8 h 56"/>
              <a:gd name="T102" fmla="*/ 80 w 239"/>
              <a:gd name="T103" fmla="*/ 4 h 56"/>
              <a:gd name="T104" fmla="*/ 61 w 239"/>
              <a:gd name="T105" fmla="*/ 1 h 56"/>
              <a:gd name="T106" fmla="*/ 41 w 239"/>
              <a:gd name="T107" fmla="*/ 0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39" h="56">
                <a:moveTo>
                  <a:pt x="41" y="0"/>
                </a:moveTo>
                <a:lnTo>
                  <a:pt x="30" y="3"/>
                </a:lnTo>
                <a:lnTo>
                  <a:pt x="23" y="5"/>
                </a:lnTo>
                <a:lnTo>
                  <a:pt x="19" y="7"/>
                </a:lnTo>
                <a:lnTo>
                  <a:pt x="15" y="9"/>
                </a:lnTo>
                <a:lnTo>
                  <a:pt x="13" y="13"/>
                </a:lnTo>
                <a:lnTo>
                  <a:pt x="10" y="15"/>
                </a:lnTo>
                <a:lnTo>
                  <a:pt x="7" y="17"/>
                </a:lnTo>
                <a:lnTo>
                  <a:pt x="0" y="19"/>
                </a:lnTo>
                <a:lnTo>
                  <a:pt x="2" y="24"/>
                </a:lnTo>
                <a:lnTo>
                  <a:pt x="5" y="27"/>
                </a:lnTo>
                <a:lnTo>
                  <a:pt x="7" y="30"/>
                </a:lnTo>
                <a:lnTo>
                  <a:pt x="10" y="33"/>
                </a:lnTo>
                <a:lnTo>
                  <a:pt x="17" y="36"/>
                </a:lnTo>
                <a:lnTo>
                  <a:pt x="24" y="38"/>
                </a:lnTo>
                <a:lnTo>
                  <a:pt x="41" y="38"/>
                </a:lnTo>
                <a:lnTo>
                  <a:pt x="54" y="38"/>
                </a:lnTo>
                <a:lnTo>
                  <a:pt x="153" y="38"/>
                </a:lnTo>
                <a:lnTo>
                  <a:pt x="155" y="41"/>
                </a:lnTo>
                <a:lnTo>
                  <a:pt x="156" y="44"/>
                </a:lnTo>
                <a:lnTo>
                  <a:pt x="159" y="46"/>
                </a:lnTo>
                <a:lnTo>
                  <a:pt x="162" y="48"/>
                </a:lnTo>
                <a:lnTo>
                  <a:pt x="167" y="51"/>
                </a:lnTo>
                <a:lnTo>
                  <a:pt x="174" y="54"/>
                </a:lnTo>
                <a:lnTo>
                  <a:pt x="188" y="56"/>
                </a:lnTo>
                <a:lnTo>
                  <a:pt x="200" y="56"/>
                </a:lnTo>
                <a:lnTo>
                  <a:pt x="204" y="55"/>
                </a:lnTo>
                <a:lnTo>
                  <a:pt x="210" y="54"/>
                </a:lnTo>
                <a:lnTo>
                  <a:pt x="214" y="52"/>
                </a:lnTo>
                <a:lnTo>
                  <a:pt x="220" y="49"/>
                </a:lnTo>
                <a:lnTo>
                  <a:pt x="230" y="43"/>
                </a:lnTo>
                <a:lnTo>
                  <a:pt x="239" y="38"/>
                </a:lnTo>
                <a:lnTo>
                  <a:pt x="232" y="37"/>
                </a:lnTo>
                <a:lnTo>
                  <a:pt x="225" y="36"/>
                </a:lnTo>
                <a:lnTo>
                  <a:pt x="219" y="34"/>
                </a:lnTo>
                <a:lnTo>
                  <a:pt x="213" y="32"/>
                </a:lnTo>
                <a:lnTo>
                  <a:pt x="201" y="26"/>
                </a:lnTo>
                <a:lnTo>
                  <a:pt x="190" y="19"/>
                </a:lnTo>
                <a:lnTo>
                  <a:pt x="178" y="13"/>
                </a:lnTo>
                <a:lnTo>
                  <a:pt x="167" y="6"/>
                </a:lnTo>
                <a:lnTo>
                  <a:pt x="160" y="4"/>
                </a:lnTo>
                <a:lnTo>
                  <a:pt x="154" y="2"/>
                </a:lnTo>
                <a:lnTo>
                  <a:pt x="147" y="1"/>
                </a:lnTo>
                <a:lnTo>
                  <a:pt x="140" y="0"/>
                </a:lnTo>
                <a:lnTo>
                  <a:pt x="134" y="1"/>
                </a:lnTo>
                <a:lnTo>
                  <a:pt x="127" y="4"/>
                </a:lnTo>
                <a:lnTo>
                  <a:pt x="124" y="6"/>
                </a:lnTo>
                <a:lnTo>
                  <a:pt x="122" y="8"/>
                </a:lnTo>
                <a:lnTo>
                  <a:pt x="121" y="10"/>
                </a:lnTo>
                <a:lnTo>
                  <a:pt x="120" y="13"/>
                </a:lnTo>
                <a:lnTo>
                  <a:pt x="100" y="8"/>
                </a:lnTo>
                <a:lnTo>
                  <a:pt x="80" y="4"/>
                </a:lnTo>
                <a:lnTo>
                  <a:pt x="61" y="1"/>
                </a:lnTo>
                <a:lnTo>
                  <a:pt x="4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43" name="Freeform 495"/>
          <p:cNvSpPr>
            <a:spLocks/>
          </p:cNvSpPr>
          <p:nvPr>
            <p:custDataLst>
              <p:tags r:id="rId333"/>
            </p:custDataLst>
          </p:nvPr>
        </p:nvSpPr>
        <p:spPr bwMode="auto">
          <a:xfrm>
            <a:off x="7232650" y="1265238"/>
            <a:ext cx="82550" cy="57150"/>
          </a:xfrm>
          <a:custGeom>
            <a:avLst/>
            <a:gdLst>
              <a:gd name="T0" fmla="*/ 14 w 187"/>
              <a:gd name="T1" fmla="*/ 19 h 80"/>
              <a:gd name="T2" fmla="*/ 41 w 187"/>
              <a:gd name="T3" fmla="*/ 0 h 80"/>
              <a:gd name="T4" fmla="*/ 44 w 187"/>
              <a:gd name="T5" fmla="*/ 3 h 80"/>
              <a:gd name="T6" fmla="*/ 50 w 187"/>
              <a:gd name="T7" fmla="*/ 6 h 80"/>
              <a:gd name="T8" fmla="*/ 58 w 187"/>
              <a:gd name="T9" fmla="*/ 9 h 80"/>
              <a:gd name="T10" fmla="*/ 67 w 187"/>
              <a:gd name="T11" fmla="*/ 12 h 80"/>
              <a:gd name="T12" fmla="*/ 89 w 187"/>
              <a:gd name="T13" fmla="*/ 19 h 80"/>
              <a:gd name="T14" fmla="*/ 114 w 187"/>
              <a:gd name="T15" fmla="*/ 26 h 80"/>
              <a:gd name="T16" fmla="*/ 139 w 187"/>
              <a:gd name="T17" fmla="*/ 33 h 80"/>
              <a:gd name="T18" fmla="*/ 161 w 187"/>
              <a:gd name="T19" fmla="*/ 38 h 80"/>
              <a:gd name="T20" fmla="*/ 177 w 187"/>
              <a:gd name="T21" fmla="*/ 42 h 80"/>
              <a:gd name="T22" fmla="*/ 187 w 187"/>
              <a:gd name="T23" fmla="*/ 43 h 80"/>
              <a:gd name="T24" fmla="*/ 187 w 187"/>
              <a:gd name="T25" fmla="*/ 56 h 80"/>
              <a:gd name="T26" fmla="*/ 187 w 187"/>
              <a:gd name="T27" fmla="*/ 68 h 80"/>
              <a:gd name="T28" fmla="*/ 170 w 187"/>
              <a:gd name="T29" fmla="*/ 70 h 80"/>
              <a:gd name="T30" fmla="*/ 151 w 187"/>
              <a:gd name="T31" fmla="*/ 71 h 80"/>
              <a:gd name="T32" fmla="*/ 133 w 187"/>
              <a:gd name="T33" fmla="*/ 71 h 80"/>
              <a:gd name="T34" fmla="*/ 116 w 187"/>
              <a:gd name="T35" fmla="*/ 70 h 80"/>
              <a:gd name="T36" fmla="*/ 85 w 187"/>
              <a:gd name="T37" fmla="*/ 69 h 80"/>
              <a:gd name="T38" fmla="*/ 61 w 187"/>
              <a:gd name="T39" fmla="*/ 68 h 80"/>
              <a:gd name="T40" fmla="*/ 55 w 187"/>
              <a:gd name="T41" fmla="*/ 69 h 80"/>
              <a:gd name="T42" fmla="*/ 51 w 187"/>
              <a:gd name="T43" fmla="*/ 70 h 80"/>
              <a:gd name="T44" fmla="*/ 45 w 187"/>
              <a:gd name="T45" fmla="*/ 72 h 80"/>
              <a:gd name="T46" fmla="*/ 41 w 187"/>
              <a:gd name="T47" fmla="*/ 74 h 80"/>
              <a:gd name="T48" fmla="*/ 33 w 187"/>
              <a:gd name="T49" fmla="*/ 78 h 80"/>
              <a:gd name="T50" fmla="*/ 28 w 187"/>
              <a:gd name="T51" fmla="*/ 80 h 80"/>
              <a:gd name="T52" fmla="*/ 22 w 187"/>
              <a:gd name="T53" fmla="*/ 79 h 80"/>
              <a:gd name="T54" fmla="*/ 18 w 187"/>
              <a:gd name="T55" fmla="*/ 76 h 80"/>
              <a:gd name="T56" fmla="*/ 14 w 187"/>
              <a:gd name="T57" fmla="*/ 72 h 80"/>
              <a:gd name="T58" fmla="*/ 9 w 187"/>
              <a:gd name="T59" fmla="*/ 67 h 80"/>
              <a:gd name="T60" fmla="*/ 6 w 187"/>
              <a:gd name="T61" fmla="*/ 62 h 80"/>
              <a:gd name="T62" fmla="*/ 3 w 187"/>
              <a:gd name="T63" fmla="*/ 57 h 80"/>
              <a:gd name="T64" fmla="*/ 2 w 187"/>
              <a:gd name="T65" fmla="*/ 53 h 80"/>
              <a:gd name="T66" fmla="*/ 0 w 187"/>
              <a:gd name="T67" fmla="*/ 50 h 80"/>
              <a:gd name="T68" fmla="*/ 2 w 187"/>
              <a:gd name="T69" fmla="*/ 44 h 80"/>
              <a:gd name="T70" fmla="*/ 3 w 187"/>
              <a:gd name="T71" fmla="*/ 40 h 80"/>
              <a:gd name="T72" fmla="*/ 5 w 187"/>
              <a:gd name="T73" fmla="*/ 36 h 80"/>
              <a:gd name="T74" fmla="*/ 7 w 187"/>
              <a:gd name="T75" fmla="*/ 31 h 80"/>
              <a:gd name="T76" fmla="*/ 13 w 187"/>
              <a:gd name="T77" fmla="*/ 24 h 80"/>
              <a:gd name="T78" fmla="*/ 14 w 187"/>
              <a:gd name="T79" fmla="*/ 19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87" h="80">
                <a:moveTo>
                  <a:pt x="14" y="19"/>
                </a:moveTo>
                <a:lnTo>
                  <a:pt x="41" y="0"/>
                </a:lnTo>
                <a:lnTo>
                  <a:pt x="44" y="3"/>
                </a:lnTo>
                <a:lnTo>
                  <a:pt x="50" y="6"/>
                </a:lnTo>
                <a:lnTo>
                  <a:pt x="58" y="9"/>
                </a:lnTo>
                <a:lnTo>
                  <a:pt x="67" y="12"/>
                </a:lnTo>
                <a:lnTo>
                  <a:pt x="89" y="19"/>
                </a:lnTo>
                <a:lnTo>
                  <a:pt x="114" y="26"/>
                </a:lnTo>
                <a:lnTo>
                  <a:pt x="139" y="33"/>
                </a:lnTo>
                <a:lnTo>
                  <a:pt x="161" y="38"/>
                </a:lnTo>
                <a:lnTo>
                  <a:pt x="177" y="42"/>
                </a:lnTo>
                <a:lnTo>
                  <a:pt x="187" y="43"/>
                </a:lnTo>
                <a:lnTo>
                  <a:pt x="187" y="56"/>
                </a:lnTo>
                <a:lnTo>
                  <a:pt x="187" y="68"/>
                </a:lnTo>
                <a:lnTo>
                  <a:pt x="170" y="70"/>
                </a:lnTo>
                <a:lnTo>
                  <a:pt x="151" y="71"/>
                </a:lnTo>
                <a:lnTo>
                  <a:pt x="133" y="71"/>
                </a:lnTo>
                <a:lnTo>
                  <a:pt x="116" y="70"/>
                </a:lnTo>
                <a:lnTo>
                  <a:pt x="85" y="69"/>
                </a:lnTo>
                <a:lnTo>
                  <a:pt x="61" y="68"/>
                </a:lnTo>
                <a:lnTo>
                  <a:pt x="55" y="69"/>
                </a:lnTo>
                <a:lnTo>
                  <a:pt x="51" y="70"/>
                </a:lnTo>
                <a:lnTo>
                  <a:pt x="45" y="72"/>
                </a:lnTo>
                <a:lnTo>
                  <a:pt x="41" y="74"/>
                </a:lnTo>
                <a:lnTo>
                  <a:pt x="33" y="78"/>
                </a:lnTo>
                <a:lnTo>
                  <a:pt x="28" y="80"/>
                </a:lnTo>
                <a:lnTo>
                  <a:pt x="22" y="79"/>
                </a:lnTo>
                <a:lnTo>
                  <a:pt x="18" y="76"/>
                </a:lnTo>
                <a:lnTo>
                  <a:pt x="14" y="72"/>
                </a:lnTo>
                <a:lnTo>
                  <a:pt x="9" y="67"/>
                </a:lnTo>
                <a:lnTo>
                  <a:pt x="6" y="62"/>
                </a:lnTo>
                <a:lnTo>
                  <a:pt x="3" y="57"/>
                </a:lnTo>
                <a:lnTo>
                  <a:pt x="2" y="53"/>
                </a:lnTo>
                <a:lnTo>
                  <a:pt x="0" y="50"/>
                </a:lnTo>
                <a:lnTo>
                  <a:pt x="2" y="44"/>
                </a:lnTo>
                <a:lnTo>
                  <a:pt x="3" y="40"/>
                </a:lnTo>
                <a:lnTo>
                  <a:pt x="5" y="36"/>
                </a:lnTo>
                <a:lnTo>
                  <a:pt x="7" y="31"/>
                </a:lnTo>
                <a:lnTo>
                  <a:pt x="13" y="24"/>
                </a:lnTo>
                <a:lnTo>
                  <a:pt x="14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44" name="Freeform 496"/>
          <p:cNvSpPr>
            <a:spLocks/>
          </p:cNvSpPr>
          <p:nvPr>
            <p:custDataLst>
              <p:tags r:id="rId334"/>
            </p:custDataLst>
          </p:nvPr>
        </p:nvSpPr>
        <p:spPr bwMode="auto">
          <a:xfrm>
            <a:off x="7759701" y="1390650"/>
            <a:ext cx="79375" cy="58738"/>
          </a:xfrm>
          <a:custGeom>
            <a:avLst/>
            <a:gdLst>
              <a:gd name="T0" fmla="*/ 50 w 183"/>
              <a:gd name="T1" fmla="*/ 0 h 73"/>
              <a:gd name="T2" fmla="*/ 63 w 183"/>
              <a:gd name="T3" fmla="*/ 0 h 73"/>
              <a:gd name="T4" fmla="*/ 75 w 183"/>
              <a:gd name="T5" fmla="*/ 1 h 73"/>
              <a:gd name="T6" fmla="*/ 86 w 183"/>
              <a:gd name="T7" fmla="*/ 4 h 73"/>
              <a:gd name="T8" fmla="*/ 97 w 183"/>
              <a:gd name="T9" fmla="*/ 7 h 73"/>
              <a:gd name="T10" fmla="*/ 106 w 183"/>
              <a:gd name="T11" fmla="*/ 10 h 73"/>
              <a:gd name="T12" fmla="*/ 116 w 183"/>
              <a:gd name="T13" fmla="*/ 15 h 73"/>
              <a:gd name="T14" fmla="*/ 124 w 183"/>
              <a:gd name="T15" fmla="*/ 19 h 73"/>
              <a:gd name="T16" fmla="*/ 131 w 183"/>
              <a:gd name="T17" fmla="*/ 25 h 73"/>
              <a:gd name="T18" fmla="*/ 159 w 183"/>
              <a:gd name="T19" fmla="*/ 49 h 73"/>
              <a:gd name="T20" fmla="*/ 183 w 183"/>
              <a:gd name="T21" fmla="*/ 73 h 73"/>
              <a:gd name="T22" fmla="*/ 137 w 183"/>
              <a:gd name="T23" fmla="*/ 73 h 73"/>
              <a:gd name="T24" fmla="*/ 128 w 183"/>
              <a:gd name="T25" fmla="*/ 72 h 73"/>
              <a:gd name="T26" fmla="*/ 117 w 183"/>
              <a:gd name="T27" fmla="*/ 70 h 73"/>
              <a:gd name="T28" fmla="*/ 104 w 183"/>
              <a:gd name="T29" fmla="*/ 66 h 73"/>
              <a:gd name="T30" fmla="*/ 90 w 183"/>
              <a:gd name="T31" fmla="*/ 62 h 73"/>
              <a:gd name="T32" fmla="*/ 73 w 183"/>
              <a:gd name="T33" fmla="*/ 56 h 73"/>
              <a:gd name="T34" fmla="*/ 58 w 183"/>
              <a:gd name="T35" fmla="*/ 50 h 73"/>
              <a:gd name="T36" fmla="*/ 42 w 183"/>
              <a:gd name="T37" fmla="*/ 44 h 73"/>
              <a:gd name="T38" fmla="*/ 28 w 183"/>
              <a:gd name="T39" fmla="*/ 37 h 73"/>
              <a:gd name="T40" fmla="*/ 16 w 183"/>
              <a:gd name="T41" fmla="*/ 30 h 73"/>
              <a:gd name="T42" fmla="*/ 7 w 183"/>
              <a:gd name="T43" fmla="*/ 23 h 73"/>
              <a:gd name="T44" fmla="*/ 4 w 183"/>
              <a:gd name="T45" fmla="*/ 19 h 73"/>
              <a:gd name="T46" fmla="*/ 2 w 183"/>
              <a:gd name="T47" fmla="*/ 16 h 73"/>
              <a:gd name="T48" fmla="*/ 1 w 183"/>
              <a:gd name="T49" fmla="*/ 14 h 73"/>
              <a:gd name="T50" fmla="*/ 0 w 183"/>
              <a:gd name="T51" fmla="*/ 11 h 73"/>
              <a:gd name="T52" fmla="*/ 1 w 183"/>
              <a:gd name="T53" fmla="*/ 8 h 73"/>
              <a:gd name="T54" fmla="*/ 3 w 183"/>
              <a:gd name="T55" fmla="*/ 6 h 73"/>
              <a:gd name="T56" fmla="*/ 7 w 183"/>
              <a:gd name="T57" fmla="*/ 4 h 73"/>
              <a:gd name="T58" fmla="*/ 13 w 183"/>
              <a:gd name="T59" fmla="*/ 3 h 73"/>
              <a:gd name="T60" fmla="*/ 19 w 183"/>
              <a:gd name="T61" fmla="*/ 1 h 73"/>
              <a:gd name="T62" fmla="*/ 28 w 183"/>
              <a:gd name="T63" fmla="*/ 0 h 73"/>
              <a:gd name="T64" fmla="*/ 38 w 183"/>
              <a:gd name="T65" fmla="*/ 0 h 73"/>
              <a:gd name="T66" fmla="*/ 50 w 183"/>
              <a:gd name="T67" fmla="*/ 0 h 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83" h="73">
                <a:moveTo>
                  <a:pt x="50" y="0"/>
                </a:moveTo>
                <a:lnTo>
                  <a:pt x="63" y="0"/>
                </a:lnTo>
                <a:lnTo>
                  <a:pt x="75" y="1"/>
                </a:lnTo>
                <a:lnTo>
                  <a:pt x="86" y="4"/>
                </a:lnTo>
                <a:lnTo>
                  <a:pt x="97" y="7"/>
                </a:lnTo>
                <a:lnTo>
                  <a:pt x="106" y="10"/>
                </a:lnTo>
                <a:lnTo>
                  <a:pt x="116" y="15"/>
                </a:lnTo>
                <a:lnTo>
                  <a:pt x="124" y="19"/>
                </a:lnTo>
                <a:lnTo>
                  <a:pt x="131" y="25"/>
                </a:lnTo>
                <a:lnTo>
                  <a:pt x="159" y="49"/>
                </a:lnTo>
                <a:lnTo>
                  <a:pt x="183" y="73"/>
                </a:lnTo>
                <a:lnTo>
                  <a:pt x="137" y="73"/>
                </a:lnTo>
                <a:lnTo>
                  <a:pt x="128" y="72"/>
                </a:lnTo>
                <a:lnTo>
                  <a:pt x="117" y="70"/>
                </a:lnTo>
                <a:lnTo>
                  <a:pt x="104" y="66"/>
                </a:lnTo>
                <a:lnTo>
                  <a:pt x="90" y="62"/>
                </a:lnTo>
                <a:lnTo>
                  <a:pt x="73" y="56"/>
                </a:lnTo>
                <a:lnTo>
                  <a:pt x="58" y="50"/>
                </a:lnTo>
                <a:lnTo>
                  <a:pt x="42" y="44"/>
                </a:lnTo>
                <a:lnTo>
                  <a:pt x="28" y="37"/>
                </a:lnTo>
                <a:lnTo>
                  <a:pt x="16" y="30"/>
                </a:lnTo>
                <a:lnTo>
                  <a:pt x="7" y="23"/>
                </a:lnTo>
                <a:lnTo>
                  <a:pt x="4" y="19"/>
                </a:lnTo>
                <a:lnTo>
                  <a:pt x="2" y="16"/>
                </a:lnTo>
                <a:lnTo>
                  <a:pt x="1" y="14"/>
                </a:lnTo>
                <a:lnTo>
                  <a:pt x="0" y="11"/>
                </a:lnTo>
                <a:lnTo>
                  <a:pt x="1" y="8"/>
                </a:lnTo>
                <a:lnTo>
                  <a:pt x="3" y="6"/>
                </a:lnTo>
                <a:lnTo>
                  <a:pt x="7" y="4"/>
                </a:lnTo>
                <a:lnTo>
                  <a:pt x="13" y="3"/>
                </a:lnTo>
                <a:lnTo>
                  <a:pt x="19" y="1"/>
                </a:lnTo>
                <a:lnTo>
                  <a:pt x="28" y="0"/>
                </a:lnTo>
                <a:lnTo>
                  <a:pt x="38" y="0"/>
                </a:lnTo>
                <a:lnTo>
                  <a:pt x="5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45" name="Freeform 497"/>
          <p:cNvSpPr>
            <a:spLocks/>
          </p:cNvSpPr>
          <p:nvPr>
            <p:custDataLst>
              <p:tags r:id="rId335"/>
            </p:custDataLst>
          </p:nvPr>
        </p:nvSpPr>
        <p:spPr bwMode="auto">
          <a:xfrm>
            <a:off x="7826375" y="1408113"/>
            <a:ext cx="33338" cy="57150"/>
          </a:xfrm>
          <a:custGeom>
            <a:avLst/>
            <a:gdLst>
              <a:gd name="T0" fmla="*/ 0 w 79"/>
              <a:gd name="T1" fmla="*/ 6 h 42"/>
              <a:gd name="T2" fmla="*/ 23 w 79"/>
              <a:gd name="T3" fmla="*/ 2 h 42"/>
              <a:gd name="T4" fmla="*/ 41 w 79"/>
              <a:gd name="T5" fmla="*/ 1 h 42"/>
              <a:gd name="T6" fmla="*/ 60 w 79"/>
              <a:gd name="T7" fmla="*/ 0 h 42"/>
              <a:gd name="T8" fmla="*/ 79 w 79"/>
              <a:gd name="T9" fmla="*/ 0 h 42"/>
              <a:gd name="T10" fmla="*/ 79 w 79"/>
              <a:gd name="T11" fmla="*/ 9 h 42"/>
              <a:gd name="T12" fmla="*/ 79 w 79"/>
              <a:gd name="T13" fmla="*/ 18 h 42"/>
              <a:gd name="T14" fmla="*/ 79 w 79"/>
              <a:gd name="T15" fmla="*/ 22 h 42"/>
              <a:gd name="T16" fmla="*/ 75 w 79"/>
              <a:gd name="T17" fmla="*/ 27 h 42"/>
              <a:gd name="T18" fmla="*/ 72 w 79"/>
              <a:gd name="T19" fmla="*/ 31 h 42"/>
              <a:gd name="T20" fmla="*/ 68 w 79"/>
              <a:gd name="T21" fmla="*/ 35 h 42"/>
              <a:gd name="T22" fmla="*/ 62 w 79"/>
              <a:gd name="T23" fmla="*/ 38 h 42"/>
              <a:gd name="T24" fmla="*/ 57 w 79"/>
              <a:gd name="T25" fmla="*/ 40 h 42"/>
              <a:gd name="T26" fmla="*/ 51 w 79"/>
              <a:gd name="T27" fmla="*/ 42 h 42"/>
              <a:gd name="T28" fmla="*/ 46 w 79"/>
              <a:gd name="T29" fmla="*/ 42 h 42"/>
              <a:gd name="T30" fmla="*/ 40 w 79"/>
              <a:gd name="T31" fmla="*/ 42 h 42"/>
              <a:gd name="T32" fmla="*/ 35 w 79"/>
              <a:gd name="T33" fmla="*/ 41 h 42"/>
              <a:gd name="T34" fmla="*/ 29 w 79"/>
              <a:gd name="T35" fmla="*/ 39 h 42"/>
              <a:gd name="T36" fmla="*/ 25 w 79"/>
              <a:gd name="T37" fmla="*/ 37 h 42"/>
              <a:gd name="T38" fmla="*/ 16 w 79"/>
              <a:gd name="T39" fmla="*/ 32 h 42"/>
              <a:gd name="T40" fmla="*/ 11 w 79"/>
              <a:gd name="T41" fmla="*/ 26 h 42"/>
              <a:gd name="T42" fmla="*/ 5 w 79"/>
              <a:gd name="T43" fmla="*/ 20 h 42"/>
              <a:gd name="T44" fmla="*/ 2 w 79"/>
              <a:gd name="T45" fmla="*/ 14 h 42"/>
              <a:gd name="T46" fmla="*/ 0 w 79"/>
              <a:gd name="T47" fmla="*/ 9 h 42"/>
              <a:gd name="T48" fmla="*/ 0 w 79"/>
              <a:gd name="T49" fmla="*/ 6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79" h="42">
                <a:moveTo>
                  <a:pt x="0" y="6"/>
                </a:moveTo>
                <a:lnTo>
                  <a:pt x="23" y="2"/>
                </a:lnTo>
                <a:lnTo>
                  <a:pt x="41" y="1"/>
                </a:lnTo>
                <a:lnTo>
                  <a:pt x="60" y="0"/>
                </a:lnTo>
                <a:lnTo>
                  <a:pt x="79" y="0"/>
                </a:lnTo>
                <a:lnTo>
                  <a:pt x="79" y="9"/>
                </a:lnTo>
                <a:lnTo>
                  <a:pt x="79" y="18"/>
                </a:lnTo>
                <a:lnTo>
                  <a:pt x="79" y="22"/>
                </a:lnTo>
                <a:lnTo>
                  <a:pt x="75" y="27"/>
                </a:lnTo>
                <a:lnTo>
                  <a:pt x="72" y="31"/>
                </a:lnTo>
                <a:lnTo>
                  <a:pt x="68" y="35"/>
                </a:lnTo>
                <a:lnTo>
                  <a:pt x="62" y="38"/>
                </a:lnTo>
                <a:lnTo>
                  <a:pt x="57" y="40"/>
                </a:lnTo>
                <a:lnTo>
                  <a:pt x="51" y="42"/>
                </a:lnTo>
                <a:lnTo>
                  <a:pt x="46" y="42"/>
                </a:lnTo>
                <a:lnTo>
                  <a:pt x="40" y="42"/>
                </a:lnTo>
                <a:lnTo>
                  <a:pt x="35" y="41"/>
                </a:lnTo>
                <a:lnTo>
                  <a:pt x="29" y="39"/>
                </a:lnTo>
                <a:lnTo>
                  <a:pt x="25" y="37"/>
                </a:lnTo>
                <a:lnTo>
                  <a:pt x="16" y="32"/>
                </a:lnTo>
                <a:lnTo>
                  <a:pt x="11" y="26"/>
                </a:lnTo>
                <a:lnTo>
                  <a:pt x="5" y="20"/>
                </a:lnTo>
                <a:lnTo>
                  <a:pt x="2" y="14"/>
                </a:lnTo>
                <a:lnTo>
                  <a:pt x="0" y="9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46" name="Freeform 498"/>
          <p:cNvSpPr>
            <a:spLocks/>
          </p:cNvSpPr>
          <p:nvPr>
            <p:custDataLst>
              <p:tags r:id="rId336"/>
            </p:custDataLst>
          </p:nvPr>
        </p:nvSpPr>
        <p:spPr bwMode="auto">
          <a:xfrm>
            <a:off x="7856539" y="1419225"/>
            <a:ext cx="52387" cy="58738"/>
          </a:xfrm>
          <a:custGeom>
            <a:avLst/>
            <a:gdLst>
              <a:gd name="T0" fmla="*/ 113 w 113"/>
              <a:gd name="T1" fmla="*/ 39 h 52"/>
              <a:gd name="T2" fmla="*/ 112 w 113"/>
              <a:gd name="T3" fmla="*/ 42 h 52"/>
              <a:gd name="T4" fmla="*/ 109 w 113"/>
              <a:gd name="T5" fmla="*/ 45 h 52"/>
              <a:gd name="T6" fmla="*/ 106 w 113"/>
              <a:gd name="T7" fmla="*/ 47 h 52"/>
              <a:gd name="T8" fmla="*/ 103 w 113"/>
              <a:gd name="T9" fmla="*/ 49 h 52"/>
              <a:gd name="T10" fmla="*/ 94 w 113"/>
              <a:gd name="T11" fmla="*/ 51 h 52"/>
              <a:gd name="T12" fmla="*/ 85 w 113"/>
              <a:gd name="T13" fmla="*/ 52 h 52"/>
              <a:gd name="T14" fmla="*/ 66 w 113"/>
              <a:gd name="T15" fmla="*/ 52 h 52"/>
              <a:gd name="T16" fmla="*/ 53 w 113"/>
              <a:gd name="T17" fmla="*/ 51 h 52"/>
              <a:gd name="T18" fmla="*/ 47 w 113"/>
              <a:gd name="T19" fmla="*/ 51 h 52"/>
              <a:gd name="T20" fmla="*/ 39 w 113"/>
              <a:gd name="T21" fmla="*/ 48 h 52"/>
              <a:gd name="T22" fmla="*/ 30 w 113"/>
              <a:gd name="T23" fmla="*/ 45 h 52"/>
              <a:gd name="T24" fmla="*/ 21 w 113"/>
              <a:gd name="T25" fmla="*/ 41 h 52"/>
              <a:gd name="T26" fmla="*/ 13 w 113"/>
              <a:gd name="T27" fmla="*/ 36 h 52"/>
              <a:gd name="T28" fmla="*/ 6 w 113"/>
              <a:gd name="T29" fmla="*/ 31 h 52"/>
              <a:gd name="T30" fmla="*/ 4 w 113"/>
              <a:gd name="T31" fmla="*/ 28 h 52"/>
              <a:gd name="T32" fmla="*/ 2 w 113"/>
              <a:gd name="T33" fmla="*/ 25 h 52"/>
              <a:gd name="T34" fmla="*/ 1 w 113"/>
              <a:gd name="T35" fmla="*/ 22 h 52"/>
              <a:gd name="T36" fmla="*/ 0 w 113"/>
              <a:gd name="T37" fmla="*/ 20 h 52"/>
              <a:gd name="T38" fmla="*/ 1 w 113"/>
              <a:gd name="T39" fmla="*/ 15 h 52"/>
              <a:gd name="T40" fmla="*/ 1 w 113"/>
              <a:gd name="T41" fmla="*/ 11 h 52"/>
              <a:gd name="T42" fmla="*/ 3 w 113"/>
              <a:gd name="T43" fmla="*/ 8 h 52"/>
              <a:gd name="T44" fmla="*/ 5 w 113"/>
              <a:gd name="T45" fmla="*/ 5 h 52"/>
              <a:gd name="T46" fmla="*/ 7 w 113"/>
              <a:gd name="T47" fmla="*/ 3 h 52"/>
              <a:gd name="T48" fmla="*/ 10 w 113"/>
              <a:gd name="T49" fmla="*/ 2 h 52"/>
              <a:gd name="T50" fmla="*/ 14 w 113"/>
              <a:gd name="T51" fmla="*/ 1 h 52"/>
              <a:gd name="T52" fmla="*/ 17 w 113"/>
              <a:gd name="T53" fmla="*/ 0 h 52"/>
              <a:gd name="T54" fmla="*/ 26 w 113"/>
              <a:gd name="T55" fmla="*/ 0 h 52"/>
              <a:gd name="T56" fmla="*/ 36 w 113"/>
              <a:gd name="T57" fmla="*/ 2 h 52"/>
              <a:gd name="T58" fmla="*/ 46 w 113"/>
              <a:gd name="T59" fmla="*/ 5 h 52"/>
              <a:gd name="T60" fmla="*/ 57 w 113"/>
              <a:gd name="T61" fmla="*/ 9 h 52"/>
              <a:gd name="T62" fmla="*/ 77 w 113"/>
              <a:gd name="T63" fmla="*/ 18 h 52"/>
              <a:gd name="T64" fmla="*/ 95 w 113"/>
              <a:gd name="T65" fmla="*/ 29 h 52"/>
              <a:gd name="T66" fmla="*/ 108 w 113"/>
              <a:gd name="T67" fmla="*/ 36 h 52"/>
              <a:gd name="T68" fmla="*/ 113 w 113"/>
              <a:gd name="T69" fmla="*/ 39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13" h="52">
                <a:moveTo>
                  <a:pt x="113" y="39"/>
                </a:moveTo>
                <a:lnTo>
                  <a:pt x="112" y="42"/>
                </a:lnTo>
                <a:lnTo>
                  <a:pt x="109" y="45"/>
                </a:lnTo>
                <a:lnTo>
                  <a:pt x="106" y="47"/>
                </a:lnTo>
                <a:lnTo>
                  <a:pt x="103" y="49"/>
                </a:lnTo>
                <a:lnTo>
                  <a:pt x="94" y="51"/>
                </a:lnTo>
                <a:lnTo>
                  <a:pt x="85" y="52"/>
                </a:lnTo>
                <a:lnTo>
                  <a:pt x="66" y="52"/>
                </a:lnTo>
                <a:lnTo>
                  <a:pt x="53" y="51"/>
                </a:lnTo>
                <a:lnTo>
                  <a:pt x="47" y="51"/>
                </a:lnTo>
                <a:lnTo>
                  <a:pt x="39" y="48"/>
                </a:lnTo>
                <a:lnTo>
                  <a:pt x="30" y="45"/>
                </a:lnTo>
                <a:lnTo>
                  <a:pt x="21" y="41"/>
                </a:lnTo>
                <a:lnTo>
                  <a:pt x="13" y="36"/>
                </a:lnTo>
                <a:lnTo>
                  <a:pt x="6" y="31"/>
                </a:lnTo>
                <a:lnTo>
                  <a:pt x="4" y="28"/>
                </a:lnTo>
                <a:lnTo>
                  <a:pt x="2" y="25"/>
                </a:lnTo>
                <a:lnTo>
                  <a:pt x="1" y="22"/>
                </a:lnTo>
                <a:lnTo>
                  <a:pt x="0" y="20"/>
                </a:lnTo>
                <a:lnTo>
                  <a:pt x="1" y="15"/>
                </a:lnTo>
                <a:lnTo>
                  <a:pt x="1" y="11"/>
                </a:lnTo>
                <a:lnTo>
                  <a:pt x="3" y="8"/>
                </a:lnTo>
                <a:lnTo>
                  <a:pt x="5" y="5"/>
                </a:lnTo>
                <a:lnTo>
                  <a:pt x="7" y="3"/>
                </a:lnTo>
                <a:lnTo>
                  <a:pt x="10" y="2"/>
                </a:lnTo>
                <a:lnTo>
                  <a:pt x="14" y="1"/>
                </a:lnTo>
                <a:lnTo>
                  <a:pt x="17" y="0"/>
                </a:lnTo>
                <a:lnTo>
                  <a:pt x="26" y="0"/>
                </a:lnTo>
                <a:lnTo>
                  <a:pt x="36" y="2"/>
                </a:lnTo>
                <a:lnTo>
                  <a:pt x="46" y="5"/>
                </a:lnTo>
                <a:lnTo>
                  <a:pt x="57" y="9"/>
                </a:lnTo>
                <a:lnTo>
                  <a:pt x="77" y="18"/>
                </a:lnTo>
                <a:lnTo>
                  <a:pt x="95" y="29"/>
                </a:lnTo>
                <a:lnTo>
                  <a:pt x="108" y="36"/>
                </a:lnTo>
                <a:lnTo>
                  <a:pt x="113" y="3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47" name="Freeform 499"/>
          <p:cNvSpPr>
            <a:spLocks/>
          </p:cNvSpPr>
          <p:nvPr>
            <p:custDataLst>
              <p:tags r:id="rId337"/>
            </p:custDataLst>
          </p:nvPr>
        </p:nvSpPr>
        <p:spPr bwMode="auto">
          <a:xfrm>
            <a:off x="7627938" y="1392239"/>
            <a:ext cx="61912" cy="58737"/>
          </a:xfrm>
          <a:custGeom>
            <a:avLst/>
            <a:gdLst>
              <a:gd name="T0" fmla="*/ 0 w 139"/>
              <a:gd name="T1" fmla="*/ 8 h 40"/>
              <a:gd name="T2" fmla="*/ 8 w 139"/>
              <a:gd name="T3" fmla="*/ 9 h 40"/>
              <a:gd name="T4" fmla="*/ 19 w 139"/>
              <a:gd name="T5" fmla="*/ 8 h 40"/>
              <a:gd name="T6" fmla="*/ 30 w 139"/>
              <a:gd name="T7" fmla="*/ 7 h 40"/>
              <a:gd name="T8" fmla="*/ 42 w 139"/>
              <a:gd name="T9" fmla="*/ 5 h 40"/>
              <a:gd name="T10" fmla="*/ 53 w 139"/>
              <a:gd name="T11" fmla="*/ 2 h 40"/>
              <a:gd name="T12" fmla="*/ 64 w 139"/>
              <a:gd name="T13" fmla="*/ 1 h 40"/>
              <a:gd name="T14" fmla="*/ 73 w 139"/>
              <a:gd name="T15" fmla="*/ 0 h 40"/>
              <a:gd name="T16" fmla="*/ 80 w 139"/>
              <a:gd name="T17" fmla="*/ 2 h 40"/>
              <a:gd name="T18" fmla="*/ 139 w 139"/>
              <a:gd name="T19" fmla="*/ 39 h 40"/>
              <a:gd name="T20" fmla="*/ 133 w 139"/>
              <a:gd name="T21" fmla="*/ 40 h 40"/>
              <a:gd name="T22" fmla="*/ 125 w 139"/>
              <a:gd name="T23" fmla="*/ 39 h 40"/>
              <a:gd name="T24" fmla="*/ 116 w 139"/>
              <a:gd name="T25" fmla="*/ 38 h 40"/>
              <a:gd name="T26" fmla="*/ 106 w 139"/>
              <a:gd name="T27" fmla="*/ 36 h 40"/>
              <a:gd name="T28" fmla="*/ 86 w 139"/>
              <a:gd name="T29" fmla="*/ 30 h 40"/>
              <a:gd name="T30" fmla="*/ 64 w 139"/>
              <a:gd name="T31" fmla="*/ 24 h 40"/>
              <a:gd name="T32" fmla="*/ 44 w 139"/>
              <a:gd name="T33" fmla="*/ 16 h 40"/>
              <a:gd name="T34" fmla="*/ 26 w 139"/>
              <a:gd name="T35" fmla="*/ 11 h 40"/>
              <a:gd name="T36" fmla="*/ 17 w 139"/>
              <a:gd name="T37" fmla="*/ 9 h 40"/>
              <a:gd name="T38" fmla="*/ 11 w 139"/>
              <a:gd name="T39" fmla="*/ 7 h 40"/>
              <a:gd name="T40" fmla="*/ 4 w 139"/>
              <a:gd name="T41" fmla="*/ 7 h 40"/>
              <a:gd name="T42" fmla="*/ 0 w 139"/>
              <a:gd name="T43" fmla="*/ 8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39" h="40">
                <a:moveTo>
                  <a:pt x="0" y="8"/>
                </a:moveTo>
                <a:lnTo>
                  <a:pt x="8" y="9"/>
                </a:lnTo>
                <a:lnTo>
                  <a:pt x="19" y="8"/>
                </a:lnTo>
                <a:lnTo>
                  <a:pt x="30" y="7"/>
                </a:lnTo>
                <a:lnTo>
                  <a:pt x="42" y="5"/>
                </a:lnTo>
                <a:lnTo>
                  <a:pt x="53" y="2"/>
                </a:lnTo>
                <a:lnTo>
                  <a:pt x="64" y="1"/>
                </a:lnTo>
                <a:lnTo>
                  <a:pt x="73" y="0"/>
                </a:lnTo>
                <a:lnTo>
                  <a:pt x="80" y="2"/>
                </a:lnTo>
                <a:lnTo>
                  <a:pt x="139" y="39"/>
                </a:lnTo>
                <a:lnTo>
                  <a:pt x="133" y="40"/>
                </a:lnTo>
                <a:lnTo>
                  <a:pt x="125" y="39"/>
                </a:lnTo>
                <a:lnTo>
                  <a:pt x="116" y="38"/>
                </a:lnTo>
                <a:lnTo>
                  <a:pt x="106" y="36"/>
                </a:lnTo>
                <a:lnTo>
                  <a:pt x="86" y="30"/>
                </a:lnTo>
                <a:lnTo>
                  <a:pt x="64" y="24"/>
                </a:lnTo>
                <a:lnTo>
                  <a:pt x="44" y="16"/>
                </a:lnTo>
                <a:lnTo>
                  <a:pt x="26" y="11"/>
                </a:lnTo>
                <a:lnTo>
                  <a:pt x="17" y="9"/>
                </a:lnTo>
                <a:lnTo>
                  <a:pt x="11" y="7"/>
                </a:lnTo>
                <a:lnTo>
                  <a:pt x="4" y="7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48" name="Freeform 500"/>
          <p:cNvSpPr>
            <a:spLocks/>
          </p:cNvSpPr>
          <p:nvPr>
            <p:custDataLst>
              <p:tags r:id="rId338"/>
            </p:custDataLst>
          </p:nvPr>
        </p:nvSpPr>
        <p:spPr bwMode="auto">
          <a:xfrm>
            <a:off x="7927975" y="1333500"/>
            <a:ext cx="139700" cy="57150"/>
          </a:xfrm>
          <a:custGeom>
            <a:avLst/>
            <a:gdLst>
              <a:gd name="T0" fmla="*/ 10 w 325"/>
              <a:gd name="T1" fmla="*/ 7 h 71"/>
              <a:gd name="T2" fmla="*/ 31 w 325"/>
              <a:gd name="T3" fmla="*/ 1 h 71"/>
              <a:gd name="T4" fmla="*/ 53 w 325"/>
              <a:gd name="T5" fmla="*/ 0 h 71"/>
              <a:gd name="T6" fmla="*/ 73 w 325"/>
              <a:gd name="T7" fmla="*/ 4 h 71"/>
              <a:gd name="T8" fmla="*/ 92 w 325"/>
              <a:gd name="T9" fmla="*/ 10 h 71"/>
              <a:gd name="T10" fmla="*/ 110 w 325"/>
              <a:gd name="T11" fmla="*/ 18 h 71"/>
              <a:gd name="T12" fmla="*/ 122 w 325"/>
              <a:gd name="T13" fmla="*/ 29 h 71"/>
              <a:gd name="T14" fmla="*/ 130 w 325"/>
              <a:gd name="T15" fmla="*/ 38 h 71"/>
              <a:gd name="T16" fmla="*/ 136 w 325"/>
              <a:gd name="T17" fmla="*/ 34 h 71"/>
              <a:gd name="T18" fmla="*/ 139 w 325"/>
              <a:gd name="T19" fmla="*/ 15 h 71"/>
              <a:gd name="T20" fmla="*/ 161 w 325"/>
              <a:gd name="T21" fmla="*/ 7 h 71"/>
              <a:gd name="T22" fmla="*/ 216 w 325"/>
              <a:gd name="T23" fmla="*/ 13 h 71"/>
              <a:gd name="T24" fmla="*/ 258 w 325"/>
              <a:gd name="T25" fmla="*/ 23 h 71"/>
              <a:gd name="T26" fmla="*/ 283 w 325"/>
              <a:gd name="T27" fmla="*/ 32 h 71"/>
              <a:gd name="T28" fmla="*/ 305 w 325"/>
              <a:gd name="T29" fmla="*/ 43 h 71"/>
              <a:gd name="T30" fmla="*/ 320 w 325"/>
              <a:gd name="T31" fmla="*/ 55 h 71"/>
              <a:gd name="T32" fmla="*/ 316 w 325"/>
              <a:gd name="T33" fmla="*/ 64 h 71"/>
              <a:gd name="T34" fmla="*/ 294 w 325"/>
              <a:gd name="T35" fmla="*/ 68 h 71"/>
              <a:gd name="T36" fmla="*/ 259 w 325"/>
              <a:gd name="T37" fmla="*/ 71 h 71"/>
              <a:gd name="T38" fmla="*/ 210 w 325"/>
              <a:gd name="T39" fmla="*/ 70 h 71"/>
              <a:gd name="T40" fmla="*/ 167 w 325"/>
              <a:gd name="T41" fmla="*/ 68 h 71"/>
              <a:gd name="T42" fmla="*/ 133 w 325"/>
              <a:gd name="T43" fmla="*/ 69 h 71"/>
              <a:gd name="T44" fmla="*/ 90 w 325"/>
              <a:gd name="T45" fmla="*/ 71 h 71"/>
              <a:gd name="T46" fmla="*/ 72 w 325"/>
              <a:gd name="T47" fmla="*/ 68 h 71"/>
              <a:gd name="T48" fmla="*/ 67 w 325"/>
              <a:gd name="T49" fmla="*/ 64 h 71"/>
              <a:gd name="T50" fmla="*/ 58 w 325"/>
              <a:gd name="T51" fmla="*/ 61 h 71"/>
              <a:gd name="T52" fmla="*/ 46 w 325"/>
              <a:gd name="T53" fmla="*/ 59 h 71"/>
              <a:gd name="T54" fmla="*/ 35 w 325"/>
              <a:gd name="T55" fmla="*/ 53 h 71"/>
              <a:gd name="T56" fmla="*/ 25 w 325"/>
              <a:gd name="T57" fmla="*/ 45 h 71"/>
              <a:gd name="T58" fmla="*/ 16 w 325"/>
              <a:gd name="T59" fmla="*/ 39 h 71"/>
              <a:gd name="T60" fmla="*/ 6 w 325"/>
              <a:gd name="T61" fmla="*/ 37 h 71"/>
              <a:gd name="T62" fmla="*/ 0 w 325"/>
              <a:gd name="T63" fmla="*/ 22 h 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25" h="71">
                <a:moveTo>
                  <a:pt x="0" y="12"/>
                </a:moveTo>
                <a:lnTo>
                  <a:pt x="10" y="7"/>
                </a:lnTo>
                <a:lnTo>
                  <a:pt x="20" y="3"/>
                </a:lnTo>
                <a:lnTo>
                  <a:pt x="31" y="1"/>
                </a:lnTo>
                <a:lnTo>
                  <a:pt x="42" y="0"/>
                </a:lnTo>
                <a:lnTo>
                  <a:pt x="53" y="0"/>
                </a:lnTo>
                <a:lnTo>
                  <a:pt x="62" y="2"/>
                </a:lnTo>
                <a:lnTo>
                  <a:pt x="73" y="4"/>
                </a:lnTo>
                <a:lnTo>
                  <a:pt x="83" y="6"/>
                </a:lnTo>
                <a:lnTo>
                  <a:pt x="92" y="10"/>
                </a:lnTo>
                <a:lnTo>
                  <a:pt x="101" y="14"/>
                </a:lnTo>
                <a:lnTo>
                  <a:pt x="110" y="18"/>
                </a:lnTo>
                <a:lnTo>
                  <a:pt x="116" y="23"/>
                </a:lnTo>
                <a:lnTo>
                  <a:pt x="122" y="29"/>
                </a:lnTo>
                <a:lnTo>
                  <a:pt x="127" y="33"/>
                </a:lnTo>
                <a:lnTo>
                  <a:pt x="130" y="38"/>
                </a:lnTo>
                <a:lnTo>
                  <a:pt x="133" y="43"/>
                </a:lnTo>
                <a:lnTo>
                  <a:pt x="136" y="34"/>
                </a:lnTo>
                <a:lnTo>
                  <a:pt x="138" y="25"/>
                </a:lnTo>
                <a:lnTo>
                  <a:pt x="139" y="15"/>
                </a:lnTo>
                <a:lnTo>
                  <a:pt x="139" y="6"/>
                </a:lnTo>
                <a:lnTo>
                  <a:pt x="161" y="7"/>
                </a:lnTo>
                <a:lnTo>
                  <a:pt x="188" y="9"/>
                </a:lnTo>
                <a:lnTo>
                  <a:pt x="216" y="13"/>
                </a:lnTo>
                <a:lnTo>
                  <a:pt x="245" y="19"/>
                </a:lnTo>
                <a:lnTo>
                  <a:pt x="258" y="23"/>
                </a:lnTo>
                <a:lnTo>
                  <a:pt x="271" y="28"/>
                </a:lnTo>
                <a:lnTo>
                  <a:pt x="283" y="32"/>
                </a:lnTo>
                <a:lnTo>
                  <a:pt x="295" y="37"/>
                </a:lnTo>
                <a:lnTo>
                  <a:pt x="305" y="43"/>
                </a:lnTo>
                <a:lnTo>
                  <a:pt x="314" y="48"/>
                </a:lnTo>
                <a:lnTo>
                  <a:pt x="320" y="55"/>
                </a:lnTo>
                <a:lnTo>
                  <a:pt x="325" y="61"/>
                </a:lnTo>
                <a:lnTo>
                  <a:pt x="316" y="64"/>
                </a:lnTo>
                <a:lnTo>
                  <a:pt x="305" y="67"/>
                </a:lnTo>
                <a:lnTo>
                  <a:pt x="294" y="68"/>
                </a:lnTo>
                <a:lnTo>
                  <a:pt x="283" y="70"/>
                </a:lnTo>
                <a:lnTo>
                  <a:pt x="259" y="71"/>
                </a:lnTo>
                <a:lnTo>
                  <a:pt x="234" y="71"/>
                </a:lnTo>
                <a:lnTo>
                  <a:pt x="210" y="70"/>
                </a:lnTo>
                <a:lnTo>
                  <a:pt x="186" y="69"/>
                </a:lnTo>
                <a:lnTo>
                  <a:pt x="167" y="68"/>
                </a:lnTo>
                <a:lnTo>
                  <a:pt x="152" y="67"/>
                </a:lnTo>
                <a:lnTo>
                  <a:pt x="133" y="69"/>
                </a:lnTo>
                <a:lnTo>
                  <a:pt x="104" y="71"/>
                </a:lnTo>
                <a:lnTo>
                  <a:pt x="90" y="71"/>
                </a:lnTo>
                <a:lnTo>
                  <a:pt x="78" y="70"/>
                </a:lnTo>
                <a:lnTo>
                  <a:pt x="72" y="68"/>
                </a:lnTo>
                <a:lnTo>
                  <a:pt x="69" y="67"/>
                </a:lnTo>
                <a:lnTo>
                  <a:pt x="67" y="64"/>
                </a:lnTo>
                <a:lnTo>
                  <a:pt x="66" y="61"/>
                </a:lnTo>
                <a:lnTo>
                  <a:pt x="58" y="61"/>
                </a:lnTo>
                <a:lnTo>
                  <a:pt x="51" y="60"/>
                </a:lnTo>
                <a:lnTo>
                  <a:pt x="46" y="59"/>
                </a:lnTo>
                <a:lnTo>
                  <a:pt x="42" y="57"/>
                </a:lnTo>
                <a:lnTo>
                  <a:pt x="35" y="53"/>
                </a:lnTo>
                <a:lnTo>
                  <a:pt x="31" y="49"/>
                </a:lnTo>
                <a:lnTo>
                  <a:pt x="25" y="45"/>
                </a:lnTo>
                <a:lnTo>
                  <a:pt x="20" y="41"/>
                </a:lnTo>
                <a:lnTo>
                  <a:pt x="16" y="39"/>
                </a:lnTo>
                <a:lnTo>
                  <a:pt x="12" y="38"/>
                </a:lnTo>
                <a:lnTo>
                  <a:pt x="6" y="37"/>
                </a:lnTo>
                <a:lnTo>
                  <a:pt x="0" y="37"/>
                </a:lnTo>
                <a:lnTo>
                  <a:pt x="0" y="22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49" name="Freeform 501"/>
          <p:cNvSpPr>
            <a:spLocks/>
          </p:cNvSpPr>
          <p:nvPr>
            <p:custDataLst>
              <p:tags r:id="rId339"/>
            </p:custDataLst>
          </p:nvPr>
        </p:nvSpPr>
        <p:spPr bwMode="auto">
          <a:xfrm>
            <a:off x="8088313" y="1341438"/>
            <a:ext cx="95250" cy="57150"/>
          </a:xfrm>
          <a:custGeom>
            <a:avLst/>
            <a:gdLst>
              <a:gd name="T0" fmla="*/ 87 w 220"/>
              <a:gd name="T1" fmla="*/ 25 h 72"/>
              <a:gd name="T2" fmla="*/ 92 w 220"/>
              <a:gd name="T3" fmla="*/ 26 h 72"/>
              <a:gd name="T4" fmla="*/ 98 w 220"/>
              <a:gd name="T5" fmla="*/ 27 h 72"/>
              <a:gd name="T6" fmla="*/ 101 w 220"/>
              <a:gd name="T7" fmla="*/ 28 h 72"/>
              <a:gd name="T8" fmla="*/ 104 w 220"/>
              <a:gd name="T9" fmla="*/ 27 h 72"/>
              <a:gd name="T10" fmla="*/ 109 w 220"/>
              <a:gd name="T11" fmla="*/ 27 h 72"/>
              <a:gd name="T12" fmla="*/ 113 w 220"/>
              <a:gd name="T13" fmla="*/ 25 h 72"/>
              <a:gd name="T14" fmla="*/ 114 w 220"/>
              <a:gd name="T15" fmla="*/ 26 h 72"/>
              <a:gd name="T16" fmla="*/ 115 w 220"/>
              <a:gd name="T17" fmla="*/ 26 h 72"/>
              <a:gd name="T18" fmla="*/ 116 w 220"/>
              <a:gd name="T19" fmla="*/ 25 h 72"/>
              <a:gd name="T20" fmla="*/ 117 w 220"/>
              <a:gd name="T21" fmla="*/ 25 h 72"/>
              <a:gd name="T22" fmla="*/ 119 w 220"/>
              <a:gd name="T23" fmla="*/ 22 h 72"/>
              <a:gd name="T24" fmla="*/ 120 w 220"/>
              <a:gd name="T25" fmla="*/ 17 h 72"/>
              <a:gd name="T26" fmla="*/ 120 w 220"/>
              <a:gd name="T27" fmla="*/ 7 h 72"/>
              <a:gd name="T28" fmla="*/ 120 w 220"/>
              <a:gd name="T29" fmla="*/ 0 h 72"/>
              <a:gd name="T30" fmla="*/ 125 w 220"/>
              <a:gd name="T31" fmla="*/ 5 h 72"/>
              <a:gd name="T32" fmla="*/ 131 w 220"/>
              <a:gd name="T33" fmla="*/ 10 h 72"/>
              <a:gd name="T34" fmla="*/ 137 w 220"/>
              <a:gd name="T35" fmla="*/ 15 h 72"/>
              <a:gd name="T36" fmla="*/ 143 w 220"/>
              <a:gd name="T37" fmla="*/ 19 h 72"/>
              <a:gd name="T38" fmla="*/ 156 w 220"/>
              <a:gd name="T39" fmla="*/ 25 h 72"/>
              <a:gd name="T40" fmla="*/ 170 w 220"/>
              <a:gd name="T41" fmla="*/ 30 h 72"/>
              <a:gd name="T42" fmla="*/ 183 w 220"/>
              <a:gd name="T43" fmla="*/ 35 h 72"/>
              <a:gd name="T44" fmla="*/ 196 w 220"/>
              <a:gd name="T45" fmla="*/ 41 h 72"/>
              <a:gd name="T46" fmla="*/ 203 w 220"/>
              <a:gd name="T47" fmla="*/ 44 h 72"/>
              <a:gd name="T48" fmla="*/ 209 w 220"/>
              <a:gd name="T49" fmla="*/ 47 h 72"/>
              <a:gd name="T50" fmla="*/ 214 w 220"/>
              <a:gd name="T51" fmla="*/ 51 h 72"/>
              <a:gd name="T52" fmla="*/ 220 w 220"/>
              <a:gd name="T53" fmla="*/ 55 h 72"/>
              <a:gd name="T54" fmla="*/ 206 w 220"/>
              <a:gd name="T55" fmla="*/ 56 h 72"/>
              <a:gd name="T56" fmla="*/ 194 w 220"/>
              <a:gd name="T57" fmla="*/ 57 h 72"/>
              <a:gd name="T58" fmla="*/ 182 w 220"/>
              <a:gd name="T59" fmla="*/ 58 h 72"/>
              <a:gd name="T60" fmla="*/ 171 w 220"/>
              <a:gd name="T61" fmla="*/ 60 h 72"/>
              <a:gd name="T62" fmla="*/ 151 w 220"/>
              <a:gd name="T63" fmla="*/ 65 h 72"/>
              <a:gd name="T64" fmla="*/ 134 w 220"/>
              <a:gd name="T65" fmla="*/ 70 h 72"/>
              <a:gd name="T66" fmla="*/ 126 w 220"/>
              <a:gd name="T67" fmla="*/ 71 h 72"/>
              <a:gd name="T68" fmla="*/ 117 w 220"/>
              <a:gd name="T69" fmla="*/ 72 h 72"/>
              <a:gd name="T70" fmla="*/ 110 w 220"/>
              <a:gd name="T71" fmla="*/ 72 h 72"/>
              <a:gd name="T72" fmla="*/ 103 w 220"/>
              <a:gd name="T73" fmla="*/ 72 h 72"/>
              <a:gd name="T74" fmla="*/ 95 w 220"/>
              <a:gd name="T75" fmla="*/ 70 h 72"/>
              <a:gd name="T76" fmla="*/ 88 w 220"/>
              <a:gd name="T77" fmla="*/ 66 h 72"/>
              <a:gd name="T78" fmla="*/ 81 w 220"/>
              <a:gd name="T79" fmla="*/ 61 h 72"/>
              <a:gd name="T80" fmla="*/ 74 w 220"/>
              <a:gd name="T81" fmla="*/ 55 h 72"/>
              <a:gd name="T82" fmla="*/ 59 w 220"/>
              <a:gd name="T83" fmla="*/ 53 h 72"/>
              <a:gd name="T84" fmla="*/ 45 w 220"/>
              <a:gd name="T85" fmla="*/ 50 h 72"/>
              <a:gd name="T86" fmla="*/ 33 w 220"/>
              <a:gd name="T87" fmla="*/ 47 h 72"/>
              <a:gd name="T88" fmla="*/ 22 w 220"/>
              <a:gd name="T89" fmla="*/ 43 h 72"/>
              <a:gd name="T90" fmla="*/ 18 w 220"/>
              <a:gd name="T91" fmla="*/ 41 h 72"/>
              <a:gd name="T92" fmla="*/ 13 w 220"/>
              <a:gd name="T93" fmla="*/ 38 h 72"/>
              <a:gd name="T94" fmla="*/ 9 w 220"/>
              <a:gd name="T95" fmla="*/ 35 h 72"/>
              <a:gd name="T96" fmla="*/ 7 w 220"/>
              <a:gd name="T97" fmla="*/ 31 h 72"/>
              <a:gd name="T98" fmla="*/ 3 w 220"/>
              <a:gd name="T99" fmla="*/ 27 h 72"/>
              <a:gd name="T100" fmla="*/ 2 w 220"/>
              <a:gd name="T101" fmla="*/ 23 h 72"/>
              <a:gd name="T102" fmla="*/ 1 w 220"/>
              <a:gd name="T103" fmla="*/ 18 h 72"/>
              <a:gd name="T104" fmla="*/ 0 w 220"/>
              <a:gd name="T105" fmla="*/ 13 h 72"/>
              <a:gd name="T106" fmla="*/ 23 w 220"/>
              <a:gd name="T107" fmla="*/ 17 h 72"/>
              <a:gd name="T108" fmla="*/ 44 w 220"/>
              <a:gd name="T109" fmla="*/ 21 h 72"/>
              <a:gd name="T110" fmla="*/ 64 w 220"/>
              <a:gd name="T111" fmla="*/ 24 h 72"/>
              <a:gd name="T112" fmla="*/ 87 w 220"/>
              <a:gd name="T113" fmla="*/ 25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20" h="72">
                <a:moveTo>
                  <a:pt x="87" y="25"/>
                </a:moveTo>
                <a:lnTo>
                  <a:pt x="92" y="26"/>
                </a:lnTo>
                <a:lnTo>
                  <a:pt x="98" y="27"/>
                </a:lnTo>
                <a:lnTo>
                  <a:pt x="101" y="28"/>
                </a:lnTo>
                <a:lnTo>
                  <a:pt x="104" y="27"/>
                </a:lnTo>
                <a:lnTo>
                  <a:pt x="109" y="27"/>
                </a:lnTo>
                <a:lnTo>
                  <a:pt x="113" y="25"/>
                </a:lnTo>
                <a:lnTo>
                  <a:pt x="114" y="26"/>
                </a:lnTo>
                <a:lnTo>
                  <a:pt x="115" y="26"/>
                </a:lnTo>
                <a:lnTo>
                  <a:pt x="116" y="25"/>
                </a:lnTo>
                <a:lnTo>
                  <a:pt x="117" y="25"/>
                </a:lnTo>
                <a:lnTo>
                  <a:pt x="119" y="22"/>
                </a:lnTo>
                <a:lnTo>
                  <a:pt x="120" y="17"/>
                </a:lnTo>
                <a:lnTo>
                  <a:pt x="120" y="7"/>
                </a:lnTo>
                <a:lnTo>
                  <a:pt x="120" y="0"/>
                </a:lnTo>
                <a:lnTo>
                  <a:pt x="125" y="5"/>
                </a:lnTo>
                <a:lnTo>
                  <a:pt x="131" y="10"/>
                </a:lnTo>
                <a:lnTo>
                  <a:pt x="137" y="15"/>
                </a:lnTo>
                <a:lnTo>
                  <a:pt x="143" y="19"/>
                </a:lnTo>
                <a:lnTo>
                  <a:pt x="156" y="25"/>
                </a:lnTo>
                <a:lnTo>
                  <a:pt x="170" y="30"/>
                </a:lnTo>
                <a:lnTo>
                  <a:pt x="183" y="35"/>
                </a:lnTo>
                <a:lnTo>
                  <a:pt x="196" y="41"/>
                </a:lnTo>
                <a:lnTo>
                  <a:pt x="203" y="44"/>
                </a:lnTo>
                <a:lnTo>
                  <a:pt x="209" y="47"/>
                </a:lnTo>
                <a:lnTo>
                  <a:pt x="214" y="51"/>
                </a:lnTo>
                <a:lnTo>
                  <a:pt x="220" y="55"/>
                </a:lnTo>
                <a:lnTo>
                  <a:pt x="206" y="56"/>
                </a:lnTo>
                <a:lnTo>
                  <a:pt x="194" y="57"/>
                </a:lnTo>
                <a:lnTo>
                  <a:pt x="182" y="58"/>
                </a:lnTo>
                <a:lnTo>
                  <a:pt x="171" y="60"/>
                </a:lnTo>
                <a:lnTo>
                  <a:pt x="151" y="65"/>
                </a:lnTo>
                <a:lnTo>
                  <a:pt x="134" y="70"/>
                </a:lnTo>
                <a:lnTo>
                  <a:pt x="126" y="71"/>
                </a:lnTo>
                <a:lnTo>
                  <a:pt x="117" y="72"/>
                </a:lnTo>
                <a:lnTo>
                  <a:pt x="110" y="72"/>
                </a:lnTo>
                <a:lnTo>
                  <a:pt x="103" y="72"/>
                </a:lnTo>
                <a:lnTo>
                  <a:pt x="95" y="70"/>
                </a:lnTo>
                <a:lnTo>
                  <a:pt x="88" y="66"/>
                </a:lnTo>
                <a:lnTo>
                  <a:pt x="81" y="61"/>
                </a:lnTo>
                <a:lnTo>
                  <a:pt x="74" y="55"/>
                </a:lnTo>
                <a:lnTo>
                  <a:pt x="59" y="53"/>
                </a:lnTo>
                <a:lnTo>
                  <a:pt x="45" y="50"/>
                </a:lnTo>
                <a:lnTo>
                  <a:pt x="33" y="47"/>
                </a:lnTo>
                <a:lnTo>
                  <a:pt x="22" y="43"/>
                </a:lnTo>
                <a:lnTo>
                  <a:pt x="18" y="41"/>
                </a:lnTo>
                <a:lnTo>
                  <a:pt x="13" y="38"/>
                </a:lnTo>
                <a:lnTo>
                  <a:pt x="9" y="35"/>
                </a:lnTo>
                <a:lnTo>
                  <a:pt x="7" y="31"/>
                </a:lnTo>
                <a:lnTo>
                  <a:pt x="3" y="27"/>
                </a:lnTo>
                <a:lnTo>
                  <a:pt x="2" y="23"/>
                </a:lnTo>
                <a:lnTo>
                  <a:pt x="1" y="18"/>
                </a:lnTo>
                <a:lnTo>
                  <a:pt x="0" y="13"/>
                </a:lnTo>
                <a:lnTo>
                  <a:pt x="23" y="17"/>
                </a:lnTo>
                <a:lnTo>
                  <a:pt x="44" y="21"/>
                </a:lnTo>
                <a:lnTo>
                  <a:pt x="64" y="24"/>
                </a:lnTo>
                <a:lnTo>
                  <a:pt x="87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50" name="Freeform 502"/>
          <p:cNvSpPr>
            <a:spLocks/>
          </p:cNvSpPr>
          <p:nvPr>
            <p:custDataLst>
              <p:tags r:id="rId340"/>
            </p:custDataLst>
          </p:nvPr>
        </p:nvSpPr>
        <p:spPr bwMode="auto">
          <a:xfrm>
            <a:off x="8048625" y="1389064"/>
            <a:ext cx="63500" cy="58737"/>
          </a:xfrm>
          <a:custGeom>
            <a:avLst/>
            <a:gdLst>
              <a:gd name="T0" fmla="*/ 146 w 146"/>
              <a:gd name="T1" fmla="*/ 25 h 30"/>
              <a:gd name="T2" fmla="*/ 140 w 146"/>
              <a:gd name="T3" fmla="*/ 16 h 30"/>
              <a:gd name="T4" fmla="*/ 137 w 146"/>
              <a:gd name="T5" fmla="*/ 9 h 30"/>
              <a:gd name="T6" fmla="*/ 133 w 146"/>
              <a:gd name="T7" fmla="*/ 4 h 30"/>
              <a:gd name="T8" fmla="*/ 128 w 146"/>
              <a:gd name="T9" fmla="*/ 1 h 30"/>
              <a:gd name="T10" fmla="*/ 126 w 146"/>
              <a:gd name="T11" fmla="*/ 1 h 30"/>
              <a:gd name="T12" fmla="*/ 124 w 146"/>
              <a:gd name="T13" fmla="*/ 1 h 30"/>
              <a:gd name="T14" fmla="*/ 120 w 146"/>
              <a:gd name="T15" fmla="*/ 2 h 30"/>
              <a:gd name="T16" fmla="*/ 118 w 146"/>
              <a:gd name="T17" fmla="*/ 3 h 30"/>
              <a:gd name="T18" fmla="*/ 113 w 146"/>
              <a:gd name="T19" fmla="*/ 9 h 30"/>
              <a:gd name="T20" fmla="*/ 105 w 146"/>
              <a:gd name="T21" fmla="*/ 19 h 30"/>
              <a:gd name="T22" fmla="*/ 72 w 146"/>
              <a:gd name="T23" fmla="*/ 19 h 30"/>
              <a:gd name="T24" fmla="*/ 63 w 146"/>
              <a:gd name="T25" fmla="*/ 18 h 30"/>
              <a:gd name="T26" fmla="*/ 55 w 146"/>
              <a:gd name="T27" fmla="*/ 17 h 30"/>
              <a:gd name="T28" fmla="*/ 47 w 146"/>
              <a:gd name="T29" fmla="*/ 14 h 30"/>
              <a:gd name="T30" fmla="*/ 40 w 146"/>
              <a:gd name="T31" fmla="*/ 12 h 30"/>
              <a:gd name="T32" fmla="*/ 29 w 146"/>
              <a:gd name="T33" fmla="*/ 6 h 30"/>
              <a:gd name="T34" fmla="*/ 19 w 146"/>
              <a:gd name="T35" fmla="*/ 0 h 30"/>
              <a:gd name="T36" fmla="*/ 14 w 146"/>
              <a:gd name="T37" fmla="*/ 9 h 30"/>
              <a:gd name="T38" fmla="*/ 10 w 146"/>
              <a:gd name="T39" fmla="*/ 15 h 30"/>
              <a:gd name="T40" fmla="*/ 4 w 146"/>
              <a:gd name="T41" fmla="*/ 20 h 30"/>
              <a:gd name="T42" fmla="*/ 0 w 146"/>
              <a:gd name="T43" fmla="*/ 25 h 30"/>
              <a:gd name="T44" fmla="*/ 33 w 146"/>
              <a:gd name="T45" fmla="*/ 25 h 30"/>
              <a:gd name="T46" fmla="*/ 57 w 146"/>
              <a:gd name="T47" fmla="*/ 25 h 30"/>
              <a:gd name="T48" fmla="*/ 77 w 146"/>
              <a:gd name="T49" fmla="*/ 25 h 30"/>
              <a:gd name="T50" fmla="*/ 99 w 146"/>
              <a:gd name="T51" fmla="*/ 25 h 30"/>
              <a:gd name="T52" fmla="*/ 110 w 146"/>
              <a:gd name="T53" fmla="*/ 26 h 30"/>
              <a:gd name="T54" fmla="*/ 123 w 146"/>
              <a:gd name="T55" fmla="*/ 29 h 30"/>
              <a:gd name="T56" fmla="*/ 128 w 146"/>
              <a:gd name="T57" fmla="*/ 30 h 30"/>
              <a:gd name="T58" fmla="*/ 135 w 146"/>
              <a:gd name="T59" fmla="*/ 30 h 30"/>
              <a:gd name="T60" fmla="*/ 140 w 146"/>
              <a:gd name="T61" fmla="*/ 28 h 30"/>
              <a:gd name="T62" fmla="*/ 146 w 146"/>
              <a:gd name="T63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46" h="30">
                <a:moveTo>
                  <a:pt x="146" y="25"/>
                </a:moveTo>
                <a:lnTo>
                  <a:pt x="140" y="16"/>
                </a:lnTo>
                <a:lnTo>
                  <a:pt x="137" y="9"/>
                </a:lnTo>
                <a:lnTo>
                  <a:pt x="133" y="4"/>
                </a:lnTo>
                <a:lnTo>
                  <a:pt x="128" y="1"/>
                </a:lnTo>
                <a:lnTo>
                  <a:pt x="126" y="1"/>
                </a:lnTo>
                <a:lnTo>
                  <a:pt x="124" y="1"/>
                </a:lnTo>
                <a:lnTo>
                  <a:pt x="120" y="2"/>
                </a:lnTo>
                <a:lnTo>
                  <a:pt x="118" y="3"/>
                </a:lnTo>
                <a:lnTo>
                  <a:pt x="113" y="9"/>
                </a:lnTo>
                <a:lnTo>
                  <a:pt x="105" y="19"/>
                </a:lnTo>
                <a:lnTo>
                  <a:pt x="72" y="19"/>
                </a:lnTo>
                <a:lnTo>
                  <a:pt x="63" y="18"/>
                </a:lnTo>
                <a:lnTo>
                  <a:pt x="55" y="17"/>
                </a:lnTo>
                <a:lnTo>
                  <a:pt x="47" y="14"/>
                </a:lnTo>
                <a:lnTo>
                  <a:pt x="40" y="12"/>
                </a:lnTo>
                <a:lnTo>
                  <a:pt x="29" y="6"/>
                </a:lnTo>
                <a:lnTo>
                  <a:pt x="19" y="0"/>
                </a:lnTo>
                <a:lnTo>
                  <a:pt x="14" y="9"/>
                </a:lnTo>
                <a:lnTo>
                  <a:pt x="10" y="15"/>
                </a:lnTo>
                <a:lnTo>
                  <a:pt x="4" y="20"/>
                </a:lnTo>
                <a:lnTo>
                  <a:pt x="0" y="25"/>
                </a:lnTo>
                <a:lnTo>
                  <a:pt x="33" y="25"/>
                </a:lnTo>
                <a:lnTo>
                  <a:pt x="57" y="25"/>
                </a:lnTo>
                <a:lnTo>
                  <a:pt x="77" y="25"/>
                </a:lnTo>
                <a:lnTo>
                  <a:pt x="99" y="25"/>
                </a:lnTo>
                <a:lnTo>
                  <a:pt x="110" y="26"/>
                </a:lnTo>
                <a:lnTo>
                  <a:pt x="123" y="29"/>
                </a:lnTo>
                <a:lnTo>
                  <a:pt x="128" y="30"/>
                </a:lnTo>
                <a:lnTo>
                  <a:pt x="135" y="30"/>
                </a:lnTo>
                <a:lnTo>
                  <a:pt x="140" y="28"/>
                </a:lnTo>
                <a:lnTo>
                  <a:pt x="146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51" name="Freeform 503"/>
          <p:cNvSpPr>
            <a:spLocks/>
          </p:cNvSpPr>
          <p:nvPr>
            <p:custDataLst>
              <p:tags r:id="rId341"/>
            </p:custDataLst>
          </p:nvPr>
        </p:nvSpPr>
        <p:spPr bwMode="auto">
          <a:xfrm>
            <a:off x="8027989" y="1385889"/>
            <a:ext cx="20637" cy="58737"/>
          </a:xfrm>
          <a:custGeom>
            <a:avLst/>
            <a:gdLst>
              <a:gd name="T0" fmla="*/ 0 w 53"/>
              <a:gd name="T1" fmla="*/ 9 h 9"/>
              <a:gd name="T2" fmla="*/ 17 w 53"/>
              <a:gd name="T3" fmla="*/ 9 h 9"/>
              <a:gd name="T4" fmla="*/ 29 w 53"/>
              <a:gd name="T5" fmla="*/ 9 h 9"/>
              <a:gd name="T6" fmla="*/ 40 w 53"/>
              <a:gd name="T7" fmla="*/ 9 h 9"/>
              <a:gd name="T8" fmla="*/ 53 w 53"/>
              <a:gd name="T9" fmla="*/ 9 h 9"/>
              <a:gd name="T10" fmla="*/ 46 w 53"/>
              <a:gd name="T11" fmla="*/ 6 h 9"/>
              <a:gd name="T12" fmla="*/ 38 w 53"/>
              <a:gd name="T13" fmla="*/ 3 h 9"/>
              <a:gd name="T14" fmla="*/ 31 w 53"/>
              <a:gd name="T15" fmla="*/ 1 h 9"/>
              <a:gd name="T16" fmla="*/ 25 w 53"/>
              <a:gd name="T17" fmla="*/ 0 h 9"/>
              <a:gd name="T18" fmla="*/ 19 w 53"/>
              <a:gd name="T19" fmla="*/ 0 h 9"/>
              <a:gd name="T20" fmla="*/ 14 w 53"/>
              <a:gd name="T21" fmla="*/ 0 h 9"/>
              <a:gd name="T22" fmla="*/ 9 w 53"/>
              <a:gd name="T23" fmla="*/ 1 h 9"/>
              <a:gd name="T24" fmla="*/ 6 w 53"/>
              <a:gd name="T25" fmla="*/ 3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3" h="9">
                <a:moveTo>
                  <a:pt x="0" y="9"/>
                </a:moveTo>
                <a:lnTo>
                  <a:pt x="17" y="9"/>
                </a:lnTo>
                <a:lnTo>
                  <a:pt x="29" y="9"/>
                </a:lnTo>
                <a:lnTo>
                  <a:pt x="40" y="9"/>
                </a:lnTo>
                <a:lnTo>
                  <a:pt x="53" y="9"/>
                </a:lnTo>
                <a:lnTo>
                  <a:pt x="46" y="6"/>
                </a:lnTo>
                <a:lnTo>
                  <a:pt x="38" y="3"/>
                </a:lnTo>
                <a:lnTo>
                  <a:pt x="31" y="1"/>
                </a:lnTo>
                <a:lnTo>
                  <a:pt x="25" y="0"/>
                </a:lnTo>
                <a:lnTo>
                  <a:pt x="19" y="0"/>
                </a:lnTo>
                <a:lnTo>
                  <a:pt x="14" y="0"/>
                </a:lnTo>
                <a:lnTo>
                  <a:pt x="9" y="1"/>
                </a:lnTo>
                <a:lnTo>
                  <a:pt x="6" y="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52" name="Line 504"/>
          <p:cNvSpPr>
            <a:spLocks noChangeShapeType="1"/>
          </p:cNvSpPr>
          <p:nvPr>
            <p:custDataLst>
              <p:tags r:id="rId342"/>
            </p:custDataLst>
          </p:nvPr>
        </p:nvSpPr>
        <p:spPr bwMode="auto">
          <a:xfrm flipV="1">
            <a:off x="8029575" y="1384300"/>
            <a:ext cx="0" cy="1588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53" name="Freeform 505"/>
          <p:cNvSpPr>
            <a:spLocks/>
          </p:cNvSpPr>
          <p:nvPr>
            <p:custDataLst>
              <p:tags r:id="rId343"/>
            </p:custDataLst>
          </p:nvPr>
        </p:nvSpPr>
        <p:spPr bwMode="auto">
          <a:xfrm>
            <a:off x="7199313" y="1312863"/>
            <a:ext cx="11112" cy="55562"/>
          </a:xfrm>
          <a:custGeom>
            <a:avLst/>
            <a:gdLst>
              <a:gd name="T0" fmla="*/ 0 w 26"/>
              <a:gd name="T1" fmla="*/ 25 h 25"/>
              <a:gd name="T2" fmla="*/ 5 w 26"/>
              <a:gd name="T3" fmla="*/ 17 h 25"/>
              <a:gd name="T4" fmla="*/ 13 w 26"/>
              <a:gd name="T5" fmla="*/ 8 h 25"/>
              <a:gd name="T6" fmla="*/ 16 w 26"/>
              <a:gd name="T7" fmla="*/ 5 h 25"/>
              <a:gd name="T8" fmla="*/ 20 w 26"/>
              <a:gd name="T9" fmla="*/ 2 h 25"/>
              <a:gd name="T10" fmla="*/ 23 w 26"/>
              <a:gd name="T11" fmla="*/ 1 h 25"/>
              <a:gd name="T12" fmla="*/ 26 w 26"/>
              <a:gd name="T13" fmla="*/ 0 h 25"/>
              <a:gd name="T14" fmla="*/ 26 w 26"/>
              <a:gd name="T15" fmla="*/ 25 h 25"/>
              <a:gd name="T16" fmla="*/ 20 w 26"/>
              <a:gd name="T17" fmla="*/ 25 h 25"/>
              <a:gd name="T18" fmla="*/ 13 w 26"/>
              <a:gd name="T19" fmla="*/ 25 h 25"/>
              <a:gd name="T20" fmla="*/ 0 w 26"/>
              <a:gd name="T21" fmla="*/ 25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6" h="25">
                <a:moveTo>
                  <a:pt x="0" y="25"/>
                </a:moveTo>
                <a:lnTo>
                  <a:pt x="5" y="17"/>
                </a:lnTo>
                <a:lnTo>
                  <a:pt x="13" y="8"/>
                </a:lnTo>
                <a:lnTo>
                  <a:pt x="16" y="5"/>
                </a:lnTo>
                <a:lnTo>
                  <a:pt x="20" y="2"/>
                </a:lnTo>
                <a:lnTo>
                  <a:pt x="23" y="1"/>
                </a:lnTo>
                <a:lnTo>
                  <a:pt x="26" y="0"/>
                </a:lnTo>
                <a:lnTo>
                  <a:pt x="26" y="25"/>
                </a:lnTo>
                <a:lnTo>
                  <a:pt x="20" y="25"/>
                </a:lnTo>
                <a:lnTo>
                  <a:pt x="13" y="25"/>
                </a:lnTo>
                <a:lnTo>
                  <a:pt x="0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54" name="Freeform 506"/>
          <p:cNvSpPr>
            <a:spLocks/>
          </p:cNvSpPr>
          <p:nvPr>
            <p:custDataLst>
              <p:tags r:id="rId344"/>
            </p:custDataLst>
          </p:nvPr>
        </p:nvSpPr>
        <p:spPr bwMode="auto">
          <a:xfrm>
            <a:off x="7948614" y="1384300"/>
            <a:ext cx="9525" cy="57150"/>
          </a:xfrm>
          <a:custGeom>
            <a:avLst/>
            <a:gdLst>
              <a:gd name="T0" fmla="*/ 33 w 33"/>
              <a:gd name="T1" fmla="*/ 25 h 25"/>
              <a:gd name="T2" fmla="*/ 33 w 33"/>
              <a:gd name="T3" fmla="*/ 12 h 25"/>
              <a:gd name="T4" fmla="*/ 33 w 33"/>
              <a:gd name="T5" fmla="*/ 0 h 25"/>
              <a:gd name="T6" fmla="*/ 0 w 33"/>
              <a:gd name="T7" fmla="*/ 0 h 25"/>
              <a:gd name="T8" fmla="*/ 9 w 33"/>
              <a:gd name="T9" fmla="*/ 9 h 25"/>
              <a:gd name="T10" fmla="*/ 16 w 33"/>
              <a:gd name="T11" fmla="*/ 17 h 25"/>
              <a:gd name="T12" fmla="*/ 20 w 33"/>
              <a:gd name="T13" fmla="*/ 20 h 25"/>
              <a:gd name="T14" fmla="*/ 24 w 33"/>
              <a:gd name="T15" fmla="*/ 23 h 25"/>
              <a:gd name="T16" fmla="*/ 28 w 33"/>
              <a:gd name="T17" fmla="*/ 24 h 25"/>
              <a:gd name="T18" fmla="*/ 33 w 33"/>
              <a:gd name="T19" fmla="*/ 25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3" h="25">
                <a:moveTo>
                  <a:pt x="33" y="25"/>
                </a:moveTo>
                <a:lnTo>
                  <a:pt x="33" y="12"/>
                </a:lnTo>
                <a:lnTo>
                  <a:pt x="33" y="0"/>
                </a:lnTo>
                <a:lnTo>
                  <a:pt x="0" y="0"/>
                </a:lnTo>
                <a:lnTo>
                  <a:pt x="9" y="9"/>
                </a:lnTo>
                <a:lnTo>
                  <a:pt x="16" y="17"/>
                </a:lnTo>
                <a:lnTo>
                  <a:pt x="20" y="20"/>
                </a:lnTo>
                <a:lnTo>
                  <a:pt x="24" y="23"/>
                </a:lnTo>
                <a:lnTo>
                  <a:pt x="28" y="24"/>
                </a:lnTo>
                <a:lnTo>
                  <a:pt x="33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55" name="Freeform 507"/>
          <p:cNvSpPr>
            <a:spLocks/>
          </p:cNvSpPr>
          <p:nvPr>
            <p:custDataLst>
              <p:tags r:id="rId345"/>
            </p:custDataLst>
          </p:nvPr>
        </p:nvSpPr>
        <p:spPr bwMode="auto">
          <a:xfrm>
            <a:off x="7902576" y="1347788"/>
            <a:ext cx="9525" cy="57150"/>
          </a:xfrm>
          <a:custGeom>
            <a:avLst/>
            <a:gdLst>
              <a:gd name="T0" fmla="*/ 0 w 20"/>
              <a:gd name="T1" fmla="*/ 0 h 18"/>
              <a:gd name="T2" fmla="*/ 13 w 20"/>
              <a:gd name="T3" fmla="*/ 18 h 18"/>
              <a:gd name="T4" fmla="*/ 16 w 20"/>
              <a:gd name="T5" fmla="*/ 11 h 18"/>
              <a:gd name="T6" fmla="*/ 20 w 20"/>
              <a:gd name="T7" fmla="*/ 0 h 18"/>
              <a:gd name="T8" fmla="*/ 0 w 20"/>
              <a:gd name="T9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" h="18">
                <a:moveTo>
                  <a:pt x="0" y="0"/>
                </a:moveTo>
                <a:lnTo>
                  <a:pt x="13" y="18"/>
                </a:lnTo>
                <a:lnTo>
                  <a:pt x="16" y="11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56" name="Freeform 508"/>
          <p:cNvSpPr>
            <a:spLocks/>
          </p:cNvSpPr>
          <p:nvPr>
            <p:custDataLst>
              <p:tags r:id="rId346"/>
            </p:custDataLst>
          </p:nvPr>
        </p:nvSpPr>
        <p:spPr bwMode="auto">
          <a:xfrm>
            <a:off x="8402638" y="1917700"/>
            <a:ext cx="12700" cy="58738"/>
          </a:xfrm>
          <a:custGeom>
            <a:avLst/>
            <a:gdLst>
              <a:gd name="T0" fmla="*/ 0 w 33"/>
              <a:gd name="T1" fmla="*/ 31 h 31"/>
              <a:gd name="T2" fmla="*/ 0 w 33"/>
              <a:gd name="T3" fmla="*/ 0 h 31"/>
              <a:gd name="T4" fmla="*/ 9 w 33"/>
              <a:gd name="T5" fmla="*/ 0 h 31"/>
              <a:gd name="T6" fmla="*/ 16 w 33"/>
              <a:gd name="T7" fmla="*/ 0 h 31"/>
              <a:gd name="T8" fmla="*/ 24 w 33"/>
              <a:gd name="T9" fmla="*/ 0 h 31"/>
              <a:gd name="T10" fmla="*/ 33 w 33"/>
              <a:gd name="T11" fmla="*/ 0 h 31"/>
              <a:gd name="T12" fmla="*/ 30 w 33"/>
              <a:gd name="T13" fmla="*/ 2 h 31"/>
              <a:gd name="T14" fmla="*/ 29 w 33"/>
              <a:gd name="T15" fmla="*/ 5 h 31"/>
              <a:gd name="T16" fmla="*/ 28 w 33"/>
              <a:gd name="T17" fmla="*/ 9 h 31"/>
              <a:gd name="T18" fmla="*/ 28 w 33"/>
              <a:gd name="T19" fmla="*/ 13 h 31"/>
              <a:gd name="T20" fmla="*/ 28 w 33"/>
              <a:gd name="T21" fmla="*/ 17 h 31"/>
              <a:gd name="T22" fmla="*/ 29 w 33"/>
              <a:gd name="T23" fmla="*/ 21 h 31"/>
              <a:gd name="T24" fmla="*/ 30 w 33"/>
              <a:gd name="T25" fmla="*/ 26 h 31"/>
              <a:gd name="T26" fmla="*/ 33 w 33"/>
              <a:gd name="T27" fmla="*/ 31 h 31"/>
              <a:gd name="T28" fmla="*/ 0 w 33"/>
              <a:gd name="T29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3" h="31">
                <a:moveTo>
                  <a:pt x="0" y="31"/>
                </a:moveTo>
                <a:lnTo>
                  <a:pt x="0" y="0"/>
                </a:lnTo>
                <a:lnTo>
                  <a:pt x="9" y="0"/>
                </a:lnTo>
                <a:lnTo>
                  <a:pt x="16" y="0"/>
                </a:lnTo>
                <a:lnTo>
                  <a:pt x="24" y="0"/>
                </a:lnTo>
                <a:lnTo>
                  <a:pt x="33" y="0"/>
                </a:lnTo>
                <a:lnTo>
                  <a:pt x="30" y="2"/>
                </a:lnTo>
                <a:lnTo>
                  <a:pt x="29" y="5"/>
                </a:lnTo>
                <a:lnTo>
                  <a:pt x="28" y="9"/>
                </a:lnTo>
                <a:lnTo>
                  <a:pt x="28" y="13"/>
                </a:lnTo>
                <a:lnTo>
                  <a:pt x="28" y="17"/>
                </a:lnTo>
                <a:lnTo>
                  <a:pt x="29" y="21"/>
                </a:lnTo>
                <a:lnTo>
                  <a:pt x="30" y="26"/>
                </a:lnTo>
                <a:lnTo>
                  <a:pt x="33" y="31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57" name="Freeform 509"/>
          <p:cNvSpPr>
            <a:spLocks/>
          </p:cNvSpPr>
          <p:nvPr>
            <p:custDataLst>
              <p:tags r:id="rId347"/>
            </p:custDataLst>
          </p:nvPr>
        </p:nvSpPr>
        <p:spPr bwMode="auto">
          <a:xfrm>
            <a:off x="8696326" y="1439864"/>
            <a:ext cx="55563" cy="58737"/>
          </a:xfrm>
          <a:custGeom>
            <a:avLst/>
            <a:gdLst>
              <a:gd name="T0" fmla="*/ 3 w 129"/>
              <a:gd name="T1" fmla="*/ 44 h 56"/>
              <a:gd name="T2" fmla="*/ 1 w 129"/>
              <a:gd name="T3" fmla="*/ 42 h 56"/>
              <a:gd name="T4" fmla="*/ 1 w 129"/>
              <a:gd name="T5" fmla="*/ 40 h 56"/>
              <a:gd name="T6" fmla="*/ 0 w 129"/>
              <a:gd name="T7" fmla="*/ 37 h 56"/>
              <a:gd name="T8" fmla="*/ 1 w 129"/>
              <a:gd name="T9" fmla="*/ 33 h 56"/>
              <a:gd name="T10" fmla="*/ 2 w 129"/>
              <a:gd name="T11" fmla="*/ 25 h 56"/>
              <a:gd name="T12" fmla="*/ 3 w 129"/>
              <a:gd name="T13" fmla="*/ 18 h 56"/>
              <a:gd name="T14" fmla="*/ 9 w 129"/>
              <a:gd name="T15" fmla="*/ 13 h 56"/>
              <a:gd name="T16" fmla="*/ 16 w 129"/>
              <a:gd name="T17" fmla="*/ 9 h 56"/>
              <a:gd name="T18" fmla="*/ 21 w 129"/>
              <a:gd name="T19" fmla="*/ 6 h 56"/>
              <a:gd name="T20" fmla="*/ 27 w 129"/>
              <a:gd name="T21" fmla="*/ 5 h 56"/>
              <a:gd name="T22" fmla="*/ 39 w 129"/>
              <a:gd name="T23" fmla="*/ 3 h 56"/>
              <a:gd name="T24" fmla="*/ 57 w 129"/>
              <a:gd name="T25" fmla="*/ 0 h 56"/>
              <a:gd name="T26" fmla="*/ 60 w 129"/>
              <a:gd name="T27" fmla="*/ 5 h 56"/>
              <a:gd name="T28" fmla="*/ 64 w 129"/>
              <a:gd name="T29" fmla="*/ 8 h 56"/>
              <a:gd name="T30" fmla="*/ 69 w 129"/>
              <a:gd name="T31" fmla="*/ 11 h 56"/>
              <a:gd name="T32" fmla="*/ 73 w 129"/>
              <a:gd name="T33" fmla="*/ 14 h 56"/>
              <a:gd name="T34" fmla="*/ 83 w 129"/>
              <a:gd name="T35" fmla="*/ 18 h 56"/>
              <a:gd name="T36" fmla="*/ 93 w 129"/>
              <a:gd name="T37" fmla="*/ 21 h 56"/>
              <a:gd name="T38" fmla="*/ 103 w 129"/>
              <a:gd name="T39" fmla="*/ 25 h 56"/>
              <a:gd name="T40" fmla="*/ 113 w 129"/>
              <a:gd name="T41" fmla="*/ 29 h 56"/>
              <a:gd name="T42" fmla="*/ 117 w 129"/>
              <a:gd name="T43" fmla="*/ 32 h 56"/>
              <a:gd name="T44" fmla="*/ 121 w 129"/>
              <a:gd name="T45" fmla="*/ 35 h 56"/>
              <a:gd name="T46" fmla="*/ 126 w 129"/>
              <a:gd name="T47" fmla="*/ 38 h 56"/>
              <a:gd name="T48" fmla="*/ 129 w 129"/>
              <a:gd name="T49" fmla="*/ 44 h 56"/>
              <a:gd name="T50" fmla="*/ 119 w 129"/>
              <a:gd name="T51" fmla="*/ 48 h 56"/>
              <a:gd name="T52" fmla="*/ 109 w 129"/>
              <a:gd name="T53" fmla="*/ 51 h 56"/>
              <a:gd name="T54" fmla="*/ 99 w 129"/>
              <a:gd name="T55" fmla="*/ 53 h 56"/>
              <a:gd name="T56" fmla="*/ 90 w 129"/>
              <a:gd name="T57" fmla="*/ 54 h 56"/>
              <a:gd name="T58" fmla="*/ 70 w 129"/>
              <a:gd name="T59" fmla="*/ 56 h 56"/>
              <a:gd name="T60" fmla="*/ 49 w 129"/>
              <a:gd name="T61" fmla="*/ 56 h 56"/>
              <a:gd name="T62" fmla="*/ 40 w 129"/>
              <a:gd name="T63" fmla="*/ 55 h 56"/>
              <a:gd name="T64" fmla="*/ 31 w 129"/>
              <a:gd name="T65" fmla="*/ 54 h 56"/>
              <a:gd name="T66" fmla="*/ 23 w 129"/>
              <a:gd name="T67" fmla="*/ 52 h 56"/>
              <a:gd name="T68" fmla="*/ 16 w 129"/>
              <a:gd name="T69" fmla="*/ 50 h 56"/>
              <a:gd name="T70" fmla="*/ 6 w 129"/>
              <a:gd name="T71" fmla="*/ 46 h 56"/>
              <a:gd name="T72" fmla="*/ 3 w 129"/>
              <a:gd name="T73" fmla="*/ 44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29" h="56">
                <a:moveTo>
                  <a:pt x="3" y="44"/>
                </a:moveTo>
                <a:lnTo>
                  <a:pt x="1" y="42"/>
                </a:lnTo>
                <a:lnTo>
                  <a:pt x="1" y="40"/>
                </a:lnTo>
                <a:lnTo>
                  <a:pt x="0" y="37"/>
                </a:lnTo>
                <a:lnTo>
                  <a:pt x="1" y="33"/>
                </a:lnTo>
                <a:lnTo>
                  <a:pt x="2" y="25"/>
                </a:lnTo>
                <a:lnTo>
                  <a:pt x="3" y="18"/>
                </a:lnTo>
                <a:lnTo>
                  <a:pt x="9" y="13"/>
                </a:lnTo>
                <a:lnTo>
                  <a:pt x="16" y="9"/>
                </a:lnTo>
                <a:lnTo>
                  <a:pt x="21" y="6"/>
                </a:lnTo>
                <a:lnTo>
                  <a:pt x="27" y="5"/>
                </a:lnTo>
                <a:lnTo>
                  <a:pt x="39" y="3"/>
                </a:lnTo>
                <a:lnTo>
                  <a:pt x="57" y="0"/>
                </a:lnTo>
                <a:lnTo>
                  <a:pt x="60" y="5"/>
                </a:lnTo>
                <a:lnTo>
                  <a:pt x="64" y="8"/>
                </a:lnTo>
                <a:lnTo>
                  <a:pt x="69" y="11"/>
                </a:lnTo>
                <a:lnTo>
                  <a:pt x="73" y="14"/>
                </a:lnTo>
                <a:lnTo>
                  <a:pt x="83" y="18"/>
                </a:lnTo>
                <a:lnTo>
                  <a:pt x="93" y="21"/>
                </a:lnTo>
                <a:lnTo>
                  <a:pt x="103" y="25"/>
                </a:lnTo>
                <a:lnTo>
                  <a:pt x="113" y="29"/>
                </a:lnTo>
                <a:lnTo>
                  <a:pt x="117" y="32"/>
                </a:lnTo>
                <a:lnTo>
                  <a:pt x="121" y="35"/>
                </a:lnTo>
                <a:lnTo>
                  <a:pt x="126" y="38"/>
                </a:lnTo>
                <a:lnTo>
                  <a:pt x="129" y="44"/>
                </a:lnTo>
                <a:lnTo>
                  <a:pt x="119" y="48"/>
                </a:lnTo>
                <a:lnTo>
                  <a:pt x="109" y="51"/>
                </a:lnTo>
                <a:lnTo>
                  <a:pt x="99" y="53"/>
                </a:lnTo>
                <a:lnTo>
                  <a:pt x="90" y="54"/>
                </a:lnTo>
                <a:lnTo>
                  <a:pt x="70" y="56"/>
                </a:lnTo>
                <a:lnTo>
                  <a:pt x="49" y="56"/>
                </a:lnTo>
                <a:lnTo>
                  <a:pt x="40" y="55"/>
                </a:lnTo>
                <a:lnTo>
                  <a:pt x="31" y="54"/>
                </a:lnTo>
                <a:lnTo>
                  <a:pt x="23" y="52"/>
                </a:lnTo>
                <a:lnTo>
                  <a:pt x="16" y="50"/>
                </a:lnTo>
                <a:lnTo>
                  <a:pt x="6" y="46"/>
                </a:lnTo>
                <a:lnTo>
                  <a:pt x="3" y="4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58" name="Freeform 510"/>
          <p:cNvSpPr>
            <a:spLocks/>
          </p:cNvSpPr>
          <p:nvPr>
            <p:custDataLst>
              <p:tags r:id="rId348"/>
            </p:custDataLst>
          </p:nvPr>
        </p:nvSpPr>
        <p:spPr bwMode="auto">
          <a:xfrm>
            <a:off x="8832850" y="1792288"/>
            <a:ext cx="14288" cy="57150"/>
          </a:xfrm>
          <a:custGeom>
            <a:avLst/>
            <a:gdLst>
              <a:gd name="T0" fmla="*/ 21 w 41"/>
              <a:gd name="T1" fmla="*/ 42 h 42"/>
              <a:gd name="T2" fmla="*/ 0 w 41"/>
              <a:gd name="T3" fmla="*/ 30 h 42"/>
              <a:gd name="T4" fmla="*/ 0 w 41"/>
              <a:gd name="T5" fmla="*/ 6 h 42"/>
              <a:gd name="T6" fmla="*/ 7 w 41"/>
              <a:gd name="T7" fmla="*/ 5 h 42"/>
              <a:gd name="T8" fmla="*/ 14 w 41"/>
              <a:gd name="T9" fmla="*/ 3 h 42"/>
              <a:gd name="T10" fmla="*/ 24 w 41"/>
              <a:gd name="T11" fmla="*/ 1 h 42"/>
              <a:gd name="T12" fmla="*/ 34 w 41"/>
              <a:gd name="T13" fmla="*/ 0 h 42"/>
              <a:gd name="T14" fmla="*/ 34 w 41"/>
              <a:gd name="T15" fmla="*/ 18 h 42"/>
              <a:gd name="T16" fmla="*/ 41 w 41"/>
              <a:gd name="T17" fmla="*/ 18 h 42"/>
              <a:gd name="T18" fmla="*/ 21 w 41"/>
              <a:gd name="T19" fmla="*/ 42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1" h="42">
                <a:moveTo>
                  <a:pt x="21" y="42"/>
                </a:moveTo>
                <a:lnTo>
                  <a:pt x="0" y="30"/>
                </a:lnTo>
                <a:lnTo>
                  <a:pt x="0" y="6"/>
                </a:lnTo>
                <a:lnTo>
                  <a:pt x="7" y="5"/>
                </a:lnTo>
                <a:lnTo>
                  <a:pt x="14" y="3"/>
                </a:lnTo>
                <a:lnTo>
                  <a:pt x="24" y="1"/>
                </a:lnTo>
                <a:lnTo>
                  <a:pt x="34" y="0"/>
                </a:lnTo>
                <a:lnTo>
                  <a:pt x="34" y="18"/>
                </a:lnTo>
                <a:lnTo>
                  <a:pt x="41" y="18"/>
                </a:lnTo>
                <a:lnTo>
                  <a:pt x="21" y="4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59" name="Freeform 511"/>
          <p:cNvSpPr>
            <a:spLocks/>
          </p:cNvSpPr>
          <p:nvPr>
            <p:custDataLst>
              <p:tags r:id="rId349"/>
            </p:custDataLst>
          </p:nvPr>
        </p:nvSpPr>
        <p:spPr bwMode="auto">
          <a:xfrm>
            <a:off x="8982076" y="1905001"/>
            <a:ext cx="42863" cy="60325"/>
          </a:xfrm>
          <a:custGeom>
            <a:avLst/>
            <a:gdLst>
              <a:gd name="T0" fmla="*/ 60 w 93"/>
              <a:gd name="T1" fmla="*/ 9 h 39"/>
              <a:gd name="T2" fmla="*/ 67 w 93"/>
              <a:gd name="T3" fmla="*/ 18 h 39"/>
              <a:gd name="T4" fmla="*/ 77 w 93"/>
              <a:gd name="T5" fmla="*/ 28 h 39"/>
              <a:gd name="T6" fmla="*/ 81 w 93"/>
              <a:gd name="T7" fmla="*/ 33 h 39"/>
              <a:gd name="T8" fmla="*/ 86 w 93"/>
              <a:gd name="T9" fmla="*/ 36 h 39"/>
              <a:gd name="T10" fmla="*/ 90 w 93"/>
              <a:gd name="T11" fmla="*/ 38 h 39"/>
              <a:gd name="T12" fmla="*/ 93 w 93"/>
              <a:gd name="T13" fmla="*/ 39 h 39"/>
              <a:gd name="T14" fmla="*/ 60 w 93"/>
              <a:gd name="T15" fmla="*/ 39 h 39"/>
              <a:gd name="T16" fmla="*/ 50 w 93"/>
              <a:gd name="T17" fmla="*/ 36 h 39"/>
              <a:gd name="T18" fmla="*/ 43 w 93"/>
              <a:gd name="T19" fmla="*/ 32 h 39"/>
              <a:gd name="T20" fmla="*/ 36 w 93"/>
              <a:gd name="T21" fmla="*/ 28 h 39"/>
              <a:gd name="T22" fmla="*/ 30 w 93"/>
              <a:gd name="T23" fmla="*/ 23 h 39"/>
              <a:gd name="T24" fmla="*/ 24 w 93"/>
              <a:gd name="T25" fmla="*/ 18 h 39"/>
              <a:gd name="T26" fmla="*/ 16 w 93"/>
              <a:gd name="T27" fmla="*/ 13 h 39"/>
              <a:gd name="T28" fmla="*/ 9 w 93"/>
              <a:gd name="T29" fmla="*/ 7 h 39"/>
              <a:gd name="T30" fmla="*/ 0 w 93"/>
              <a:gd name="T31" fmla="*/ 3 h 39"/>
              <a:gd name="T32" fmla="*/ 11 w 93"/>
              <a:gd name="T33" fmla="*/ 1 h 39"/>
              <a:gd name="T34" fmla="*/ 20 w 93"/>
              <a:gd name="T35" fmla="*/ 0 h 39"/>
              <a:gd name="T36" fmla="*/ 26 w 93"/>
              <a:gd name="T37" fmla="*/ 0 h 39"/>
              <a:gd name="T38" fmla="*/ 33 w 93"/>
              <a:gd name="T39" fmla="*/ 1 h 39"/>
              <a:gd name="T40" fmla="*/ 44 w 93"/>
              <a:gd name="T41" fmla="*/ 4 h 39"/>
              <a:gd name="T42" fmla="*/ 60 w 93"/>
              <a:gd name="T43" fmla="*/ 9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3" h="39">
                <a:moveTo>
                  <a:pt x="60" y="9"/>
                </a:moveTo>
                <a:lnTo>
                  <a:pt x="67" y="18"/>
                </a:lnTo>
                <a:lnTo>
                  <a:pt x="77" y="28"/>
                </a:lnTo>
                <a:lnTo>
                  <a:pt x="81" y="33"/>
                </a:lnTo>
                <a:lnTo>
                  <a:pt x="86" y="36"/>
                </a:lnTo>
                <a:lnTo>
                  <a:pt x="90" y="38"/>
                </a:lnTo>
                <a:lnTo>
                  <a:pt x="93" y="39"/>
                </a:lnTo>
                <a:lnTo>
                  <a:pt x="60" y="39"/>
                </a:lnTo>
                <a:lnTo>
                  <a:pt x="50" y="36"/>
                </a:lnTo>
                <a:lnTo>
                  <a:pt x="43" y="32"/>
                </a:lnTo>
                <a:lnTo>
                  <a:pt x="36" y="28"/>
                </a:lnTo>
                <a:lnTo>
                  <a:pt x="30" y="23"/>
                </a:lnTo>
                <a:lnTo>
                  <a:pt x="24" y="18"/>
                </a:lnTo>
                <a:lnTo>
                  <a:pt x="16" y="13"/>
                </a:lnTo>
                <a:lnTo>
                  <a:pt x="9" y="7"/>
                </a:lnTo>
                <a:lnTo>
                  <a:pt x="0" y="3"/>
                </a:lnTo>
                <a:lnTo>
                  <a:pt x="11" y="1"/>
                </a:lnTo>
                <a:lnTo>
                  <a:pt x="20" y="0"/>
                </a:lnTo>
                <a:lnTo>
                  <a:pt x="26" y="0"/>
                </a:lnTo>
                <a:lnTo>
                  <a:pt x="33" y="1"/>
                </a:lnTo>
                <a:lnTo>
                  <a:pt x="44" y="4"/>
                </a:lnTo>
                <a:lnTo>
                  <a:pt x="60" y="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60" name="Freeform 512"/>
          <p:cNvSpPr>
            <a:spLocks/>
          </p:cNvSpPr>
          <p:nvPr>
            <p:custDataLst>
              <p:tags r:id="rId350"/>
            </p:custDataLst>
          </p:nvPr>
        </p:nvSpPr>
        <p:spPr bwMode="auto">
          <a:xfrm>
            <a:off x="9032875" y="1920875"/>
            <a:ext cx="19050" cy="58738"/>
          </a:xfrm>
          <a:custGeom>
            <a:avLst/>
            <a:gdLst>
              <a:gd name="T0" fmla="*/ 39 w 39"/>
              <a:gd name="T1" fmla="*/ 19 h 19"/>
              <a:gd name="T2" fmla="*/ 13 w 39"/>
              <a:gd name="T3" fmla="*/ 19 h 19"/>
              <a:gd name="T4" fmla="*/ 8 w 39"/>
              <a:gd name="T5" fmla="*/ 19 h 19"/>
              <a:gd name="T6" fmla="*/ 5 w 39"/>
              <a:gd name="T7" fmla="*/ 17 h 19"/>
              <a:gd name="T8" fmla="*/ 3 w 39"/>
              <a:gd name="T9" fmla="*/ 14 h 19"/>
              <a:gd name="T10" fmla="*/ 2 w 39"/>
              <a:gd name="T11" fmla="*/ 11 h 19"/>
              <a:gd name="T12" fmla="*/ 0 w 39"/>
              <a:gd name="T13" fmla="*/ 5 h 19"/>
              <a:gd name="T14" fmla="*/ 0 w 39"/>
              <a:gd name="T15" fmla="*/ 0 h 19"/>
              <a:gd name="T16" fmla="*/ 13 w 39"/>
              <a:gd name="T17" fmla="*/ 4 h 19"/>
              <a:gd name="T18" fmla="*/ 22 w 39"/>
              <a:gd name="T19" fmla="*/ 9 h 19"/>
              <a:gd name="T20" fmla="*/ 30 w 39"/>
              <a:gd name="T21" fmla="*/ 14 h 19"/>
              <a:gd name="T22" fmla="*/ 39 w 39"/>
              <a:gd name="T23" fmla="*/ 19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9" h="19">
                <a:moveTo>
                  <a:pt x="39" y="19"/>
                </a:moveTo>
                <a:lnTo>
                  <a:pt x="13" y="19"/>
                </a:lnTo>
                <a:lnTo>
                  <a:pt x="8" y="19"/>
                </a:lnTo>
                <a:lnTo>
                  <a:pt x="5" y="17"/>
                </a:lnTo>
                <a:lnTo>
                  <a:pt x="3" y="14"/>
                </a:lnTo>
                <a:lnTo>
                  <a:pt x="2" y="11"/>
                </a:lnTo>
                <a:lnTo>
                  <a:pt x="0" y="5"/>
                </a:lnTo>
                <a:lnTo>
                  <a:pt x="0" y="0"/>
                </a:lnTo>
                <a:lnTo>
                  <a:pt x="13" y="4"/>
                </a:lnTo>
                <a:lnTo>
                  <a:pt x="22" y="9"/>
                </a:lnTo>
                <a:lnTo>
                  <a:pt x="30" y="14"/>
                </a:lnTo>
                <a:lnTo>
                  <a:pt x="39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61" name="Freeform 513"/>
          <p:cNvSpPr>
            <a:spLocks/>
          </p:cNvSpPr>
          <p:nvPr>
            <p:custDataLst>
              <p:tags r:id="rId351"/>
            </p:custDataLst>
          </p:nvPr>
        </p:nvSpPr>
        <p:spPr bwMode="auto">
          <a:xfrm>
            <a:off x="8897939" y="2047875"/>
            <a:ext cx="14287" cy="57150"/>
          </a:xfrm>
          <a:custGeom>
            <a:avLst/>
            <a:gdLst>
              <a:gd name="T0" fmla="*/ 0 w 26"/>
              <a:gd name="T1" fmla="*/ 36 h 36"/>
              <a:gd name="T2" fmla="*/ 3 w 26"/>
              <a:gd name="T3" fmla="*/ 31 h 36"/>
              <a:gd name="T4" fmla="*/ 10 w 26"/>
              <a:gd name="T5" fmla="*/ 20 h 36"/>
              <a:gd name="T6" fmla="*/ 18 w 26"/>
              <a:gd name="T7" fmla="*/ 8 h 36"/>
              <a:gd name="T8" fmla="*/ 26 w 26"/>
              <a:gd name="T9" fmla="*/ 0 h 36"/>
              <a:gd name="T10" fmla="*/ 26 w 26"/>
              <a:gd name="T11" fmla="*/ 9 h 36"/>
              <a:gd name="T12" fmla="*/ 26 w 26"/>
              <a:gd name="T13" fmla="*/ 18 h 36"/>
              <a:gd name="T14" fmla="*/ 25 w 26"/>
              <a:gd name="T15" fmla="*/ 22 h 36"/>
              <a:gd name="T16" fmla="*/ 24 w 26"/>
              <a:gd name="T17" fmla="*/ 26 h 36"/>
              <a:gd name="T18" fmla="*/ 21 w 26"/>
              <a:gd name="T19" fmla="*/ 29 h 36"/>
              <a:gd name="T20" fmla="*/ 17 w 26"/>
              <a:gd name="T21" fmla="*/ 32 h 36"/>
              <a:gd name="T22" fmla="*/ 14 w 26"/>
              <a:gd name="T23" fmla="*/ 34 h 36"/>
              <a:gd name="T24" fmla="*/ 10 w 26"/>
              <a:gd name="T25" fmla="*/ 35 h 36"/>
              <a:gd name="T26" fmla="*/ 4 w 26"/>
              <a:gd name="T27" fmla="*/ 36 h 36"/>
              <a:gd name="T28" fmla="*/ 0 w 26"/>
              <a:gd name="T29" fmla="*/ 36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6" h="36">
                <a:moveTo>
                  <a:pt x="0" y="36"/>
                </a:moveTo>
                <a:lnTo>
                  <a:pt x="3" y="31"/>
                </a:lnTo>
                <a:lnTo>
                  <a:pt x="10" y="20"/>
                </a:lnTo>
                <a:lnTo>
                  <a:pt x="18" y="8"/>
                </a:lnTo>
                <a:lnTo>
                  <a:pt x="26" y="0"/>
                </a:lnTo>
                <a:lnTo>
                  <a:pt x="26" y="9"/>
                </a:lnTo>
                <a:lnTo>
                  <a:pt x="26" y="18"/>
                </a:lnTo>
                <a:lnTo>
                  <a:pt x="25" y="22"/>
                </a:lnTo>
                <a:lnTo>
                  <a:pt x="24" y="26"/>
                </a:lnTo>
                <a:lnTo>
                  <a:pt x="21" y="29"/>
                </a:lnTo>
                <a:lnTo>
                  <a:pt x="17" y="32"/>
                </a:lnTo>
                <a:lnTo>
                  <a:pt x="14" y="34"/>
                </a:lnTo>
                <a:lnTo>
                  <a:pt x="10" y="35"/>
                </a:lnTo>
                <a:lnTo>
                  <a:pt x="4" y="36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62" name="Freeform 514"/>
          <p:cNvSpPr>
            <a:spLocks/>
          </p:cNvSpPr>
          <p:nvPr>
            <p:custDataLst>
              <p:tags r:id="rId352"/>
            </p:custDataLst>
          </p:nvPr>
        </p:nvSpPr>
        <p:spPr bwMode="auto">
          <a:xfrm>
            <a:off x="8909051" y="2076451"/>
            <a:ext cx="3175" cy="60325"/>
          </a:xfrm>
          <a:custGeom>
            <a:avLst/>
            <a:gdLst>
              <a:gd name="T0" fmla="*/ 0 w 6"/>
              <a:gd name="T1" fmla="*/ 37 h 37"/>
              <a:gd name="T2" fmla="*/ 0 w 6"/>
              <a:gd name="T3" fmla="*/ 0 h 37"/>
              <a:gd name="T4" fmla="*/ 6 w 6"/>
              <a:gd name="T5" fmla="*/ 0 h 37"/>
              <a:gd name="T6" fmla="*/ 6 w 6"/>
              <a:gd name="T7" fmla="*/ 31 h 37"/>
              <a:gd name="T8" fmla="*/ 0 w 6"/>
              <a:gd name="T9" fmla="*/ 37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" h="37">
                <a:moveTo>
                  <a:pt x="0" y="37"/>
                </a:moveTo>
                <a:lnTo>
                  <a:pt x="0" y="0"/>
                </a:lnTo>
                <a:lnTo>
                  <a:pt x="6" y="0"/>
                </a:lnTo>
                <a:lnTo>
                  <a:pt x="6" y="31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63" name="Freeform 515"/>
          <p:cNvSpPr>
            <a:spLocks/>
          </p:cNvSpPr>
          <p:nvPr>
            <p:custDataLst>
              <p:tags r:id="rId353"/>
            </p:custDataLst>
          </p:nvPr>
        </p:nvSpPr>
        <p:spPr bwMode="auto">
          <a:xfrm>
            <a:off x="8896351" y="2159001"/>
            <a:ext cx="9525" cy="55563"/>
          </a:xfrm>
          <a:custGeom>
            <a:avLst/>
            <a:gdLst>
              <a:gd name="T0" fmla="*/ 0 w 20"/>
              <a:gd name="T1" fmla="*/ 31 h 43"/>
              <a:gd name="T2" fmla="*/ 0 w 20"/>
              <a:gd name="T3" fmla="*/ 25 h 43"/>
              <a:gd name="T4" fmla="*/ 0 w 20"/>
              <a:gd name="T5" fmla="*/ 18 h 43"/>
              <a:gd name="T6" fmla="*/ 2 w 20"/>
              <a:gd name="T7" fmla="*/ 9 h 43"/>
              <a:gd name="T8" fmla="*/ 7 w 20"/>
              <a:gd name="T9" fmla="*/ 0 h 43"/>
              <a:gd name="T10" fmla="*/ 11 w 20"/>
              <a:gd name="T11" fmla="*/ 7 h 43"/>
              <a:gd name="T12" fmla="*/ 16 w 20"/>
              <a:gd name="T13" fmla="*/ 12 h 43"/>
              <a:gd name="T14" fmla="*/ 17 w 20"/>
              <a:gd name="T15" fmla="*/ 14 h 43"/>
              <a:gd name="T16" fmla="*/ 19 w 20"/>
              <a:gd name="T17" fmla="*/ 18 h 43"/>
              <a:gd name="T18" fmla="*/ 19 w 20"/>
              <a:gd name="T19" fmla="*/ 21 h 43"/>
              <a:gd name="T20" fmla="*/ 20 w 20"/>
              <a:gd name="T21" fmla="*/ 25 h 43"/>
              <a:gd name="T22" fmla="*/ 19 w 20"/>
              <a:gd name="T23" fmla="*/ 27 h 43"/>
              <a:gd name="T24" fmla="*/ 18 w 20"/>
              <a:gd name="T25" fmla="*/ 30 h 43"/>
              <a:gd name="T26" fmla="*/ 16 w 20"/>
              <a:gd name="T27" fmla="*/ 33 h 43"/>
              <a:gd name="T28" fmla="*/ 12 w 20"/>
              <a:gd name="T29" fmla="*/ 36 h 43"/>
              <a:gd name="T30" fmla="*/ 9 w 20"/>
              <a:gd name="T31" fmla="*/ 39 h 43"/>
              <a:gd name="T32" fmla="*/ 6 w 20"/>
              <a:gd name="T33" fmla="*/ 41 h 43"/>
              <a:gd name="T34" fmla="*/ 2 w 20"/>
              <a:gd name="T35" fmla="*/ 42 h 43"/>
              <a:gd name="T36" fmla="*/ 0 w 20"/>
              <a:gd name="T37" fmla="*/ 43 h 43"/>
              <a:gd name="T38" fmla="*/ 0 w 20"/>
              <a:gd name="T39" fmla="*/ 31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20" h="43">
                <a:moveTo>
                  <a:pt x="0" y="31"/>
                </a:moveTo>
                <a:lnTo>
                  <a:pt x="0" y="25"/>
                </a:lnTo>
                <a:lnTo>
                  <a:pt x="0" y="18"/>
                </a:lnTo>
                <a:lnTo>
                  <a:pt x="2" y="9"/>
                </a:lnTo>
                <a:lnTo>
                  <a:pt x="7" y="0"/>
                </a:lnTo>
                <a:lnTo>
                  <a:pt x="11" y="7"/>
                </a:lnTo>
                <a:lnTo>
                  <a:pt x="16" y="12"/>
                </a:lnTo>
                <a:lnTo>
                  <a:pt x="17" y="14"/>
                </a:lnTo>
                <a:lnTo>
                  <a:pt x="19" y="18"/>
                </a:lnTo>
                <a:lnTo>
                  <a:pt x="19" y="21"/>
                </a:lnTo>
                <a:lnTo>
                  <a:pt x="20" y="25"/>
                </a:lnTo>
                <a:lnTo>
                  <a:pt x="19" y="27"/>
                </a:lnTo>
                <a:lnTo>
                  <a:pt x="18" y="30"/>
                </a:lnTo>
                <a:lnTo>
                  <a:pt x="16" y="33"/>
                </a:lnTo>
                <a:lnTo>
                  <a:pt x="12" y="36"/>
                </a:lnTo>
                <a:lnTo>
                  <a:pt x="9" y="39"/>
                </a:lnTo>
                <a:lnTo>
                  <a:pt x="6" y="41"/>
                </a:lnTo>
                <a:lnTo>
                  <a:pt x="2" y="42"/>
                </a:lnTo>
                <a:lnTo>
                  <a:pt x="0" y="43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64" name="Freeform 516"/>
          <p:cNvSpPr>
            <a:spLocks/>
          </p:cNvSpPr>
          <p:nvPr>
            <p:custDataLst>
              <p:tags r:id="rId354"/>
            </p:custDataLst>
          </p:nvPr>
        </p:nvSpPr>
        <p:spPr bwMode="auto">
          <a:xfrm>
            <a:off x="8874125" y="2193925"/>
            <a:ext cx="0" cy="58738"/>
          </a:xfrm>
          <a:custGeom>
            <a:avLst/>
            <a:gdLst>
              <a:gd name="T0" fmla="*/ 30 h 30"/>
              <a:gd name="T1" fmla="*/ 25 h 30"/>
              <a:gd name="T2" fmla="*/ 18 h 30"/>
              <a:gd name="T3" fmla="*/ 9 h 30"/>
              <a:gd name="T4" fmla="*/ 0 h 30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</a:cxnLst>
            <a:rect l="0" t="0" r="r" b="b"/>
            <a:pathLst>
              <a:path h="30">
                <a:moveTo>
                  <a:pt x="0" y="30"/>
                </a:moveTo>
                <a:lnTo>
                  <a:pt x="0" y="25"/>
                </a:lnTo>
                <a:lnTo>
                  <a:pt x="0" y="18"/>
                </a:lnTo>
                <a:lnTo>
                  <a:pt x="0" y="9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65" name="Freeform 517"/>
          <p:cNvSpPr>
            <a:spLocks/>
          </p:cNvSpPr>
          <p:nvPr>
            <p:custDataLst>
              <p:tags r:id="rId355"/>
            </p:custDataLst>
          </p:nvPr>
        </p:nvSpPr>
        <p:spPr bwMode="auto">
          <a:xfrm>
            <a:off x="8874125" y="2193925"/>
            <a:ext cx="7938" cy="58738"/>
          </a:xfrm>
          <a:custGeom>
            <a:avLst/>
            <a:gdLst>
              <a:gd name="T0" fmla="*/ 0 w 20"/>
              <a:gd name="T1" fmla="*/ 0 h 24"/>
              <a:gd name="T2" fmla="*/ 20 w 20"/>
              <a:gd name="T3" fmla="*/ 0 h 24"/>
              <a:gd name="T4" fmla="*/ 0 w 20"/>
              <a:gd name="T5" fmla="*/ 24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0" h="24">
                <a:moveTo>
                  <a:pt x="0" y="0"/>
                </a:moveTo>
                <a:lnTo>
                  <a:pt x="20" y="0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66" name="Freeform 518"/>
          <p:cNvSpPr>
            <a:spLocks/>
          </p:cNvSpPr>
          <p:nvPr>
            <p:custDataLst>
              <p:tags r:id="rId356"/>
            </p:custDataLst>
          </p:nvPr>
        </p:nvSpPr>
        <p:spPr bwMode="auto">
          <a:xfrm>
            <a:off x="8628063" y="1781176"/>
            <a:ext cx="17462" cy="60325"/>
          </a:xfrm>
          <a:custGeom>
            <a:avLst/>
            <a:gdLst>
              <a:gd name="T0" fmla="*/ 0 w 46"/>
              <a:gd name="T1" fmla="*/ 0 h 19"/>
              <a:gd name="T2" fmla="*/ 9 w 46"/>
              <a:gd name="T3" fmla="*/ 3 h 19"/>
              <a:gd name="T4" fmla="*/ 14 w 46"/>
              <a:gd name="T5" fmla="*/ 5 h 19"/>
              <a:gd name="T6" fmla="*/ 19 w 46"/>
              <a:gd name="T7" fmla="*/ 8 h 19"/>
              <a:gd name="T8" fmla="*/ 23 w 46"/>
              <a:gd name="T9" fmla="*/ 10 h 19"/>
              <a:gd name="T10" fmla="*/ 26 w 46"/>
              <a:gd name="T11" fmla="*/ 12 h 19"/>
              <a:gd name="T12" fmla="*/ 32 w 46"/>
              <a:gd name="T13" fmla="*/ 14 h 19"/>
              <a:gd name="T14" fmla="*/ 37 w 46"/>
              <a:gd name="T15" fmla="*/ 17 h 19"/>
              <a:gd name="T16" fmla="*/ 46 w 46"/>
              <a:gd name="T17" fmla="*/ 19 h 19"/>
              <a:gd name="T18" fmla="*/ 33 w 46"/>
              <a:gd name="T19" fmla="*/ 19 h 19"/>
              <a:gd name="T20" fmla="*/ 24 w 46"/>
              <a:gd name="T21" fmla="*/ 19 h 19"/>
              <a:gd name="T22" fmla="*/ 18 w 46"/>
              <a:gd name="T23" fmla="*/ 18 h 19"/>
              <a:gd name="T24" fmla="*/ 13 w 46"/>
              <a:gd name="T25" fmla="*/ 17 h 19"/>
              <a:gd name="T26" fmla="*/ 10 w 46"/>
              <a:gd name="T27" fmla="*/ 14 h 19"/>
              <a:gd name="T28" fmla="*/ 7 w 46"/>
              <a:gd name="T29" fmla="*/ 11 h 19"/>
              <a:gd name="T30" fmla="*/ 4 w 46"/>
              <a:gd name="T31" fmla="*/ 7 h 19"/>
              <a:gd name="T32" fmla="*/ 0 w 46"/>
              <a:gd name="T33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6" h="19">
                <a:moveTo>
                  <a:pt x="0" y="0"/>
                </a:moveTo>
                <a:lnTo>
                  <a:pt x="9" y="3"/>
                </a:lnTo>
                <a:lnTo>
                  <a:pt x="14" y="5"/>
                </a:lnTo>
                <a:lnTo>
                  <a:pt x="19" y="8"/>
                </a:lnTo>
                <a:lnTo>
                  <a:pt x="23" y="10"/>
                </a:lnTo>
                <a:lnTo>
                  <a:pt x="26" y="12"/>
                </a:lnTo>
                <a:lnTo>
                  <a:pt x="32" y="14"/>
                </a:lnTo>
                <a:lnTo>
                  <a:pt x="37" y="17"/>
                </a:lnTo>
                <a:lnTo>
                  <a:pt x="46" y="19"/>
                </a:lnTo>
                <a:lnTo>
                  <a:pt x="33" y="19"/>
                </a:lnTo>
                <a:lnTo>
                  <a:pt x="24" y="19"/>
                </a:lnTo>
                <a:lnTo>
                  <a:pt x="18" y="18"/>
                </a:lnTo>
                <a:lnTo>
                  <a:pt x="13" y="17"/>
                </a:lnTo>
                <a:lnTo>
                  <a:pt x="10" y="14"/>
                </a:lnTo>
                <a:lnTo>
                  <a:pt x="7" y="11"/>
                </a:lnTo>
                <a:lnTo>
                  <a:pt x="4" y="7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67" name="Freeform 519"/>
          <p:cNvSpPr>
            <a:spLocks/>
          </p:cNvSpPr>
          <p:nvPr>
            <p:custDataLst>
              <p:tags r:id="rId357"/>
            </p:custDataLst>
          </p:nvPr>
        </p:nvSpPr>
        <p:spPr bwMode="auto">
          <a:xfrm>
            <a:off x="5943601" y="1920875"/>
            <a:ext cx="47625" cy="58738"/>
          </a:xfrm>
          <a:custGeom>
            <a:avLst/>
            <a:gdLst>
              <a:gd name="T0" fmla="*/ 33 w 100"/>
              <a:gd name="T1" fmla="*/ 0 h 55"/>
              <a:gd name="T2" fmla="*/ 100 w 100"/>
              <a:gd name="T3" fmla="*/ 12 h 55"/>
              <a:gd name="T4" fmla="*/ 100 w 100"/>
              <a:gd name="T5" fmla="*/ 55 h 55"/>
              <a:gd name="T6" fmla="*/ 13 w 100"/>
              <a:gd name="T7" fmla="*/ 55 h 55"/>
              <a:gd name="T8" fmla="*/ 0 w 100"/>
              <a:gd name="T9" fmla="*/ 43 h 55"/>
              <a:gd name="T10" fmla="*/ 1 w 100"/>
              <a:gd name="T11" fmla="*/ 38 h 55"/>
              <a:gd name="T12" fmla="*/ 4 w 100"/>
              <a:gd name="T13" fmla="*/ 32 h 55"/>
              <a:gd name="T14" fmla="*/ 10 w 100"/>
              <a:gd name="T15" fmla="*/ 25 h 55"/>
              <a:gd name="T16" fmla="*/ 16 w 100"/>
              <a:gd name="T17" fmla="*/ 18 h 55"/>
              <a:gd name="T18" fmla="*/ 27 w 100"/>
              <a:gd name="T19" fmla="*/ 5 h 55"/>
              <a:gd name="T20" fmla="*/ 33 w 100"/>
              <a:gd name="T21" fmla="*/ 0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00" h="55">
                <a:moveTo>
                  <a:pt x="33" y="0"/>
                </a:moveTo>
                <a:lnTo>
                  <a:pt x="100" y="12"/>
                </a:lnTo>
                <a:lnTo>
                  <a:pt x="100" y="55"/>
                </a:lnTo>
                <a:lnTo>
                  <a:pt x="13" y="55"/>
                </a:lnTo>
                <a:lnTo>
                  <a:pt x="0" y="43"/>
                </a:lnTo>
                <a:lnTo>
                  <a:pt x="1" y="38"/>
                </a:lnTo>
                <a:lnTo>
                  <a:pt x="4" y="32"/>
                </a:lnTo>
                <a:lnTo>
                  <a:pt x="10" y="25"/>
                </a:lnTo>
                <a:lnTo>
                  <a:pt x="16" y="18"/>
                </a:lnTo>
                <a:lnTo>
                  <a:pt x="27" y="5"/>
                </a:lnTo>
                <a:lnTo>
                  <a:pt x="3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68" name="Freeform 520"/>
          <p:cNvSpPr>
            <a:spLocks/>
          </p:cNvSpPr>
          <p:nvPr>
            <p:custDataLst>
              <p:tags r:id="rId358"/>
            </p:custDataLst>
          </p:nvPr>
        </p:nvSpPr>
        <p:spPr bwMode="auto">
          <a:xfrm>
            <a:off x="6392863" y="1512889"/>
            <a:ext cx="42862" cy="58737"/>
          </a:xfrm>
          <a:custGeom>
            <a:avLst/>
            <a:gdLst>
              <a:gd name="T0" fmla="*/ 53 w 99"/>
              <a:gd name="T1" fmla="*/ 2 h 51"/>
              <a:gd name="T2" fmla="*/ 58 w 99"/>
              <a:gd name="T3" fmla="*/ 1 h 51"/>
              <a:gd name="T4" fmla="*/ 62 w 99"/>
              <a:gd name="T5" fmla="*/ 0 h 51"/>
              <a:gd name="T6" fmla="*/ 65 w 99"/>
              <a:gd name="T7" fmla="*/ 0 h 51"/>
              <a:gd name="T8" fmla="*/ 69 w 99"/>
              <a:gd name="T9" fmla="*/ 1 h 51"/>
              <a:gd name="T10" fmla="*/ 74 w 99"/>
              <a:gd name="T11" fmla="*/ 5 h 51"/>
              <a:gd name="T12" fmla="*/ 79 w 99"/>
              <a:gd name="T13" fmla="*/ 11 h 51"/>
              <a:gd name="T14" fmla="*/ 83 w 99"/>
              <a:gd name="T15" fmla="*/ 18 h 51"/>
              <a:gd name="T16" fmla="*/ 87 w 99"/>
              <a:gd name="T17" fmla="*/ 25 h 51"/>
              <a:gd name="T18" fmla="*/ 91 w 99"/>
              <a:gd name="T19" fmla="*/ 28 h 51"/>
              <a:gd name="T20" fmla="*/ 93 w 99"/>
              <a:gd name="T21" fmla="*/ 30 h 51"/>
              <a:gd name="T22" fmla="*/ 96 w 99"/>
              <a:gd name="T23" fmla="*/ 32 h 51"/>
              <a:gd name="T24" fmla="*/ 99 w 99"/>
              <a:gd name="T25" fmla="*/ 34 h 51"/>
              <a:gd name="T26" fmla="*/ 99 w 99"/>
              <a:gd name="T27" fmla="*/ 37 h 51"/>
              <a:gd name="T28" fmla="*/ 97 w 99"/>
              <a:gd name="T29" fmla="*/ 40 h 51"/>
              <a:gd name="T30" fmla="*/ 95 w 99"/>
              <a:gd name="T31" fmla="*/ 43 h 51"/>
              <a:gd name="T32" fmla="*/ 91 w 99"/>
              <a:gd name="T33" fmla="*/ 45 h 51"/>
              <a:gd name="T34" fmla="*/ 86 w 99"/>
              <a:gd name="T35" fmla="*/ 47 h 51"/>
              <a:gd name="T36" fmla="*/ 81 w 99"/>
              <a:gd name="T37" fmla="*/ 48 h 51"/>
              <a:gd name="T38" fmla="*/ 74 w 99"/>
              <a:gd name="T39" fmla="*/ 50 h 51"/>
              <a:gd name="T40" fmla="*/ 68 w 99"/>
              <a:gd name="T41" fmla="*/ 50 h 51"/>
              <a:gd name="T42" fmla="*/ 52 w 99"/>
              <a:gd name="T43" fmla="*/ 51 h 51"/>
              <a:gd name="T44" fmla="*/ 36 w 99"/>
              <a:gd name="T45" fmla="*/ 49 h 51"/>
              <a:gd name="T46" fmla="*/ 27 w 99"/>
              <a:gd name="T47" fmla="*/ 48 h 51"/>
              <a:gd name="T48" fmla="*/ 18 w 99"/>
              <a:gd name="T49" fmla="*/ 45 h 51"/>
              <a:gd name="T50" fmla="*/ 9 w 99"/>
              <a:gd name="T51" fmla="*/ 43 h 51"/>
              <a:gd name="T52" fmla="*/ 1 w 99"/>
              <a:gd name="T53" fmla="*/ 40 h 51"/>
              <a:gd name="T54" fmla="*/ 0 w 99"/>
              <a:gd name="T55" fmla="*/ 39 h 51"/>
              <a:gd name="T56" fmla="*/ 1 w 99"/>
              <a:gd name="T57" fmla="*/ 37 h 51"/>
              <a:gd name="T58" fmla="*/ 3 w 99"/>
              <a:gd name="T59" fmla="*/ 35 h 51"/>
              <a:gd name="T60" fmla="*/ 6 w 99"/>
              <a:gd name="T61" fmla="*/ 33 h 51"/>
              <a:gd name="T62" fmla="*/ 14 w 99"/>
              <a:gd name="T63" fmla="*/ 29 h 51"/>
              <a:gd name="T64" fmla="*/ 25 w 99"/>
              <a:gd name="T65" fmla="*/ 24 h 51"/>
              <a:gd name="T66" fmla="*/ 35 w 99"/>
              <a:gd name="T67" fmla="*/ 19 h 51"/>
              <a:gd name="T68" fmla="*/ 45 w 99"/>
              <a:gd name="T69" fmla="*/ 12 h 51"/>
              <a:gd name="T70" fmla="*/ 48 w 99"/>
              <a:gd name="T71" fmla="*/ 10 h 51"/>
              <a:gd name="T72" fmla="*/ 51 w 99"/>
              <a:gd name="T73" fmla="*/ 7 h 51"/>
              <a:gd name="T74" fmla="*/ 52 w 99"/>
              <a:gd name="T75" fmla="*/ 5 h 51"/>
              <a:gd name="T76" fmla="*/ 53 w 99"/>
              <a:gd name="T77" fmla="*/ 2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99" h="51">
                <a:moveTo>
                  <a:pt x="53" y="2"/>
                </a:moveTo>
                <a:lnTo>
                  <a:pt x="58" y="1"/>
                </a:lnTo>
                <a:lnTo>
                  <a:pt x="62" y="0"/>
                </a:lnTo>
                <a:lnTo>
                  <a:pt x="65" y="0"/>
                </a:lnTo>
                <a:lnTo>
                  <a:pt x="69" y="1"/>
                </a:lnTo>
                <a:lnTo>
                  <a:pt x="74" y="5"/>
                </a:lnTo>
                <a:lnTo>
                  <a:pt x="79" y="11"/>
                </a:lnTo>
                <a:lnTo>
                  <a:pt x="83" y="18"/>
                </a:lnTo>
                <a:lnTo>
                  <a:pt x="87" y="25"/>
                </a:lnTo>
                <a:lnTo>
                  <a:pt x="91" y="28"/>
                </a:lnTo>
                <a:lnTo>
                  <a:pt x="93" y="30"/>
                </a:lnTo>
                <a:lnTo>
                  <a:pt x="96" y="32"/>
                </a:lnTo>
                <a:lnTo>
                  <a:pt x="99" y="34"/>
                </a:lnTo>
                <a:lnTo>
                  <a:pt x="99" y="37"/>
                </a:lnTo>
                <a:lnTo>
                  <a:pt x="97" y="40"/>
                </a:lnTo>
                <a:lnTo>
                  <a:pt x="95" y="43"/>
                </a:lnTo>
                <a:lnTo>
                  <a:pt x="91" y="45"/>
                </a:lnTo>
                <a:lnTo>
                  <a:pt x="86" y="47"/>
                </a:lnTo>
                <a:lnTo>
                  <a:pt x="81" y="48"/>
                </a:lnTo>
                <a:lnTo>
                  <a:pt x="74" y="50"/>
                </a:lnTo>
                <a:lnTo>
                  <a:pt x="68" y="50"/>
                </a:lnTo>
                <a:lnTo>
                  <a:pt x="52" y="51"/>
                </a:lnTo>
                <a:lnTo>
                  <a:pt x="36" y="49"/>
                </a:lnTo>
                <a:lnTo>
                  <a:pt x="27" y="48"/>
                </a:lnTo>
                <a:lnTo>
                  <a:pt x="18" y="45"/>
                </a:lnTo>
                <a:lnTo>
                  <a:pt x="9" y="43"/>
                </a:lnTo>
                <a:lnTo>
                  <a:pt x="1" y="40"/>
                </a:lnTo>
                <a:lnTo>
                  <a:pt x="0" y="39"/>
                </a:lnTo>
                <a:lnTo>
                  <a:pt x="1" y="37"/>
                </a:lnTo>
                <a:lnTo>
                  <a:pt x="3" y="35"/>
                </a:lnTo>
                <a:lnTo>
                  <a:pt x="6" y="33"/>
                </a:lnTo>
                <a:lnTo>
                  <a:pt x="14" y="29"/>
                </a:lnTo>
                <a:lnTo>
                  <a:pt x="25" y="24"/>
                </a:lnTo>
                <a:lnTo>
                  <a:pt x="35" y="19"/>
                </a:lnTo>
                <a:lnTo>
                  <a:pt x="45" y="12"/>
                </a:lnTo>
                <a:lnTo>
                  <a:pt x="48" y="10"/>
                </a:lnTo>
                <a:lnTo>
                  <a:pt x="51" y="7"/>
                </a:lnTo>
                <a:lnTo>
                  <a:pt x="52" y="5"/>
                </a:lnTo>
                <a:lnTo>
                  <a:pt x="53" y="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69" name="Freeform 521"/>
          <p:cNvSpPr>
            <a:spLocks/>
          </p:cNvSpPr>
          <p:nvPr>
            <p:custDataLst>
              <p:tags r:id="rId359"/>
            </p:custDataLst>
          </p:nvPr>
        </p:nvSpPr>
        <p:spPr bwMode="auto">
          <a:xfrm>
            <a:off x="6427788" y="1325563"/>
            <a:ext cx="228600" cy="163512"/>
          </a:xfrm>
          <a:custGeom>
            <a:avLst/>
            <a:gdLst>
              <a:gd name="T0" fmla="*/ 315 w 525"/>
              <a:gd name="T1" fmla="*/ 27 h 311"/>
              <a:gd name="T2" fmla="*/ 342 w 525"/>
              <a:gd name="T3" fmla="*/ 21 h 311"/>
              <a:gd name="T4" fmla="*/ 385 w 525"/>
              <a:gd name="T5" fmla="*/ 20 h 311"/>
              <a:gd name="T6" fmla="*/ 408 w 525"/>
              <a:gd name="T7" fmla="*/ 17 h 311"/>
              <a:gd name="T8" fmla="*/ 427 w 525"/>
              <a:gd name="T9" fmla="*/ 7 h 311"/>
              <a:gd name="T10" fmla="*/ 514 w 525"/>
              <a:gd name="T11" fmla="*/ 6 h 311"/>
              <a:gd name="T12" fmla="*/ 525 w 525"/>
              <a:gd name="T13" fmla="*/ 19 h 311"/>
              <a:gd name="T14" fmla="*/ 468 w 525"/>
              <a:gd name="T15" fmla="*/ 47 h 311"/>
              <a:gd name="T16" fmla="*/ 392 w 525"/>
              <a:gd name="T17" fmla="*/ 73 h 311"/>
              <a:gd name="T18" fmla="*/ 356 w 525"/>
              <a:gd name="T19" fmla="*/ 80 h 311"/>
              <a:gd name="T20" fmla="*/ 321 w 525"/>
              <a:gd name="T21" fmla="*/ 83 h 311"/>
              <a:gd name="T22" fmla="*/ 279 w 525"/>
              <a:gd name="T23" fmla="*/ 101 h 311"/>
              <a:gd name="T24" fmla="*/ 244 w 525"/>
              <a:gd name="T25" fmla="*/ 121 h 311"/>
              <a:gd name="T26" fmla="*/ 218 w 525"/>
              <a:gd name="T27" fmla="*/ 129 h 311"/>
              <a:gd name="T28" fmla="*/ 187 w 525"/>
              <a:gd name="T29" fmla="*/ 123 h 311"/>
              <a:gd name="T30" fmla="*/ 178 w 525"/>
              <a:gd name="T31" fmla="*/ 137 h 311"/>
              <a:gd name="T32" fmla="*/ 175 w 525"/>
              <a:gd name="T33" fmla="*/ 145 h 311"/>
              <a:gd name="T34" fmla="*/ 185 w 525"/>
              <a:gd name="T35" fmla="*/ 148 h 311"/>
              <a:gd name="T36" fmla="*/ 184 w 525"/>
              <a:gd name="T37" fmla="*/ 157 h 311"/>
              <a:gd name="T38" fmla="*/ 176 w 525"/>
              <a:gd name="T39" fmla="*/ 167 h 311"/>
              <a:gd name="T40" fmla="*/ 180 w 525"/>
              <a:gd name="T41" fmla="*/ 179 h 311"/>
              <a:gd name="T42" fmla="*/ 162 w 525"/>
              <a:gd name="T43" fmla="*/ 194 h 311"/>
              <a:gd name="T44" fmla="*/ 144 w 525"/>
              <a:gd name="T45" fmla="*/ 204 h 311"/>
              <a:gd name="T46" fmla="*/ 141 w 525"/>
              <a:gd name="T47" fmla="*/ 213 h 311"/>
              <a:gd name="T48" fmla="*/ 144 w 525"/>
              <a:gd name="T49" fmla="*/ 228 h 311"/>
              <a:gd name="T50" fmla="*/ 163 w 525"/>
              <a:gd name="T51" fmla="*/ 247 h 311"/>
              <a:gd name="T52" fmla="*/ 191 w 525"/>
              <a:gd name="T53" fmla="*/ 267 h 311"/>
              <a:gd name="T54" fmla="*/ 256 w 525"/>
              <a:gd name="T55" fmla="*/ 300 h 311"/>
              <a:gd name="T56" fmla="*/ 243 w 525"/>
              <a:gd name="T57" fmla="*/ 311 h 311"/>
              <a:gd name="T58" fmla="*/ 189 w 525"/>
              <a:gd name="T59" fmla="*/ 309 h 311"/>
              <a:gd name="T60" fmla="*/ 145 w 525"/>
              <a:gd name="T61" fmla="*/ 308 h 311"/>
              <a:gd name="T62" fmla="*/ 129 w 525"/>
              <a:gd name="T63" fmla="*/ 304 h 311"/>
              <a:gd name="T64" fmla="*/ 123 w 525"/>
              <a:gd name="T65" fmla="*/ 298 h 311"/>
              <a:gd name="T66" fmla="*/ 120 w 525"/>
              <a:gd name="T67" fmla="*/ 282 h 311"/>
              <a:gd name="T68" fmla="*/ 116 w 525"/>
              <a:gd name="T69" fmla="*/ 278 h 311"/>
              <a:gd name="T70" fmla="*/ 95 w 525"/>
              <a:gd name="T71" fmla="*/ 277 h 311"/>
              <a:gd name="T72" fmla="*/ 80 w 525"/>
              <a:gd name="T73" fmla="*/ 296 h 311"/>
              <a:gd name="T74" fmla="*/ 44 w 525"/>
              <a:gd name="T75" fmla="*/ 282 h 311"/>
              <a:gd name="T76" fmla="*/ 0 w 525"/>
              <a:gd name="T77" fmla="*/ 246 h 311"/>
              <a:gd name="T78" fmla="*/ 18 w 525"/>
              <a:gd name="T79" fmla="*/ 239 h 311"/>
              <a:gd name="T80" fmla="*/ 34 w 525"/>
              <a:gd name="T81" fmla="*/ 222 h 311"/>
              <a:gd name="T82" fmla="*/ 28 w 525"/>
              <a:gd name="T83" fmla="*/ 213 h 311"/>
              <a:gd name="T84" fmla="*/ 34 w 525"/>
              <a:gd name="T85" fmla="*/ 200 h 311"/>
              <a:gd name="T86" fmla="*/ 40 w 525"/>
              <a:gd name="T87" fmla="*/ 188 h 311"/>
              <a:gd name="T88" fmla="*/ 34 w 525"/>
              <a:gd name="T89" fmla="*/ 179 h 311"/>
              <a:gd name="T90" fmla="*/ 134 w 525"/>
              <a:gd name="T91" fmla="*/ 179 h 311"/>
              <a:gd name="T92" fmla="*/ 131 w 525"/>
              <a:gd name="T93" fmla="*/ 177 h 311"/>
              <a:gd name="T94" fmla="*/ 90 w 525"/>
              <a:gd name="T95" fmla="*/ 166 h 311"/>
              <a:gd name="T96" fmla="*/ 54 w 525"/>
              <a:gd name="T97" fmla="*/ 148 h 311"/>
              <a:gd name="T98" fmla="*/ 84 w 525"/>
              <a:gd name="T99" fmla="*/ 134 h 311"/>
              <a:gd name="T100" fmla="*/ 120 w 525"/>
              <a:gd name="T101" fmla="*/ 111 h 311"/>
              <a:gd name="T102" fmla="*/ 111 w 525"/>
              <a:gd name="T103" fmla="*/ 103 h 311"/>
              <a:gd name="T104" fmla="*/ 100 w 525"/>
              <a:gd name="T105" fmla="*/ 80 h 311"/>
              <a:gd name="T106" fmla="*/ 127 w 525"/>
              <a:gd name="T107" fmla="*/ 76 h 311"/>
              <a:gd name="T108" fmla="*/ 184 w 525"/>
              <a:gd name="T109" fmla="*/ 58 h 311"/>
              <a:gd name="T110" fmla="*/ 254 w 525"/>
              <a:gd name="T111" fmla="*/ 35 h 3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25" h="311">
                <a:moveTo>
                  <a:pt x="273" y="31"/>
                </a:moveTo>
                <a:lnTo>
                  <a:pt x="307" y="31"/>
                </a:lnTo>
                <a:lnTo>
                  <a:pt x="315" y="27"/>
                </a:lnTo>
                <a:lnTo>
                  <a:pt x="324" y="24"/>
                </a:lnTo>
                <a:lnTo>
                  <a:pt x="333" y="22"/>
                </a:lnTo>
                <a:lnTo>
                  <a:pt x="342" y="21"/>
                </a:lnTo>
                <a:lnTo>
                  <a:pt x="359" y="20"/>
                </a:lnTo>
                <a:lnTo>
                  <a:pt x="377" y="20"/>
                </a:lnTo>
                <a:lnTo>
                  <a:pt x="385" y="20"/>
                </a:lnTo>
                <a:lnTo>
                  <a:pt x="393" y="20"/>
                </a:lnTo>
                <a:lnTo>
                  <a:pt x="401" y="19"/>
                </a:lnTo>
                <a:lnTo>
                  <a:pt x="408" y="17"/>
                </a:lnTo>
                <a:lnTo>
                  <a:pt x="415" y="15"/>
                </a:lnTo>
                <a:lnTo>
                  <a:pt x="421" y="11"/>
                </a:lnTo>
                <a:lnTo>
                  <a:pt x="427" y="7"/>
                </a:lnTo>
                <a:lnTo>
                  <a:pt x="433" y="0"/>
                </a:lnTo>
                <a:lnTo>
                  <a:pt x="512" y="0"/>
                </a:lnTo>
                <a:lnTo>
                  <a:pt x="514" y="6"/>
                </a:lnTo>
                <a:lnTo>
                  <a:pt x="519" y="12"/>
                </a:lnTo>
                <a:lnTo>
                  <a:pt x="523" y="17"/>
                </a:lnTo>
                <a:lnTo>
                  <a:pt x="525" y="19"/>
                </a:lnTo>
                <a:lnTo>
                  <a:pt x="511" y="26"/>
                </a:lnTo>
                <a:lnTo>
                  <a:pt x="491" y="36"/>
                </a:lnTo>
                <a:lnTo>
                  <a:pt x="468" y="47"/>
                </a:lnTo>
                <a:lnTo>
                  <a:pt x="443" y="57"/>
                </a:lnTo>
                <a:lnTo>
                  <a:pt x="418" y="66"/>
                </a:lnTo>
                <a:lnTo>
                  <a:pt x="392" y="73"/>
                </a:lnTo>
                <a:lnTo>
                  <a:pt x="379" y="76"/>
                </a:lnTo>
                <a:lnTo>
                  <a:pt x="368" y="78"/>
                </a:lnTo>
                <a:lnTo>
                  <a:pt x="356" y="80"/>
                </a:lnTo>
                <a:lnTo>
                  <a:pt x="346" y="80"/>
                </a:lnTo>
                <a:lnTo>
                  <a:pt x="333" y="81"/>
                </a:lnTo>
                <a:lnTo>
                  <a:pt x="321" y="83"/>
                </a:lnTo>
                <a:lnTo>
                  <a:pt x="309" y="86"/>
                </a:lnTo>
                <a:lnTo>
                  <a:pt x="299" y="90"/>
                </a:lnTo>
                <a:lnTo>
                  <a:pt x="279" y="101"/>
                </a:lnTo>
                <a:lnTo>
                  <a:pt x="262" y="111"/>
                </a:lnTo>
                <a:lnTo>
                  <a:pt x="253" y="116"/>
                </a:lnTo>
                <a:lnTo>
                  <a:pt x="244" y="121"/>
                </a:lnTo>
                <a:lnTo>
                  <a:pt x="235" y="124"/>
                </a:lnTo>
                <a:lnTo>
                  <a:pt x="226" y="127"/>
                </a:lnTo>
                <a:lnTo>
                  <a:pt x="218" y="129"/>
                </a:lnTo>
                <a:lnTo>
                  <a:pt x="208" y="129"/>
                </a:lnTo>
                <a:lnTo>
                  <a:pt x="198" y="127"/>
                </a:lnTo>
                <a:lnTo>
                  <a:pt x="187" y="123"/>
                </a:lnTo>
                <a:lnTo>
                  <a:pt x="186" y="128"/>
                </a:lnTo>
                <a:lnTo>
                  <a:pt x="183" y="133"/>
                </a:lnTo>
                <a:lnTo>
                  <a:pt x="178" y="137"/>
                </a:lnTo>
                <a:lnTo>
                  <a:pt x="174" y="142"/>
                </a:lnTo>
                <a:lnTo>
                  <a:pt x="174" y="144"/>
                </a:lnTo>
                <a:lnTo>
                  <a:pt x="175" y="145"/>
                </a:lnTo>
                <a:lnTo>
                  <a:pt x="177" y="146"/>
                </a:lnTo>
                <a:lnTo>
                  <a:pt x="180" y="147"/>
                </a:lnTo>
                <a:lnTo>
                  <a:pt x="185" y="148"/>
                </a:lnTo>
                <a:lnTo>
                  <a:pt x="187" y="148"/>
                </a:lnTo>
                <a:lnTo>
                  <a:pt x="186" y="152"/>
                </a:lnTo>
                <a:lnTo>
                  <a:pt x="184" y="157"/>
                </a:lnTo>
                <a:lnTo>
                  <a:pt x="181" y="160"/>
                </a:lnTo>
                <a:lnTo>
                  <a:pt x="178" y="164"/>
                </a:lnTo>
                <a:lnTo>
                  <a:pt x="176" y="167"/>
                </a:lnTo>
                <a:lnTo>
                  <a:pt x="175" y="171"/>
                </a:lnTo>
                <a:lnTo>
                  <a:pt x="176" y="175"/>
                </a:lnTo>
                <a:lnTo>
                  <a:pt x="180" y="179"/>
                </a:lnTo>
                <a:lnTo>
                  <a:pt x="175" y="185"/>
                </a:lnTo>
                <a:lnTo>
                  <a:pt x="168" y="190"/>
                </a:lnTo>
                <a:lnTo>
                  <a:pt x="162" y="194"/>
                </a:lnTo>
                <a:lnTo>
                  <a:pt x="155" y="197"/>
                </a:lnTo>
                <a:lnTo>
                  <a:pt x="150" y="201"/>
                </a:lnTo>
                <a:lnTo>
                  <a:pt x="144" y="204"/>
                </a:lnTo>
                <a:lnTo>
                  <a:pt x="143" y="207"/>
                </a:lnTo>
                <a:lnTo>
                  <a:pt x="141" y="209"/>
                </a:lnTo>
                <a:lnTo>
                  <a:pt x="141" y="213"/>
                </a:lnTo>
                <a:lnTo>
                  <a:pt x="140" y="216"/>
                </a:lnTo>
                <a:lnTo>
                  <a:pt x="141" y="222"/>
                </a:lnTo>
                <a:lnTo>
                  <a:pt x="144" y="228"/>
                </a:lnTo>
                <a:lnTo>
                  <a:pt x="149" y="234"/>
                </a:lnTo>
                <a:lnTo>
                  <a:pt x="155" y="241"/>
                </a:lnTo>
                <a:lnTo>
                  <a:pt x="163" y="247"/>
                </a:lnTo>
                <a:lnTo>
                  <a:pt x="172" y="254"/>
                </a:lnTo>
                <a:lnTo>
                  <a:pt x="181" y="260"/>
                </a:lnTo>
                <a:lnTo>
                  <a:pt x="191" y="267"/>
                </a:lnTo>
                <a:lnTo>
                  <a:pt x="213" y="279"/>
                </a:lnTo>
                <a:lnTo>
                  <a:pt x="235" y="290"/>
                </a:lnTo>
                <a:lnTo>
                  <a:pt x="256" y="300"/>
                </a:lnTo>
                <a:lnTo>
                  <a:pt x="273" y="308"/>
                </a:lnTo>
                <a:lnTo>
                  <a:pt x="258" y="310"/>
                </a:lnTo>
                <a:lnTo>
                  <a:pt x="243" y="311"/>
                </a:lnTo>
                <a:lnTo>
                  <a:pt x="229" y="311"/>
                </a:lnTo>
                <a:lnTo>
                  <a:pt x="214" y="310"/>
                </a:lnTo>
                <a:lnTo>
                  <a:pt x="189" y="309"/>
                </a:lnTo>
                <a:lnTo>
                  <a:pt x="167" y="308"/>
                </a:lnTo>
                <a:lnTo>
                  <a:pt x="155" y="308"/>
                </a:lnTo>
                <a:lnTo>
                  <a:pt x="145" y="308"/>
                </a:lnTo>
                <a:lnTo>
                  <a:pt x="138" y="307"/>
                </a:lnTo>
                <a:lnTo>
                  <a:pt x="131" y="305"/>
                </a:lnTo>
                <a:lnTo>
                  <a:pt x="129" y="304"/>
                </a:lnTo>
                <a:lnTo>
                  <a:pt x="127" y="302"/>
                </a:lnTo>
                <a:lnTo>
                  <a:pt x="124" y="300"/>
                </a:lnTo>
                <a:lnTo>
                  <a:pt x="123" y="298"/>
                </a:lnTo>
                <a:lnTo>
                  <a:pt x="121" y="292"/>
                </a:lnTo>
                <a:lnTo>
                  <a:pt x="120" y="284"/>
                </a:lnTo>
                <a:lnTo>
                  <a:pt x="120" y="282"/>
                </a:lnTo>
                <a:lnTo>
                  <a:pt x="119" y="280"/>
                </a:lnTo>
                <a:lnTo>
                  <a:pt x="118" y="279"/>
                </a:lnTo>
                <a:lnTo>
                  <a:pt x="116" y="278"/>
                </a:lnTo>
                <a:lnTo>
                  <a:pt x="111" y="277"/>
                </a:lnTo>
                <a:lnTo>
                  <a:pt x="106" y="276"/>
                </a:lnTo>
                <a:lnTo>
                  <a:pt x="95" y="277"/>
                </a:lnTo>
                <a:lnTo>
                  <a:pt x="87" y="278"/>
                </a:lnTo>
                <a:lnTo>
                  <a:pt x="84" y="287"/>
                </a:lnTo>
                <a:lnTo>
                  <a:pt x="80" y="296"/>
                </a:lnTo>
                <a:lnTo>
                  <a:pt x="66" y="291"/>
                </a:lnTo>
                <a:lnTo>
                  <a:pt x="55" y="287"/>
                </a:lnTo>
                <a:lnTo>
                  <a:pt x="44" y="282"/>
                </a:lnTo>
                <a:lnTo>
                  <a:pt x="35" y="276"/>
                </a:lnTo>
                <a:lnTo>
                  <a:pt x="19" y="263"/>
                </a:lnTo>
                <a:lnTo>
                  <a:pt x="0" y="246"/>
                </a:lnTo>
                <a:lnTo>
                  <a:pt x="8" y="244"/>
                </a:lnTo>
                <a:lnTo>
                  <a:pt x="13" y="242"/>
                </a:lnTo>
                <a:lnTo>
                  <a:pt x="18" y="239"/>
                </a:lnTo>
                <a:lnTo>
                  <a:pt x="22" y="237"/>
                </a:lnTo>
                <a:lnTo>
                  <a:pt x="29" y="230"/>
                </a:lnTo>
                <a:lnTo>
                  <a:pt x="34" y="222"/>
                </a:lnTo>
                <a:lnTo>
                  <a:pt x="31" y="219"/>
                </a:lnTo>
                <a:lnTo>
                  <a:pt x="29" y="216"/>
                </a:lnTo>
                <a:lnTo>
                  <a:pt x="28" y="213"/>
                </a:lnTo>
                <a:lnTo>
                  <a:pt x="28" y="211"/>
                </a:lnTo>
                <a:lnTo>
                  <a:pt x="30" y="205"/>
                </a:lnTo>
                <a:lnTo>
                  <a:pt x="34" y="200"/>
                </a:lnTo>
                <a:lnTo>
                  <a:pt x="38" y="196"/>
                </a:lnTo>
                <a:lnTo>
                  <a:pt x="40" y="191"/>
                </a:lnTo>
                <a:lnTo>
                  <a:pt x="40" y="188"/>
                </a:lnTo>
                <a:lnTo>
                  <a:pt x="39" y="185"/>
                </a:lnTo>
                <a:lnTo>
                  <a:pt x="37" y="182"/>
                </a:lnTo>
                <a:lnTo>
                  <a:pt x="34" y="179"/>
                </a:lnTo>
                <a:lnTo>
                  <a:pt x="73" y="179"/>
                </a:lnTo>
                <a:lnTo>
                  <a:pt x="106" y="179"/>
                </a:lnTo>
                <a:lnTo>
                  <a:pt x="134" y="179"/>
                </a:lnTo>
                <a:lnTo>
                  <a:pt x="167" y="179"/>
                </a:lnTo>
                <a:lnTo>
                  <a:pt x="147" y="178"/>
                </a:lnTo>
                <a:lnTo>
                  <a:pt x="131" y="177"/>
                </a:lnTo>
                <a:lnTo>
                  <a:pt x="117" y="174"/>
                </a:lnTo>
                <a:lnTo>
                  <a:pt x="102" y="171"/>
                </a:lnTo>
                <a:lnTo>
                  <a:pt x="90" y="166"/>
                </a:lnTo>
                <a:lnTo>
                  <a:pt x="78" y="161"/>
                </a:lnTo>
                <a:lnTo>
                  <a:pt x="66" y="155"/>
                </a:lnTo>
                <a:lnTo>
                  <a:pt x="54" y="148"/>
                </a:lnTo>
                <a:lnTo>
                  <a:pt x="65" y="143"/>
                </a:lnTo>
                <a:lnTo>
                  <a:pt x="75" y="139"/>
                </a:lnTo>
                <a:lnTo>
                  <a:pt x="84" y="134"/>
                </a:lnTo>
                <a:lnTo>
                  <a:pt x="91" y="130"/>
                </a:lnTo>
                <a:lnTo>
                  <a:pt x="106" y="120"/>
                </a:lnTo>
                <a:lnTo>
                  <a:pt x="120" y="111"/>
                </a:lnTo>
                <a:lnTo>
                  <a:pt x="118" y="110"/>
                </a:lnTo>
                <a:lnTo>
                  <a:pt x="115" y="108"/>
                </a:lnTo>
                <a:lnTo>
                  <a:pt x="111" y="103"/>
                </a:lnTo>
                <a:lnTo>
                  <a:pt x="108" y="99"/>
                </a:lnTo>
                <a:lnTo>
                  <a:pt x="102" y="87"/>
                </a:lnTo>
                <a:lnTo>
                  <a:pt x="100" y="80"/>
                </a:lnTo>
                <a:lnTo>
                  <a:pt x="108" y="80"/>
                </a:lnTo>
                <a:lnTo>
                  <a:pt x="117" y="78"/>
                </a:lnTo>
                <a:lnTo>
                  <a:pt x="127" y="76"/>
                </a:lnTo>
                <a:lnTo>
                  <a:pt x="138" y="73"/>
                </a:lnTo>
                <a:lnTo>
                  <a:pt x="161" y="66"/>
                </a:lnTo>
                <a:lnTo>
                  <a:pt x="184" y="58"/>
                </a:lnTo>
                <a:lnTo>
                  <a:pt x="209" y="50"/>
                </a:lnTo>
                <a:lnTo>
                  <a:pt x="232" y="41"/>
                </a:lnTo>
                <a:lnTo>
                  <a:pt x="254" y="35"/>
                </a:lnTo>
                <a:lnTo>
                  <a:pt x="273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70" name="Freeform 522"/>
          <p:cNvSpPr>
            <a:spLocks/>
          </p:cNvSpPr>
          <p:nvPr>
            <p:custDataLst>
              <p:tags r:id="rId360"/>
            </p:custDataLst>
          </p:nvPr>
        </p:nvSpPr>
        <p:spPr bwMode="auto">
          <a:xfrm>
            <a:off x="6219825" y="1636713"/>
            <a:ext cx="31750" cy="55562"/>
          </a:xfrm>
          <a:custGeom>
            <a:avLst/>
            <a:gdLst>
              <a:gd name="T0" fmla="*/ 46 w 79"/>
              <a:gd name="T1" fmla="*/ 0 h 38"/>
              <a:gd name="T2" fmla="*/ 54 w 79"/>
              <a:gd name="T3" fmla="*/ 1 h 38"/>
              <a:gd name="T4" fmla="*/ 62 w 79"/>
              <a:gd name="T5" fmla="*/ 3 h 38"/>
              <a:gd name="T6" fmla="*/ 68 w 79"/>
              <a:gd name="T7" fmla="*/ 7 h 38"/>
              <a:gd name="T8" fmla="*/ 72 w 79"/>
              <a:gd name="T9" fmla="*/ 12 h 38"/>
              <a:gd name="T10" fmla="*/ 75 w 79"/>
              <a:gd name="T11" fmla="*/ 17 h 38"/>
              <a:gd name="T12" fmla="*/ 77 w 79"/>
              <a:gd name="T13" fmla="*/ 22 h 38"/>
              <a:gd name="T14" fmla="*/ 79 w 79"/>
              <a:gd name="T15" fmla="*/ 27 h 38"/>
              <a:gd name="T16" fmla="*/ 79 w 79"/>
              <a:gd name="T17" fmla="*/ 32 h 38"/>
              <a:gd name="T18" fmla="*/ 77 w 79"/>
              <a:gd name="T19" fmla="*/ 34 h 38"/>
              <a:gd name="T20" fmla="*/ 75 w 79"/>
              <a:gd name="T21" fmla="*/ 35 h 38"/>
              <a:gd name="T22" fmla="*/ 72 w 79"/>
              <a:gd name="T23" fmla="*/ 36 h 38"/>
              <a:gd name="T24" fmla="*/ 68 w 79"/>
              <a:gd name="T25" fmla="*/ 37 h 38"/>
              <a:gd name="T26" fmla="*/ 57 w 79"/>
              <a:gd name="T27" fmla="*/ 38 h 38"/>
              <a:gd name="T28" fmla="*/ 46 w 79"/>
              <a:gd name="T29" fmla="*/ 38 h 38"/>
              <a:gd name="T30" fmla="*/ 38 w 79"/>
              <a:gd name="T31" fmla="*/ 37 h 38"/>
              <a:gd name="T32" fmla="*/ 30 w 79"/>
              <a:gd name="T33" fmla="*/ 36 h 38"/>
              <a:gd name="T34" fmla="*/ 21 w 79"/>
              <a:gd name="T35" fmla="*/ 35 h 38"/>
              <a:gd name="T36" fmla="*/ 15 w 79"/>
              <a:gd name="T37" fmla="*/ 32 h 38"/>
              <a:gd name="T38" fmla="*/ 8 w 79"/>
              <a:gd name="T39" fmla="*/ 29 h 38"/>
              <a:gd name="T40" fmla="*/ 4 w 79"/>
              <a:gd name="T41" fmla="*/ 25 h 38"/>
              <a:gd name="T42" fmla="*/ 2 w 79"/>
              <a:gd name="T43" fmla="*/ 22 h 38"/>
              <a:gd name="T44" fmla="*/ 1 w 79"/>
              <a:gd name="T45" fmla="*/ 20 h 38"/>
              <a:gd name="T46" fmla="*/ 0 w 79"/>
              <a:gd name="T47" fmla="*/ 17 h 38"/>
              <a:gd name="T48" fmla="*/ 0 w 79"/>
              <a:gd name="T49" fmla="*/ 13 h 38"/>
              <a:gd name="T50" fmla="*/ 1 w 79"/>
              <a:gd name="T51" fmla="*/ 11 h 38"/>
              <a:gd name="T52" fmla="*/ 4 w 79"/>
              <a:gd name="T53" fmla="*/ 9 h 38"/>
              <a:gd name="T54" fmla="*/ 10 w 79"/>
              <a:gd name="T55" fmla="*/ 6 h 38"/>
              <a:gd name="T56" fmla="*/ 17 w 79"/>
              <a:gd name="T57" fmla="*/ 4 h 38"/>
              <a:gd name="T58" fmla="*/ 32 w 79"/>
              <a:gd name="T59" fmla="*/ 1 h 38"/>
              <a:gd name="T60" fmla="*/ 46 w 79"/>
              <a:gd name="T61" fmla="*/ 0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79" h="38">
                <a:moveTo>
                  <a:pt x="46" y="0"/>
                </a:moveTo>
                <a:lnTo>
                  <a:pt x="54" y="1"/>
                </a:lnTo>
                <a:lnTo>
                  <a:pt x="62" y="3"/>
                </a:lnTo>
                <a:lnTo>
                  <a:pt x="68" y="7"/>
                </a:lnTo>
                <a:lnTo>
                  <a:pt x="72" y="12"/>
                </a:lnTo>
                <a:lnTo>
                  <a:pt x="75" y="17"/>
                </a:lnTo>
                <a:lnTo>
                  <a:pt x="77" y="22"/>
                </a:lnTo>
                <a:lnTo>
                  <a:pt x="79" y="27"/>
                </a:lnTo>
                <a:lnTo>
                  <a:pt x="79" y="32"/>
                </a:lnTo>
                <a:lnTo>
                  <a:pt x="77" y="34"/>
                </a:lnTo>
                <a:lnTo>
                  <a:pt x="75" y="35"/>
                </a:lnTo>
                <a:lnTo>
                  <a:pt x="72" y="36"/>
                </a:lnTo>
                <a:lnTo>
                  <a:pt x="68" y="37"/>
                </a:lnTo>
                <a:lnTo>
                  <a:pt x="57" y="38"/>
                </a:lnTo>
                <a:lnTo>
                  <a:pt x="46" y="38"/>
                </a:lnTo>
                <a:lnTo>
                  <a:pt x="38" y="37"/>
                </a:lnTo>
                <a:lnTo>
                  <a:pt x="30" y="36"/>
                </a:lnTo>
                <a:lnTo>
                  <a:pt x="21" y="35"/>
                </a:lnTo>
                <a:lnTo>
                  <a:pt x="15" y="32"/>
                </a:lnTo>
                <a:lnTo>
                  <a:pt x="8" y="29"/>
                </a:lnTo>
                <a:lnTo>
                  <a:pt x="4" y="25"/>
                </a:lnTo>
                <a:lnTo>
                  <a:pt x="2" y="22"/>
                </a:lnTo>
                <a:lnTo>
                  <a:pt x="1" y="20"/>
                </a:lnTo>
                <a:lnTo>
                  <a:pt x="0" y="17"/>
                </a:lnTo>
                <a:lnTo>
                  <a:pt x="0" y="13"/>
                </a:lnTo>
                <a:lnTo>
                  <a:pt x="1" y="11"/>
                </a:lnTo>
                <a:lnTo>
                  <a:pt x="4" y="9"/>
                </a:lnTo>
                <a:lnTo>
                  <a:pt x="10" y="6"/>
                </a:lnTo>
                <a:lnTo>
                  <a:pt x="17" y="4"/>
                </a:lnTo>
                <a:lnTo>
                  <a:pt x="32" y="1"/>
                </a:lnTo>
                <a:lnTo>
                  <a:pt x="46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71" name="Freeform 523"/>
          <p:cNvSpPr>
            <a:spLocks/>
          </p:cNvSpPr>
          <p:nvPr>
            <p:custDataLst>
              <p:tags r:id="rId361"/>
            </p:custDataLst>
          </p:nvPr>
        </p:nvSpPr>
        <p:spPr bwMode="auto">
          <a:xfrm>
            <a:off x="8524875" y="1933575"/>
            <a:ext cx="196850" cy="268288"/>
          </a:xfrm>
          <a:custGeom>
            <a:avLst/>
            <a:gdLst>
              <a:gd name="T0" fmla="*/ 26 w 459"/>
              <a:gd name="T1" fmla="*/ 45 h 511"/>
              <a:gd name="T2" fmla="*/ 12 w 459"/>
              <a:gd name="T3" fmla="*/ 25 h 511"/>
              <a:gd name="T4" fmla="*/ 0 w 459"/>
              <a:gd name="T5" fmla="*/ 0 h 511"/>
              <a:gd name="T6" fmla="*/ 22 w 459"/>
              <a:gd name="T7" fmla="*/ 7 h 511"/>
              <a:gd name="T8" fmla="*/ 33 w 459"/>
              <a:gd name="T9" fmla="*/ 6 h 511"/>
              <a:gd name="T10" fmla="*/ 95 w 459"/>
              <a:gd name="T11" fmla="*/ 67 h 511"/>
              <a:gd name="T12" fmla="*/ 146 w 459"/>
              <a:gd name="T13" fmla="*/ 123 h 511"/>
              <a:gd name="T14" fmla="*/ 216 w 459"/>
              <a:gd name="T15" fmla="*/ 198 h 511"/>
              <a:gd name="T16" fmla="*/ 258 w 459"/>
              <a:gd name="T17" fmla="*/ 237 h 511"/>
              <a:gd name="T18" fmla="*/ 303 w 459"/>
              <a:gd name="T19" fmla="*/ 266 h 511"/>
              <a:gd name="T20" fmla="*/ 372 w 459"/>
              <a:gd name="T21" fmla="*/ 311 h 511"/>
              <a:gd name="T22" fmla="*/ 398 w 459"/>
              <a:gd name="T23" fmla="*/ 336 h 511"/>
              <a:gd name="T24" fmla="*/ 365 w 459"/>
              <a:gd name="T25" fmla="*/ 320 h 511"/>
              <a:gd name="T26" fmla="*/ 324 w 459"/>
              <a:gd name="T27" fmla="*/ 296 h 511"/>
              <a:gd name="T28" fmla="*/ 314 w 459"/>
              <a:gd name="T29" fmla="*/ 298 h 511"/>
              <a:gd name="T30" fmla="*/ 313 w 459"/>
              <a:gd name="T31" fmla="*/ 311 h 511"/>
              <a:gd name="T32" fmla="*/ 317 w 459"/>
              <a:gd name="T33" fmla="*/ 337 h 511"/>
              <a:gd name="T34" fmla="*/ 326 w 459"/>
              <a:gd name="T35" fmla="*/ 358 h 511"/>
              <a:gd name="T36" fmla="*/ 348 w 459"/>
              <a:gd name="T37" fmla="*/ 387 h 511"/>
              <a:gd name="T38" fmla="*/ 394 w 459"/>
              <a:gd name="T39" fmla="*/ 421 h 511"/>
              <a:gd name="T40" fmla="*/ 440 w 459"/>
              <a:gd name="T41" fmla="*/ 458 h 511"/>
              <a:gd name="T42" fmla="*/ 448 w 459"/>
              <a:gd name="T43" fmla="*/ 476 h 511"/>
              <a:gd name="T44" fmla="*/ 428 w 459"/>
              <a:gd name="T45" fmla="*/ 469 h 511"/>
              <a:gd name="T46" fmla="*/ 392 w 459"/>
              <a:gd name="T47" fmla="*/ 462 h 511"/>
              <a:gd name="T48" fmla="*/ 393 w 459"/>
              <a:gd name="T49" fmla="*/ 494 h 511"/>
              <a:gd name="T50" fmla="*/ 398 w 459"/>
              <a:gd name="T51" fmla="*/ 511 h 511"/>
              <a:gd name="T52" fmla="*/ 388 w 459"/>
              <a:gd name="T53" fmla="*/ 492 h 511"/>
              <a:gd name="T54" fmla="*/ 363 w 459"/>
              <a:gd name="T55" fmla="*/ 466 h 511"/>
              <a:gd name="T56" fmla="*/ 343 w 459"/>
              <a:gd name="T57" fmla="*/ 445 h 511"/>
              <a:gd name="T58" fmla="*/ 339 w 459"/>
              <a:gd name="T59" fmla="*/ 431 h 511"/>
              <a:gd name="T60" fmla="*/ 328 w 459"/>
              <a:gd name="T61" fmla="*/ 411 h 511"/>
              <a:gd name="T62" fmla="*/ 310 w 459"/>
              <a:gd name="T63" fmla="*/ 384 h 511"/>
              <a:gd name="T64" fmla="*/ 298 w 459"/>
              <a:gd name="T65" fmla="*/ 367 h 511"/>
              <a:gd name="T66" fmla="*/ 280 w 459"/>
              <a:gd name="T67" fmla="*/ 358 h 511"/>
              <a:gd name="T68" fmla="*/ 264 w 459"/>
              <a:gd name="T69" fmla="*/ 343 h 511"/>
              <a:gd name="T70" fmla="*/ 249 w 459"/>
              <a:gd name="T71" fmla="*/ 314 h 511"/>
              <a:gd name="T72" fmla="*/ 245 w 459"/>
              <a:gd name="T73" fmla="*/ 293 h 511"/>
              <a:gd name="T74" fmla="*/ 234 w 459"/>
              <a:gd name="T75" fmla="*/ 281 h 511"/>
              <a:gd name="T76" fmla="*/ 194 w 459"/>
              <a:gd name="T77" fmla="*/ 244 h 511"/>
              <a:gd name="T78" fmla="*/ 171 w 459"/>
              <a:gd name="T79" fmla="*/ 220 h 511"/>
              <a:gd name="T80" fmla="*/ 163 w 459"/>
              <a:gd name="T81" fmla="*/ 203 h 511"/>
              <a:gd name="T82" fmla="*/ 154 w 459"/>
              <a:gd name="T83" fmla="*/ 187 h 511"/>
              <a:gd name="T84" fmla="*/ 115 w 459"/>
              <a:gd name="T85" fmla="*/ 155 h 511"/>
              <a:gd name="T86" fmla="*/ 70 w 459"/>
              <a:gd name="T87" fmla="*/ 130 h 511"/>
              <a:gd name="T88" fmla="*/ 47 w 459"/>
              <a:gd name="T89" fmla="*/ 110 h 511"/>
              <a:gd name="T90" fmla="*/ 38 w 459"/>
              <a:gd name="T91" fmla="*/ 93 h 511"/>
              <a:gd name="T92" fmla="*/ 34 w 459"/>
              <a:gd name="T93" fmla="*/ 75 h 5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459" h="511">
                <a:moveTo>
                  <a:pt x="33" y="68"/>
                </a:moveTo>
                <a:lnTo>
                  <a:pt x="29" y="56"/>
                </a:lnTo>
                <a:lnTo>
                  <a:pt x="26" y="45"/>
                </a:lnTo>
                <a:lnTo>
                  <a:pt x="22" y="38"/>
                </a:lnTo>
                <a:lnTo>
                  <a:pt x="16" y="31"/>
                </a:lnTo>
                <a:lnTo>
                  <a:pt x="12" y="25"/>
                </a:lnTo>
                <a:lnTo>
                  <a:pt x="6" y="18"/>
                </a:lnTo>
                <a:lnTo>
                  <a:pt x="3" y="10"/>
                </a:lnTo>
                <a:lnTo>
                  <a:pt x="0" y="0"/>
                </a:lnTo>
                <a:lnTo>
                  <a:pt x="6" y="2"/>
                </a:lnTo>
                <a:lnTo>
                  <a:pt x="16" y="5"/>
                </a:lnTo>
                <a:lnTo>
                  <a:pt x="22" y="7"/>
                </a:lnTo>
                <a:lnTo>
                  <a:pt x="26" y="8"/>
                </a:lnTo>
                <a:lnTo>
                  <a:pt x="29" y="8"/>
                </a:lnTo>
                <a:lnTo>
                  <a:pt x="33" y="6"/>
                </a:lnTo>
                <a:lnTo>
                  <a:pt x="59" y="31"/>
                </a:lnTo>
                <a:lnTo>
                  <a:pt x="80" y="50"/>
                </a:lnTo>
                <a:lnTo>
                  <a:pt x="95" y="67"/>
                </a:lnTo>
                <a:lnTo>
                  <a:pt x="107" y="80"/>
                </a:lnTo>
                <a:lnTo>
                  <a:pt x="125" y="102"/>
                </a:lnTo>
                <a:lnTo>
                  <a:pt x="146" y="123"/>
                </a:lnTo>
                <a:lnTo>
                  <a:pt x="172" y="149"/>
                </a:lnTo>
                <a:lnTo>
                  <a:pt x="195" y="175"/>
                </a:lnTo>
                <a:lnTo>
                  <a:pt x="216" y="198"/>
                </a:lnTo>
                <a:lnTo>
                  <a:pt x="239" y="222"/>
                </a:lnTo>
                <a:lnTo>
                  <a:pt x="248" y="230"/>
                </a:lnTo>
                <a:lnTo>
                  <a:pt x="258" y="237"/>
                </a:lnTo>
                <a:lnTo>
                  <a:pt x="269" y="245"/>
                </a:lnTo>
                <a:lnTo>
                  <a:pt x="280" y="252"/>
                </a:lnTo>
                <a:lnTo>
                  <a:pt x="303" y="266"/>
                </a:lnTo>
                <a:lnTo>
                  <a:pt x="327" y="281"/>
                </a:lnTo>
                <a:lnTo>
                  <a:pt x="350" y="295"/>
                </a:lnTo>
                <a:lnTo>
                  <a:pt x="372" y="311"/>
                </a:lnTo>
                <a:lnTo>
                  <a:pt x="382" y="318"/>
                </a:lnTo>
                <a:lnTo>
                  <a:pt x="391" y="327"/>
                </a:lnTo>
                <a:lnTo>
                  <a:pt x="398" y="336"/>
                </a:lnTo>
                <a:lnTo>
                  <a:pt x="405" y="345"/>
                </a:lnTo>
                <a:lnTo>
                  <a:pt x="387" y="334"/>
                </a:lnTo>
                <a:lnTo>
                  <a:pt x="365" y="320"/>
                </a:lnTo>
                <a:lnTo>
                  <a:pt x="343" y="306"/>
                </a:lnTo>
                <a:lnTo>
                  <a:pt x="326" y="295"/>
                </a:lnTo>
                <a:lnTo>
                  <a:pt x="324" y="296"/>
                </a:lnTo>
                <a:lnTo>
                  <a:pt x="318" y="296"/>
                </a:lnTo>
                <a:lnTo>
                  <a:pt x="316" y="297"/>
                </a:lnTo>
                <a:lnTo>
                  <a:pt x="314" y="298"/>
                </a:lnTo>
                <a:lnTo>
                  <a:pt x="313" y="300"/>
                </a:lnTo>
                <a:lnTo>
                  <a:pt x="311" y="301"/>
                </a:lnTo>
                <a:lnTo>
                  <a:pt x="313" y="311"/>
                </a:lnTo>
                <a:lnTo>
                  <a:pt x="313" y="320"/>
                </a:lnTo>
                <a:lnTo>
                  <a:pt x="315" y="328"/>
                </a:lnTo>
                <a:lnTo>
                  <a:pt x="317" y="337"/>
                </a:lnTo>
                <a:lnTo>
                  <a:pt x="319" y="344"/>
                </a:lnTo>
                <a:lnTo>
                  <a:pt x="322" y="351"/>
                </a:lnTo>
                <a:lnTo>
                  <a:pt x="326" y="358"/>
                </a:lnTo>
                <a:lnTo>
                  <a:pt x="329" y="364"/>
                </a:lnTo>
                <a:lnTo>
                  <a:pt x="338" y="375"/>
                </a:lnTo>
                <a:lnTo>
                  <a:pt x="348" y="387"/>
                </a:lnTo>
                <a:lnTo>
                  <a:pt x="359" y="396"/>
                </a:lnTo>
                <a:lnTo>
                  <a:pt x="370" y="405"/>
                </a:lnTo>
                <a:lnTo>
                  <a:pt x="394" y="421"/>
                </a:lnTo>
                <a:lnTo>
                  <a:pt x="418" y="438"/>
                </a:lnTo>
                <a:lnTo>
                  <a:pt x="430" y="448"/>
                </a:lnTo>
                <a:lnTo>
                  <a:pt x="440" y="458"/>
                </a:lnTo>
                <a:lnTo>
                  <a:pt x="450" y="468"/>
                </a:lnTo>
                <a:lnTo>
                  <a:pt x="459" y="480"/>
                </a:lnTo>
                <a:lnTo>
                  <a:pt x="448" y="476"/>
                </a:lnTo>
                <a:lnTo>
                  <a:pt x="437" y="473"/>
                </a:lnTo>
                <a:lnTo>
                  <a:pt x="432" y="471"/>
                </a:lnTo>
                <a:lnTo>
                  <a:pt x="428" y="469"/>
                </a:lnTo>
                <a:lnTo>
                  <a:pt x="426" y="466"/>
                </a:lnTo>
                <a:lnTo>
                  <a:pt x="425" y="462"/>
                </a:lnTo>
                <a:lnTo>
                  <a:pt x="392" y="462"/>
                </a:lnTo>
                <a:lnTo>
                  <a:pt x="392" y="475"/>
                </a:lnTo>
                <a:lnTo>
                  <a:pt x="393" y="488"/>
                </a:lnTo>
                <a:lnTo>
                  <a:pt x="393" y="494"/>
                </a:lnTo>
                <a:lnTo>
                  <a:pt x="395" y="501"/>
                </a:lnTo>
                <a:lnTo>
                  <a:pt x="396" y="506"/>
                </a:lnTo>
                <a:lnTo>
                  <a:pt x="398" y="511"/>
                </a:lnTo>
                <a:lnTo>
                  <a:pt x="395" y="505"/>
                </a:lnTo>
                <a:lnTo>
                  <a:pt x="392" y="498"/>
                </a:lnTo>
                <a:lnTo>
                  <a:pt x="388" y="492"/>
                </a:lnTo>
                <a:lnTo>
                  <a:pt x="383" y="486"/>
                </a:lnTo>
                <a:lnTo>
                  <a:pt x="374" y="476"/>
                </a:lnTo>
                <a:lnTo>
                  <a:pt x="363" y="466"/>
                </a:lnTo>
                <a:lnTo>
                  <a:pt x="354" y="458"/>
                </a:lnTo>
                <a:lnTo>
                  <a:pt x="346" y="449"/>
                </a:lnTo>
                <a:lnTo>
                  <a:pt x="343" y="445"/>
                </a:lnTo>
                <a:lnTo>
                  <a:pt x="340" y="439"/>
                </a:lnTo>
                <a:lnTo>
                  <a:pt x="339" y="435"/>
                </a:lnTo>
                <a:lnTo>
                  <a:pt x="339" y="431"/>
                </a:lnTo>
                <a:lnTo>
                  <a:pt x="337" y="425"/>
                </a:lnTo>
                <a:lnTo>
                  <a:pt x="333" y="419"/>
                </a:lnTo>
                <a:lnTo>
                  <a:pt x="328" y="411"/>
                </a:lnTo>
                <a:lnTo>
                  <a:pt x="321" y="403"/>
                </a:lnTo>
                <a:lnTo>
                  <a:pt x="316" y="394"/>
                </a:lnTo>
                <a:lnTo>
                  <a:pt x="310" y="384"/>
                </a:lnTo>
                <a:lnTo>
                  <a:pt x="307" y="376"/>
                </a:lnTo>
                <a:lnTo>
                  <a:pt x="305" y="369"/>
                </a:lnTo>
                <a:lnTo>
                  <a:pt x="298" y="367"/>
                </a:lnTo>
                <a:lnTo>
                  <a:pt x="292" y="365"/>
                </a:lnTo>
                <a:lnTo>
                  <a:pt x="285" y="362"/>
                </a:lnTo>
                <a:lnTo>
                  <a:pt x="280" y="358"/>
                </a:lnTo>
                <a:lnTo>
                  <a:pt x="274" y="353"/>
                </a:lnTo>
                <a:lnTo>
                  <a:pt x="269" y="348"/>
                </a:lnTo>
                <a:lnTo>
                  <a:pt x="264" y="343"/>
                </a:lnTo>
                <a:lnTo>
                  <a:pt x="261" y="337"/>
                </a:lnTo>
                <a:lnTo>
                  <a:pt x="254" y="325"/>
                </a:lnTo>
                <a:lnTo>
                  <a:pt x="249" y="314"/>
                </a:lnTo>
                <a:lnTo>
                  <a:pt x="247" y="304"/>
                </a:lnTo>
                <a:lnTo>
                  <a:pt x="246" y="295"/>
                </a:lnTo>
                <a:lnTo>
                  <a:pt x="245" y="293"/>
                </a:lnTo>
                <a:lnTo>
                  <a:pt x="242" y="289"/>
                </a:lnTo>
                <a:lnTo>
                  <a:pt x="239" y="285"/>
                </a:lnTo>
                <a:lnTo>
                  <a:pt x="234" y="281"/>
                </a:lnTo>
                <a:lnTo>
                  <a:pt x="221" y="269"/>
                </a:lnTo>
                <a:lnTo>
                  <a:pt x="208" y="257"/>
                </a:lnTo>
                <a:lnTo>
                  <a:pt x="194" y="244"/>
                </a:lnTo>
                <a:lnTo>
                  <a:pt x="181" y="232"/>
                </a:lnTo>
                <a:lnTo>
                  <a:pt x="175" y="226"/>
                </a:lnTo>
                <a:lnTo>
                  <a:pt x="171" y="220"/>
                </a:lnTo>
                <a:lnTo>
                  <a:pt x="168" y="214"/>
                </a:lnTo>
                <a:lnTo>
                  <a:pt x="165" y="209"/>
                </a:lnTo>
                <a:lnTo>
                  <a:pt x="163" y="203"/>
                </a:lnTo>
                <a:lnTo>
                  <a:pt x="161" y="197"/>
                </a:lnTo>
                <a:lnTo>
                  <a:pt x="158" y="192"/>
                </a:lnTo>
                <a:lnTo>
                  <a:pt x="154" y="187"/>
                </a:lnTo>
                <a:lnTo>
                  <a:pt x="146" y="178"/>
                </a:lnTo>
                <a:lnTo>
                  <a:pt x="137" y="170"/>
                </a:lnTo>
                <a:lnTo>
                  <a:pt x="115" y="155"/>
                </a:lnTo>
                <a:lnTo>
                  <a:pt x="92" y="143"/>
                </a:lnTo>
                <a:lnTo>
                  <a:pt x="81" y="136"/>
                </a:lnTo>
                <a:lnTo>
                  <a:pt x="70" y="130"/>
                </a:lnTo>
                <a:lnTo>
                  <a:pt x="60" y="122"/>
                </a:lnTo>
                <a:lnTo>
                  <a:pt x="51" y="114"/>
                </a:lnTo>
                <a:lnTo>
                  <a:pt x="47" y="110"/>
                </a:lnTo>
                <a:lnTo>
                  <a:pt x="44" y="104"/>
                </a:lnTo>
                <a:lnTo>
                  <a:pt x="40" y="99"/>
                </a:lnTo>
                <a:lnTo>
                  <a:pt x="38" y="93"/>
                </a:lnTo>
                <a:lnTo>
                  <a:pt x="36" y="88"/>
                </a:lnTo>
                <a:lnTo>
                  <a:pt x="34" y="81"/>
                </a:lnTo>
                <a:lnTo>
                  <a:pt x="34" y="75"/>
                </a:lnTo>
                <a:lnTo>
                  <a:pt x="33" y="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grpSp>
        <p:nvGrpSpPr>
          <p:cNvPr id="2572" name="Group 524"/>
          <p:cNvGrpSpPr>
            <a:grpSpLocks/>
          </p:cNvGrpSpPr>
          <p:nvPr>
            <p:custDataLst>
              <p:tags r:id="rId362"/>
            </p:custDataLst>
          </p:nvPr>
        </p:nvGrpSpPr>
        <p:grpSpPr bwMode="auto">
          <a:xfrm>
            <a:off x="7315201" y="1889126"/>
            <a:ext cx="671513" cy="384175"/>
            <a:chOff x="4115" y="1551"/>
            <a:chExt cx="504" cy="244"/>
          </a:xfrm>
        </p:grpSpPr>
        <p:sp>
          <p:nvSpPr>
            <p:cNvPr id="2573" name="Freeform 525"/>
            <p:cNvSpPr>
              <a:spLocks/>
            </p:cNvSpPr>
            <p:nvPr/>
          </p:nvSpPr>
          <p:spPr bwMode="auto">
            <a:xfrm>
              <a:off x="4540" y="1551"/>
              <a:ext cx="79" cy="86"/>
            </a:xfrm>
            <a:custGeom>
              <a:avLst/>
              <a:gdLst>
                <a:gd name="T0" fmla="*/ 13 w 240"/>
                <a:gd name="T1" fmla="*/ 247 h 259"/>
                <a:gd name="T2" fmla="*/ 79 w 240"/>
                <a:gd name="T3" fmla="*/ 259 h 259"/>
                <a:gd name="T4" fmla="*/ 120 w 240"/>
                <a:gd name="T5" fmla="*/ 240 h 259"/>
                <a:gd name="T6" fmla="*/ 133 w 240"/>
                <a:gd name="T7" fmla="*/ 210 h 259"/>
                <a:gd name="T8" fmla="*/ 192 w 240"/>
                <a:gd name="T9" fmla="*/ 161 h 259"/>
                <a:gd name="T10" fmla="*/ 212 w 240"/>
                <a:gd name="T11" fmla="*/ 111 h 259"/>
                <a:gd name="T12" fmla="*/ 240 w 240"/>
                <a:gd name="T13" fmla="*/ 26 h 259"/>
                <a:gd name="T14" fmla="*/ 212 w 240"/>
                <a:gd name="T15" fmla="*/ 0 h 259"/>
                <a:gd name="T16" fmla="*/ 206 w 240"/>
                <a:gd name="T17" fmla="*/ 32 h 259"/>
                <a:gd name="T18" fmla="*/ 199 w 240"/>
                <a:gd name="T19" fmla="*/ 74 h 259"/>
                <a:gd name="T20" fmla="*/ 166 w 240"/>
                <a:gd name="T21" fmla="*/ 105 h 259"/>
                <a:gd name="T22" fmla="*/ 133 w 240"/>
                <a:gd name="T23" fmla="*/ 149 h 259"/>
                <a:gd name="T24" fmla="*/ 113 w 240"/>
                <a:gd name="T25" fmla="*/ 179 h 259"/>
                <a:gd name="T26" fmla="*/ 93 w 240"/>
                <a:gd name="T27" fmla="*/ 216 h 259"/>
                <a:gd name="T28" fmla="*/ 20 w 240"/>
                <a:gd name="T29" fmla="*/ 222 h 259"/>
                <a:gd name="T30" fmla="*/ 0 w 240"/>
                <a:gd name="T31" fmla="*/ 222 h 259"/>
                <a:gd name="T32" fmla="*/ 13 w 240"/>
                <a:gd name="T33" fmla="*/ 247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0" h="259">
                  <a:moveTo>
                    <a:pt x="13" y="247"/>
                  </a:moveTo>
                  <a:lnTo>
                    <a:pt x="79" y="259"/>
                  </a:lnTo>
                  <a:lnTo>
                    <a:pt x="120" y="240"/>
                  </a:lnTo>
                  <a:lnTo>
                    <a:pt x="133" y="210"/>
                  </a:lnTo>
                  <a:lnTo>
                    <a:pt x="192" y="161"/>
                  </a:lnTo>
                  <a:lnTo>
                    <a:pt x="212" y="111"/>
                  </a:lnTo>
                  <a:lnTo>
                    <a:pt x="240" y="26"/>
                  </a:lnTo>
                  <a:lnTo>
                    <a:pt x="212" y="0"/>
                  </a:lnTo>
                  <a:lnTo>
                    <a:pt x="206" y="32"/>
                  </a:lnTo>
                  <a:lnTo>
                    <a:pt x="199" y="74"/>
                  </a:lnTo>
                  <a:lnTo>
                    <a:pt x="166" y="105"/>
                  </a:lnTo>
                  <a:lnTo>
                    <a:pt x="133" y="149"/>
                  </a:lnTo>
                  <a:lnTo>
                    <a:pt x="113" y="179"/>
                  </a:lnTo>
                  <a:lnTo>
                    <a:pt x="93" y="216"/>
                  </a:lnTo>
                  <a:lnTo>
                    <a:pt x="20" y="222"/>
                  </a:lnTo>
                  <a:lnTo>
                    <a:pt x="0" y="222"/>
                  </a:lnTo>
                  <a:lnTo>
                    <a:pt x="13" y="24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74" name="Freeform 526"/>
            <p:cNvSpPr>
              <a:spLocks/>
            </p:cNvSpPr>
            <p:nvPr/>
          </p:nvSpPr>
          <p:spPr bwMode="auto">
            <a:xfrm>
              <a:off x="4115" y="1761"/>
              <a:ext cx="84" cy="34"/>
            </a:xfrm>
            <a:custGeom>
              <a:avLst/>
              <a:gdLst>
                <a:gd name="T0" fmla="*/ 33 w 259"/>
                <a:gd name="T1" fmla="*/ 104 h 104"/>
                <a:gd name="T2" fmla="*/ 26 w 259"/>
                <a:gd name="T3" fmla="*/ 86 h 104"/>
                <a:gd name="T4" fmla="*/ 52 w 259"/>
                <a:gd name="T5" fmla="*/ 62 h 104"/>
                <a:gd name="T6" fmla="*/ 72 w 259"/>
                <a:gd name="T7" fmla="*/ 49 h 104"/>
                <a:gd name="T8" fmla="*/ 126 w 259"/>
                <a:gd name="T9" fmla="*/ 43 h 104"/>
                <a:gd name="T10" fmla="*/ 172 w 259"/>
                <a:gd name="T11" fmla="*/ 43 h 104"/>
                <a:gd name="T12" fmla="*/ 246 w 259"/>
                <a:gd name="T13" fmla="*/ 31 h 104"/>
                <a:gd name="T14" fmla="*/ 259 w 259"/>
                <a:gd name="T15" fmla="*/ 7 h 104"/>
                <a:gd name="T16" fmla="*/ 246 w 259"/>
                <a:gd name="T17" fmla="*/ 0 h 104"/>
                <a:gd name="T18" fmla="*/ 205 w 259"/>
                <a:gd name="T19" fmla="*/ 13 h 104"/>
                <a:gd name="T20" fmla="*/ 152 w 259"/>
                <a:gd name="T21" fmla="*/ 7 h 104"/>
                <a:gd name="T22" fmla="*/ 106 w 259"/>
                <a:gd name="T23" fmla="*/ 13 h 104"/>
                <a:gd name="T24" fmla="*/ 52 w 259"/>
                <a:gd name="T25" fmla="*/ 19 h 104"/>
                <a:gd name="T26" fmla="*/ 26 w 259"/>
                <a:gd name="T27" fmla="*/ 43 h 104"/>
                <a:gd name="T28" fmla="*/ 0 w 259"/>
                <a:gd name="T29" fmla="*/ 68 h 104"/>
                <a:gd name="T30" fmla="*/ 0 w 259"/>
                <a:gd name="T31" fmla="*/ 104 h 104"/>
                <a:gd name="T32" fmla="*/ 33 w 259"/>
                <a:gd name="T3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9" h="104">
                  <a:moveTo>
                    <a:pt x="33" y="104"/>
                  </a:moveTo>
                  <a:lnTo>
                    <a:pt x="26" y="86"/>
                  </a:lnTo>
                  <a:lnTo>
                    <a:pt x="52" y="62"/>
                  </a:lnTo>
                  <a:lnTo>
                    <a:pt x="72" y="49"/>
                  </a:lnTo>
                  <a:lnTo>
                    <a:pt x="126" y="43"/>
                  </a:lnTo>
                  <a:lnTo>
                    <a:pt x="172" y="43"/>
                  </a:lnTo>
                  <a:lnTo>
                    <a:pt x="246" y="31"/>
                  </a:lnTo>
                  <a:lnTo>
                    <a:pt x="259" y="7"/>
                  </a:lnTo>
                  <a:lnTo>
                    <a:pt x="246" y="0"/>
                  </a:lnTo>
                  <a:lnTo>
                    <a:pt x="205" y="13"/>
                  </a:lnTo>
                  <a:lnTo>
                    <a:pt x="152" y="7"/>
                  </a:lnTo>
                  <a:lnTo>
                    <a:pt x="106" y="13"/>
                  </a:lnTo>
                  <a:lnTo>
                    <a:pt x="52" y="19"/>
                  </a:lnTo>
                  <a:lnTo>
                    <a:pt x="26" y="43"/>
                  </a:lnTo>
                  <a:lnTo>
                    <a:pt x="0" y="68"/>
                  </a:lnTo>
                  <a:lnTo>
                    <a:pt x="0" y="104"/>
                  </a:lnTo>
                  <a:lnTo>
                    <a:pt x="33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2575" name="Freeform 527"/>
          <p:cNvSpPr>
            <a:spLocks/>
          </p:cNvSpPr>
          <p:nvPr>
            <p:custDataLst>
              <p:tags r:id="rId363"/>
            </p:custDataLst>
          </p:nvPr>
        </p:nvSpPr>
        <p:spPr bwMode="auto">
          <a:xfrm>
            <a:off x="6372226" y="2638426"/>
            <a:ext cx="530225" cy="511175"/>
          </a:xfrm>
          <a:custGeom>
            <a:avLst/>
            <a:gdLst>
              <a:gd name="T0" fmla="*/ 932 w 1227"/>
              <a:gd name="T1" fmla="*/ 466 h 979"/>
              <a:gd name="T2" fmla="*/ 932 w 1227"/>
              <a:gd name="T3" fmla="*/ 442 h 979"/>
              <a:gd name="T4" fmla="*/ 930 w 1227"/>
              <a:gd name="T5" fmla="*/ 412 h 979"/>
              <a:gd name="T6" fmla="*/ 908 w 1227"/>
              <a:gd name="T7" fmla="*/ 385 h 979"/>
              <a:gd name="T8" fmla="*/ 899 w 1227"/>
              <a:gd name="T9" fmla="*/ 367 h 979"/>
              <a:gd name="T10" fmla="*/ 817 w 1227"/>
              <a:gd name="T11" fmla="*/ 312 h 979"/>
              <a:gd name="T12" fmla="*/ 759 w 1227"/>
              <a:gd name="T13" fmla="*/ 263 h 979"/>
              <a:gd name="T14" fmla="*/ 752 w 1227"/>
              <a:gd name="T15" fmla="*/ 229 h 979"/>
              <a:gd name="T16" fmla="*/ 726 w 1227"/>
              <a:gd name="T17" fmla="*/ 218 h 979"/>
              <a:gd name="T18" fmla="*/ 695 w 1227"/>
              <a:gd name="T19" fmla="*/ 207 h 979"/>
              <a:gd name="T20" fmla="*/ 638 w 1227"/>
              <a:gd name="T21" fmla="*/ 196 h 979"/>
              <a:gd name="T22" fmla="*/ 596 w 1227"/>
              <a:gd name="T23" fmla="*/ 201 h 979"/>
              <a:gd name="T24" fmla="*/ 570 w 1227"/>
              <a:gd name="T25" fmla="*/ 204 h 979"/>
              <a:gd name="T26" fmla="*/ 530 w 1227"/>
              <a:gd name="T27" fmla="*/ 195 h 979"/>
              <a:gd name="T28" fmla="*/ 505 w 1227"/>
              <a:gd name="T29" fmla="*/ 179 h 979"/>
              <a:gd name="T30" fmla="*/ 483 w 1227"/>
              <a:gd name="T31" fmla="*/ 128 h 979"/>
              <a:gd name="T32" fmla="*/ 465 w 1227"/>
              <a:gd name="T33" fmla="*/ 103 h 979"/>
              <a:gd name="T34" fmla="*/ 432 w 1227"/>
              <a:gd name="T35" fmla="*/ 81 h 979"/>
              <a:gd name="T36" fmla="*/ 365 w 1227"/>
              <a:gd name="T37" fmla="*/ 61 h 979"/>
              <a:gd name="T38" fmla="*/ 303 w 1227"/>
              <a:gd name="T39" fmla="*/ 32 h 979"/>
              <a:gd name="T40" fmla="*/ 214 w 1227"/>
              <a:gd name="T41" fmla="*/ 10 h 979"/>
              <a:gd name="T42" fmla="*/ 166 w 1227"/>
              <a:gd name="T43" fmla="*/ 38 h 979"/>
              <a:gd name="T44" fmla="*/ 151 w 1227"/>
              <a:gd name="T45" fmla="*/ 61 h 979"/>
              <a:gd name="T46" fmla="*/ 153 w 1227"/>
              <a:gd name="T47" fmla="*/ 90 h 979"/>
              <a:gd name="T48" fmla="*/ 169 w 1227"/>
              <a:gd name="T49" fmla="*/ 118 h 979"/>
              <a:gd name="T50" fmla="*/ 151 w 1227"/>
              <a:gd name="T51" fmla="*/ 150 h 979"/>
              <a:gd name="T52" fmla="*/ 95 w 1227"/>
              <a:gd name="T53" fmla="*/ 186 h 979"/>
              <a:gd name="T54" fmla="*/ 54 w 1227"/>
              <a:gd name="T55" fmla="*/ 190 h 979"/>
              <a:gd name="T56" fmla="*/ 9 w 1227"/>
              <a:gd name="T57" fmla="*/ 183 h 979"/>
              <a:gd name="T58" fmla="*/ 0 w 1227"/>
              <a:gd name="T59" fmla="*/ 236 h 979"/>
              <a:gd name="T60" fmla="*/ 9 w 1227"/>
              <a:gd name="T61" fmla="*/ 269 h 979"/>
              <a:gd name="T62" fmla="*/ 25 w 1227"/>
              <a:gd name="T63" fmla="*/ 282 h 979"/>
              <a:gd name="T64" fmla="*/ 40 w 1227"/>
              <a:gd name="T65" fmla="*/ 307 h 979"/>
              <a:gd name="T66" fmla="*/ 83 w 1227"/>
              <a:gd name="T67" fmla="*/ 364 h 979"/>
              <a:gd name="T68" fmla="*/ 102 w 1227"/>
              <a:gd name="T69" fmla="*/ 414 h 979"/>
              <a:gd name="T70" fmla="*/ 121 w 1227"/>
              <a:gd name="T71" fmla="*/ 427 h 979"/>
              <a:gd name="T72" fmla="*/ 133 w 1227"/>
              <a:gd name="T73" fmla="*/ 438 h 979"/>
              <a:gd name="T74" fmla="*/ 148 w 1227"/>
              <a:gd name="T75" fmla="*/ 469 h 979"/>
              <a:gd name="T76" fmla="*/ 224 w 1227"/>
              <a:gd name="T77" fmla="*/ 546 h 979"/>
              <a:gd name="T78" fmla="*/ 249 w 1227"/>
              <a:gd name="T79" fmla="*/ 585 h 979"/>
              <a:gd name="T80" fmla="*/ 256 w 1227"/>
              <a:gd name="T81" fmla="*/ 624 h 979"/>
              <a:gd name="T82" fmla="*/ 266 w 1227"/>
              <a:gd name="T83" fmla="*/ 659 h 979"/>
              <a:gd name="T84" fmla="*/ 299 w 1227"/>
              <a:gd name="T85" fmla="*/ 701 h 979"/>
              <a:gd name="T86" fmla="*/ 361 w 1227"/>
              <a:gd name="T87" fmla="*/ 761 h 979"/>
              <a:gd name="T88" fmla="*/ 388 w 1227"/>
              <a:gd name="T89" fmla="*/ 814 h 979"/>
              <a:gd name="T90" fmla="*/ 425 w 1227"/>
              <a:gd name="T91" fmla="*/ 867 h 979"/>
              <a:gd name="T92" fmla="*/ 483 w 1227"/>
              <a:gd name="T93" fmla="*/ 938 h 979"/>
              <a:gd name="T94" fmla="*/ 528 w 1227"/>
              <a:gd name="T95" fmla="*/ 979 h 979"/>
              <a:gd name="T96" fmla="*/ 543 w 1227"/>
              <a:gd name="T97" fmla="*/ 953 h 979"/>
              <a:gd name="T98" fmla="*/ 546 w 1227"/>
              <a:gd name="T99" fmla="*/ 909 h 979"/>
              <a:gd name="T100" fmla="*/ 570 w 1227"/>
              <a:gd name="T101" fmla="*/ 896 h 979"/>
              <a:gd name="T102" fmla="*/ 605 w 1227"/>
              <a:gd name="T103" fmla="*/ 895 h 979"/>
              <a:gd name="T104" fmla="*/ 660 w 1227"/>
              <a:gd name="T105" fmla="*/ 909 h 979"/>
              <a:gd name="T106" fmla="*/ 708 w 1227"/>
              <a:gd name="T107" fmla="*/ 943 h 979"/>
              <a:gd name="T108" fmla="*/ 787 w 1227"/>
              <a:gd name="T109" fmla="*/ 838 h 979"/>
              <a:gd name="T110" fmla="*/ 1199 w 1227"/>
              <a:gd name="T111" fmla="*/ 567 h 979"/>
              <a:gd name="T112" fmla="*/ 940 w 1227"/>
              <a:gd name="T113" fmla="*/ 468 h 9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227" h="979">
                <a:moveTo>
                  <a:pt x="940" y="468"/>
                </a:moveTo>
                <a:lnTo>
                  <a:pt x="937" y="468"/>
                </a:lnTo>
                <a:lnTo>
                  <a:pt x="935" y="467"/>
                </a:lnTo>
                <a:lnTo>
                  <a:pt x="932" y="466"/>
                </a:lnTo>
                <a:lnTo>
                  <a:pt x="931" y="465"/>
                </a:lnTo>
                <a:lnTo>
                  <a:pt x="930" y="461"/>
                </a:lnTo>
                <a:lnTo>
                  <a:pt x="930" y="456"/>
                </a:lnTo>
                <a:lnTo>
                  <a:pt x="932" y="442"/>
                </a:lnTo>
                <a:lnTo>
                  <a:pt x="933" y="425"/>
                </a:lnTo>
                <a:lnTo>
                  <a:pt x="933" y="420"/>
                </a:lnTo>
                <a:lnTo>
                  <a:pt x="932" y="416"/>
                </a:lnTo>
                <a:lnTo>
                  <a:pt x="930" y="412"/>
                </a:lnTo>
                <a:lnTo>
                  <a:pt x="928" y="407"/>
                </a:lnTo>
                <a:lnTo>
                  <a:pt x="921" y="400"/>
                </a:lnTo>
                <a:lnTo>
                  <a:pt x="915" y="392"/>
                </a:lnTo>
                <a:lnTo>
                  <a:pt x="908" y="385"/>
                </a:lnTo>
                <a:lnTo>
                  <a:pt x="903" y="378"/>
                </a:lnTo>
                <a:lnTo>
                  <a:pt x="902" y="373"/>
                </a:lnTo>
                <a:lnTo>
                  <a:pt x="901" y="370"/>
                </a:lnTo>
                <a:lnTo>
                  <a:pt x="899" y="367"/>
                </a:lnTo>
                <a:lnTo>
                  <a:pt x="901" y="363"/>
                </a:lnTo>
                <a:lnTo>
                  <a:pt x="865" y="344"/>
                </a:lnTo>
                <a:lnTo>
                  <a:pt x="838" y="328"/>
                </a:lnTo>
                <a:lnTo>
                  <a:pt x="817" y="312"/>
                </a:lnTo>
                <a:lnTo>
                  <a:pt x="801" y="300"/>
                </a:lnTo>
                <a:lnTo>
                  <a:pt x="779" y="280"/>
                </a:lnTo>
                <a:lnTo>
                  <a:pt x="761" y="264"/>
                </a:lnTo>
                <a:lnTo>
                  <a:pt x="759" y="263"/>
                </a:lnTo>
                <a:lnTo>
                  <a:pt x="757" y="258"/>
                </a:lnTo>
                <a:lnTo>
                  <a:pt x="756" y="252"/>
                </a:lnTo>
                <a:lnTo>
                  <a:pt x="754" y="245"/>
                </a:lnTo>
                <a:lnTo>
                  <a:pt x="752" y="229"/>
                </a:lnTo>
                <a:lnTo>
                  <a:pt x="748" y="216"/>
                </a:lnTo>
                <a:lnTo>
                  <a:pt x="740" y="218"/>
                </a:lnTo>
                <a:lnTo>
                  <a:pt x="733" y="218"/>
                </a:lnTo>
                <a:lnTo>
                  <a:pt x="726" y="218"/>
                </a:lnTo>
                <a:lnTo>
                  <a:pt x="718" y="217"/>
                </a:lnTo>
                <a:lnTo>
                  <a:pt x="711" y="215"/>
                </a:lnTo>
                <a:lnTo>
                  <a:pt x="703" y="212"/>
                </a:lnTo>
                <a:lnTo>
                  <a:pt x="695" y="207"/>
                </a:lnTo>
                <a:lnTo>
                  <a:pt x="688" y="203"/>
                </a:lnTo>
                <a:lnTo>
                  <a:pt x="667" y="199"/>
                </a:lnTo>
                <a:lnTo>
                  <a:pt x="650" y="197"/>
                </a:lnTo>
                <a:lnTo>
                  <a:pt x="638" y="196"/>
                </a:lnTo>
                <a:lnTo>
                  <a:pt x="630" y="196"/>
                </a:lnTo>
                <a:lnTo>
                  <a:pt x="617" y="199"/>
                </a:lnTo>
                <a:lnTo>
                  <a:pt x="602" y="203"/>
                </a:lnTo>
                <a:lnTo>
                  <a:pt x="596" y="201"/>
                </a:lnTo>
                <a:lnTo>
                  <a:pt x="591" y="201"/>
                </a:lnTo>
                <a:lnTo>
                  <a:pt x="584" y="202"/>
                </a:lnTo>
                <a:lnTo>
                  <a:pt x="578" y="203"/>
                </a:lnTo>
                <a:lnTo>
                  <a:pt x="570" y="204"/>
                </a:lnTo>
                <a:lnTo>
                  <a:pt x="563" y="205"/>
                </a:lnTo>
                <a:lnTo>
                  <a:pt x="556" y="204"/>
                </a:lnTo>
                <a:lnTo>
                  <a:pt x="548" y="203"/>
                </a:lnTo>
                <a:lnTo>
                  <a:pt x="530" y="195"/>
                </a:lnTo>
                <a:lnTo>
                  <a:pt x="517" y="190"/>
                </a:lnTo>
                <a:lnTo>
                  <a:pt x="513" y="187"/>
                </a:lnTo>
                <a:lnTo>
                  <a:pt x="509" y="183"/>
                </a:lnTo>
                <a:lnTo>
                  <a:pt x="505" y="179"/>
                </a:lnTo>
                <a:lnTo>
                  <a:pt x="502" y="173"/>
                </a:lnTo>
                <a:lnTo>
                  <a:pt x="493" y="152"/>
                </a:lnTo>
                <a:lnTo>
                  <a:pt x="487" y="136"/>
                </a:lnTo>
                <a:lnTo>
                  <a:pt x="483" y="128"/>
                </a:lnTo>
                <a:lnTo>
                  <a:pt x="479" y="121"/>
                </a:lnTo>
                <a:lnTo>
                  <a:pt x="476" y="115"/>
                </a:lnTo>
                <a:lnTo>
                  <a:pt x="470" y="109"/>
                </a:lnTo>
                <a:lnTo>
                  <a:pt x="465" y="103"/>
                </a:lnTo>
                <a:lnTo>
                  <a:pt x="459" y="96"/>
                </a:lnTo>
                <a:lnTo>
                  <a:pt x="451" y="91"/>
                </a:lnTo>
                <a:lnTo>
                  <a:pt x="443" y="86"/>
                </a:lnTo>
                <a:lnTo>
                  <a:pt x="432" y="81"/>
                </a:lnTo>
                <a:lnTo>
                  <a:pt x="420" y="77"/>
                </a:lnTo>
                <a:lnTo>
                  <a:pt x="405" y="72"/>
                </a:lnTo>
                <a:lnTo>
                  <a:pt x="389" y="68"/>
                </a:lnTo>
                <a:lnTo>
                  <a:pt x="365" y="61"/>
                </a:lnTo>
                <a:lnTo>
                  <a:pt x="346" y="55"/>
                </a:lnTo>
                <a:lnTo>
                  <a:pt x="332" y="48"/>
                </a:lnTo>
                <a:lnTo>
                  <a:pt x="317" y="40"/>
                </a:lnTo>
                <a:lnTo>
                  <a:pt x="303" y="32"/>
                </a:lnTo>
                <a:lnTo>
                  <a:pt x="287" y="23"/>
                </a:lnTo>
                <a:lnTo>
                  <a:pt x="265" y="13"/>
                </a:lnTo>
                <a:lnTo>
                  <a:pt x="236" y="0"/>
                </a:lnTo>
                <a:lnTo>
                  <a:pt x="214" y="10"/>
                </a:lnTo>
                <a:lnTo>
                  <a:pt x="186" y="24"/>
                </a:lnTo>
                <a:lnTo>
                  <a:pt x="178" y="28"/>
                </a:lnTo>
                <a:lnTo>
                  <a:pt x="171" y="33"/>
                </a:lnTo>
                <a:lnTo>
                  <a:pt x="166" y="38"/>
                </a:lnTo>
                <a:lnTo>
                  <a:pt x="160" y="44"/>
                </a:lnTo>
                <a:lnTo>
                  <a:pt x="156" y="49"/>
                </a:lnTo>
                <a:lnTo>
                  <a:pt x="153" y="55"/>
                </a:lnTo>
                <a:lnTo>
                  <a:pt x="151" y="61"/>
                </a:lnTo>
                <a:lnTo>
                  <a:pt x="149" y="68"/>
                </a:lnTo>
                <a:lnTo>
                  <a:pt x="151" y="75"/>
                </a:lnTo>
                <a:lnTo>
                  <a:pt x="152" y="82"/>
                </a:lnTo>
                <a:lnTo>
                  <a:pt x="153" y="90"/>
                </a:lnTo>
                <a:lnTo>
                  <a:pt x="156" y="97"/>
                </a:lnTo>
                <a:lnTo>
                  <a:pt x="159" y="105"/>
                </a:lnTo>
                <a:lnTo>
                  <a:pt x="164" y="112"/>
                </a:lnTo>
                <a:lnTo>
                  <a:pt x="169" y="118"/>
                </a:lnTo>
                <a:lnTo>
                  <a:pt x="177" y="123"/>
                </a:lnTo>
                <a:lnTo>
                  <a:pt x="171" y="129"/>
                </a:lnTo>
                <a:lnTo>
                  <a:pt x="163" y="139"/>
                </a:lnTo>
                <a:lnTo>
                  <a:pt x="151" y="150"/>
                </a:lnTo>
                <a:lnTo>
                  <a:pt x="136" y="162"/>
                </a:lnTo>
                <a:lnTo>
                  <a:pt x="120" y="173"/>
                </a:lnTo>
                <a:lnTo>
                  <a:pt x="102" y="182"/>
                </a:lnTo>
                <a:lnTo>
                  <a:pt x="95" y="186"/>
                </a:lnTo>
                <a:lnTo>
                  <a:pt x="86" y="188"/>
                </a:lnTo>
                <a:lnTo>
                  <a:pt x="78" y="190"/>
                </a:lnTo>
                <a:lnTo>
                  <a:pt x="70" y="191"/>
                </a:lnTo>
                <a:lnTo>
                  <a:pt x="54" y="190"/>
                </a:lnTo>
                <a:lnTo>
                  <a:pt x="37" y="187"/>
                </a:lnTo>
                <a:lnTo>
                  <a:pt x="22" y="183"/>
                </a:lnTo>
                <a:lnTo>
                  <a:pt x="10" y="179"/>
                </a:lnTo>
                <a:lnTo>
                  <a:pt x="9" y="183"/>
                </a:lnTo>
                <a:lnTo>
                  <a:pt x="6" y="193"/>
                </a:lnTo>
                <a:lnTo>
                  <a:pt x="2" y="208"/>
                </a:lnTo>
                <a:lnTo>
                  <a:pt x="0" y="226"/>
                </a:lnTo>
                <a:lnTo>
                  <a:pt x="0" y="236"/>
                </a:lnTo>
                <a:lnTo>
                  <a:pt x="0" y="245"/>
                </a:lnTo>
                <a:lnTo>
                  <a:pt x="2" y="253"/>
                </a:lnTo>
                <a:lnTo>
                  <a:pt x="5" y="261"/>
                </a:lnTo>
                <a:lnTo>
                  <a:pt x="9" y="269"/>
                </a:lnTo>
                <a:lnTo>
                  <a:pt x="14" y="276"/>
                </a:lnTo>
                <a:lnTo>
                  <a:pt x="18" y="278"/>
                </a:lnTo>
                <a:lnTo>
                  <a:pt x="21" y="280"/>
                </a:lnTo>
                <a:lnTo>
                  <a:pt x="25" y="282"/>
                </a:lnTo>
                <a:lnTo>
                  <a:pt x="30" y="283"/>
                </a:lnTo>
                <a:lnTo>
                  <a:pt x="32" y="291"/>
                </a:lnTo>
                <a:lnTo>
                  <a:pt x="35" y="299"/>
                </a:lnTo>
                <a:lnTo>
                  <a:pt x="40" y="307"/>
                </a:lnTo>
                <a:lnTo>
                  <a:pt x="44" y="315"/>
                </a:lnTo>
                <a:lnTo>
                  <a:pt x="56" y="331"/>
                </a:lnTo>
                <a:lnTo>
                  <a:pt x="69" y="347"/>
                </a:lnTo>
                <a:lnTo>
                  <a:pt x="83" y="364"/>
                </a:lnTo>
                <a:lnTo>
                  <a:pt x="92" y="383"/>
                </a:lnTo>
                <a:lnTo>
                  <a:pt x="97" y="393"/>
                </a:lnTo>
                <a:lnTo>
                  <a:pt x="100" y="403"/>
                </a:lnTo>
                <a:lnTo>
                  <a:pt x="102" y="414"/>
                </a:lnTo>
                <a:lnTo>
                  <a:pt x="103" y="425"/>
                </a:lnTo>
                <a:lnTo>
                  <a:pt x="110" y="425"/>
                </a:lnTo>
                <a:lnTo>
                  <a:pt x="117" y="426"/>
                </a:lnTo>
                <a:lnTo>
                  <a:pt x="121" y="427"/>
                </a:lnTo>
                <a:lnTo>
                  <a:pt x="124" y="429"/>
                </a:lnTo>
                <a:lnTo>
                  <a:pt x="128" y="431"/>
                </a:lnTo>
                <a:lnTo>
                  <a:pt x="131" y="435"/>
                </a:lnTo>
                <a:lnTo>
                  <a:pt x="133" y="438"/>
                </a:lnTo>
                <a:lnTo>
                  <a:pt x="135" y="441"/>
                </a:lnTo>
                <a:lnTo>
                  <a:pt x="139" y="450"/>
                </a:lnTo>
                <a:lnTo>
                  <a:pt x="143" y="459"/>
                </a:lnTo>
                <a:lnTo>
                  <a:pt x="148" y="469"/>
                </a:lnTo>
                <a:lnTo>
                  <a:pt x="156" y="480"/>
                </a:lnTo>
                <a:lnTo>
                  <a:pt x="184" y="504"/>
                </a:lnTo>
                <a:lnTo>
                  <a:pt x="216" y="536"/>
                </a:lnTo>
                <a:lnTo>
                  <a:pt x="224" y="546"/>
                </a:lnTo>
                <a:lnTo>
                  <a:pt x="232" y="556"/>
                </a:lnTo>
                <a:lnTo>
                  <a:pt x="238" y="565"/>
                </a:lnTo>
                <a:lnTo>
                  <a:pt x="244" y="575"/>
                </a:lnTo>
                <a:lnTo>
                  <a:pt x="249" y="585"/>
                </a:lnTo>
                <a:lnTo>
                  <a:pt x="253" y="595"/>
                </a:lnTo>
                <a:lnTo>
                  <a:pt x="255" y="606"/>
                </a:lnTo>
                <a:lnTo>
                  <a:pt x="256" y="616"/>
                </a:lnTo>
                <a:lnTo>
                  <a:pt x="256" y="624"/>
                </a:lnTo>
                <a:lnTo>
                  <a:pt x="257" y="631"/>
                </a:lnTo>
                <a:lnTo>
                  <a:pt x="258" y="638"/>
                </a:lnTo>
                <a:lnTo>
                  <a:pt x="260" y="645"/>
                </a:lnTo>
                <a:lnTo>
                  <a:pt x="266" y="659"/>
                </a:lnTo>
                <a:lnTo>
                  <a:pt x="272" y="670"/>
                </a:lnTo>
                <a:lnTo>
                  <a:pt x="280" y="681"/>
                </a:lnTo>
                <a:lnTo>
                  <a:pt x="289" y="691"/>
                </a:lnTo>
                <a:lnTo>
                  <a:pt x="299" y="701"/>
                </a:lnTo>
                <a:lnTo>
                  <a:pt x="310" y="710"/>
                </a:lnTo>
                <a:lnTo>
                  <a:pt x="331" y="730"/>
                </a:lnTo>
                <a:lnTo>
                  <a:pt x="352" y="750"/>
                </a:lnTo>
                <a:lnTo>
                  <a:pt x="361" y="761"/>
                </a:lnTo>
                <a:lnTo>
                  <a:pt x="369" y="774"/>
                </a:lnTo>
                <a:lnTo>
                  <a:pt x="377" y="787"/>
                </a:lnTo>
                <a:lnTo>
                  <a:pt x="382" y="801"/>
                </a:lnTo>
                <a:lnTo>
                  <a:pt x="388" y="814"/>
                </a:lnTo>
                <a:lnTo>
                  <a:pt x="394" y="827"/>
                </a:lnTo>
                <a:lnTo>
                  <a:pt x="401" y="838"/>
                </a:lnTo>
                <a:lnTo>
                  <a:pt x="409" y="848"/>
                </a:lnTo>
                <a:lnTo>
                  <a:pt x="425" y="867"/>
                </a:lnTo>
                <a:lnTo>
                  <a:pt x="443" y="886"/>
                </a:lnTo>
                <a:lnTo>
                  <a:pt x="459" y="905"/>
                </a:lnTo>
                <a:lnTo>
                  <a:pt x="476" y="925"/>
                </a:lnTo>
                <a:lnTo>
                  <a:pt x="483" y="938"/>
                </a:lnTo>
                <a:lnTo>
                  <a:pt x="490" y="950"/>
                </a:lnTo>
                <a:lnTo>
                  <a:pt x="496" y="964"/>
                </a:lnTo>
                <a:lnTo>
                  <a:pt x="502" y="979"/>
                </a:lnTo>
                <a:lnTo>
                  <a:pt x="528" y="979"/>
                </a:lnTo>
                <a:lnTo>
                  <a:pt x="535" y="973"/>
                </a:lnTo>
                <a:lnTo>
                  <a:pt x="539" y="966"/>
                </a:lnTo>
                <a:lnTo>
                  <a:pt x="541" y="960"/>
                </a:lnTo>
                <a:lnTo>
                  <a:pt x="543" y="953"/>
                </a:lnTo>
                <a:lnTo>
                  <a:pt x="543" y="938"/>
                </a:lnTo>
                <a:lnTo>
                  <a:pt x="541" y="918"/>
                </a:lnTo>
                <a:lnTo>
                  <a:pt x="543" y="913"/>
                </a:lnTo>
                <a:lnTo>
                  <a:pt x="546" y="909"/>
                </a:lnTo>
                <a:lnTo>
                  <a:pt x="551" y="905"/>
                </a:lnTo>
                <a:lnTo>
                  <a:pt x="557" y="901"/>
                </a:lnTo>
                <a:lnTo>
                  <a:pt x="563" y="898"/>
                </a:lnTo>
                <a:lnTo>
                  <a:pt x="570" y="896"/>
                </a:lnTo>
                <a:lnTo>
                  <a:pt x="577" y="894"/>
                </a:lnTo>
                <a:lnTo>
                  <a:pt x="582" y="893"/>
                </a:lnTo>
                <a:lnTo>
                  <a:pt x="594" y="894"/>
                </a:lnTo>
                <a:lnTo>
                  <a:pt x="605" y="895"/>
                </a:lnTo>
                <a:lnTo>
                  <a:pt x="616" y="896"/>
                </a:lnTo>
                <a:lnTo>
                  <a:pt x="626" y="898"/>
                </a:lnTo>
                <a:lnTo>
                  <a:pt x="644" y="902"/>
                </a:lnTo>
                <a:lnTo>
                  <a:pt x="660" y="909"/>
                </a:lnTo>
                <a:lnTo>
                  <a:pt x="674" y="916"/>
                </a:lnTo>
                <a:lnTo>
                  <a:pt x="686" y="924"/>
                </a:lnTo>
                <a:lnTo>
                  <a:pt x="697" y="934"/>
                </a:lnTo>
                <a:lnTo>
                  <a:pt x="708" y="943"/>
                </a:lnTo>
                <a:lnTo>
                  <a:pt x="729" y="916"/>
                </a:lnTo>
                <a:lnTo>
                  <a:pt x="756" y="881"/>
                </a:lnTo>
                <a:lnTo>
                  <a:pt x="778" y="851"/>
                </a:lnTo>
                <a:lnTo>
                  <a:pt x="787" y="838"/>
                </a:lnTo>
                <a:lnTo>
                  <a:pt x="1033" y="789"/>
                </a:lnTo>
                <a:lnTo>
                  <a:pt x="1146" y="763"/>
                </a:lnTo>
                <a:lnTo>
                  <a:pt x="1227" y="616"/>
                </a:lnTo>
                <a:lnTo>
                  <a:pt x="1199" y="567"/>
                </a:lnTo>
                <a:lnTo>
                  <a:pt x="1173" y="591"/>
                </a:lnTo>
                <a:lnTo>
                  <a:pt x="1000" y="573"/>
                </a:lnTo>
                <a:lnTo>
                  <a:pt x="940" y="480"/>
                </a:lnTo>
                <a:lnTo>
                  <a:pt x="940" y="4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76" name="Freeform 528"/>
          <p:cNvSpPr>
            <a:spLocks/>
          </p:cNvSpPr>
          <p:nvPr>
            <p:custDataLst>
              <p:tags r:id="rId364"/>
            </p:custDataLst>
          </p:nvPr>
        </p:nvSpPr>
        <p:spPr bwMode="auto">
          <a:xfrm>
            <a:off x="5846763" y="2182813"/>
            <a:ext cx="57150" cy="57150"/>
          </a:xfrm>
          <a:custGeom>
            <a:avLst/>
            <a:gdLst>
              <a:gd name="T0" fmla="*/ 146 w 146"/>
              <a:gd name="T1" fmla="*/ 18 h 81"/>
              <a:gd name="T2" fmla="*/ 138 w 146"/>
              <a:gd name="T3" fmla="*/ 24 h 81"/>
              <a:gd name="T4" fmla="*/ 130 w 146"/>
              <a:gd name="T5" fmla="*/ 29 h 81"/>
              <a:gd name="T6" fmla="*/ 123 w 146"/>
              <a:gd name="T7" fmla="*/ 35 h 81"/>
              <a:gd name="T8" fmla="*/ 118 w 146"/>
              <a:gd name="T9" fmla="*/ 41 h 81"/>
              <a:gd name="T10" fmla="*/ 108 w 146"/>
              <a:gd name="T11" fmla="*/ 53 h 81"/>
              <a:gd name="T12" fmla="*/ 98 w 146"/>
              <a:gd name="T13" fmla="*/ 64 h 81"/>
              <a:gd name="T14" fmla="*/ 93 w 146"/>
              <a:gd name="T15" fmla="*/ 69 h 81"/>
              <a:gd name="T16" fmla="*/ 85 w 146"/>
              <a:gd name="T17" fmla="*/ 73 h 81"/>
              <a:gd name="T18" fmla="*/ 76 w 146"/>
              <a:gd name="T19" fmla="*/ 77 h 81"/>
              <a:gd name="T20" fmla="*/ 66 w 146"/>
              <a:gd name="T21" fmla="*/ 80 h 81"/>
              <a:gd name="T22" fmla="*/ 53 w 146"/>
              <a:gd name="T23" fmla="*/ 81 h 81"/>
              <a:gd name="T24" fmla="*/ 39 w 146"/>
              <a:gd name="T25" fmla="*/ 80 h 81"/>
              <a:gd name="T26" fmla="*/ 21 w 146"/>
              <a:gd name="T27" fmla="*/ 77 h 81"/>
              <a:gd name="T28" fmla="*/ 0 w 146"/>
              <a:gd name="T29" fmla="*/ 74 h 81"/>
              <a:gd name="T30" fmla="*/ 0 w 146"/>
              <a:gd name="T31" fmla="*/ 62 h 81"/>
              <a:gd name="T32" fmla="*/ 0 w 146"/>
              <a:gd name="T33" fmla="*/ 49 h 81"/>
              <a:gd name="T34" fmla="*/ 0 w 146"/>
              <a:gd name="T35" fmla="*/ 34 h 81"/>
              <a:gd name="T36" fmla="*/ 0 w 146"/>
              <a:gd name="T37" fmla="*/ 18 h 81"/>
              <a:gd name="T38" fmla="*/ 14 w 146"/>
              <a:gd name="T39" fmla="*/ 18 h 81"/>
              <a:gd name="T40" fmla="*/ 22 w 146"/>
              <a:gd name="T41" fmla="*/ 18 h 81"/>
              <a:gd name="T42" fmla="*/ 31 w 146"/>
              <a:gd name="T43" fmla="*/ 18 h 81"/>
              <a:gd name="T44" fmla="*/ 40 w 146"/>
              <a:gd name="T45" fmla="*/ 18 h 81"/>
              <a:gd name="T46" fmla="*/ 52 w 146"/>
              <a:gd name="T47" fmla="*/ 18 h 81"/>
              <a:gd name="T48" fmla="*/ 63 w 146"/>
              <a:gd name="T49" fmla="*/ 16 h 81"/>
              <a:gd name="T50" fmla="*/ 73 w 146"/>
              <a:gd name="T51" fmla="*/ 14 h 81"/>
              <a:gd name="T52" fmla="*/ 83 w 146"/>
              <a:gd name="T53" fmla="*/ 11 h 81"/>
              <a:gd name="T54" fmla="*/ 101 w 146"/>
              <a:gd name="T55" fmla="*/ 5 h 81"/>
              <a:gd name="T56" fmla="*/ 120 w 146"/>
              <a:gd name="T57" fmla="*/ 0 h 81"/>
              <a:gd name="T58" fmla="*/ 129 w 146"/>
              <a:gd name="T59" fmla="*/ 4 h 81"/>
              <a:gd name="T60" fmla="*/ 135 w 146"/>
              <a:gd name="T61" fmla="*/ 9 h 81"/>
              <a:gd name="T62" fmla="*/ 141 w 146"/>
              <a:gd name="T63" fmla="*/ 14 h 81"/>
              <a:gd name="T64" fmla="*/ 146 w 146"/>
              <a:gd name="T65" fmla="*/ 18 h 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6" h="81">
                <a:moveTo>
                  <a:pt x="146" y="18"/>
                </a:moveTo>
                <a:lnTo>
                  <a:pt x="138" y="24"/>
                </a:lnTo>
                <a:lnTo>
                  <a:pt x="130" y="29"/>
                </a:lnTo>
                <a:lnTo>
                  <a:pt x="123" y="35"/>
                </a:lnTo>
                <a:lnTo>
                  <a:pt x="118" y="41"/>
                </a:lnTo>
                <a:lnTo>
                  <a:pt x="108" y="53"/>
                </a:lnTo>
                <a:lnTo>
                  <a:pt x="98" y="64"/>
                </a:lnTo>
                <a:lnTo>
                  <a:pt x="93" y="69"/>
                </a:lnTo>
                <a:lnTo>
                  <a:pt x="85" y="73"/>
                </a:lnTo>
                <a:lnTo>
                  <a:pt x="76" y="77"/>
                </a:lnTo>
                <a:lnTo>
                  <a:pt x="66" y="80"/>
                </a:lnTo>
                <a:lnTo>
                  <a:pt x="53" y="81"/>
                </a:lnTo>
                <a:lnTo>
                  <a:pt x="39" y="80"/>
                </a:lnTo>
                <a:lnTo>
                  <a:pt x="21" y="77"/>
                </a:lnTo>
                <a:lnTo>
                  <a:pt x="0" y="74"/>
                </a:lnTo>
                <a:lnTo>
                  <a:pt x="0" y="62"/>
                </a:lnTo>
                <a:lnTo>
                  <a:pt x="0" y="49"/>
                </a:lnTo>
                <a:lnTo>
                  <a:pt x="0" y="34"/>
                </a:lnTo>
                <a:lnTo>
                  <a:pt x="0" y="18"/>
                </a:lnTo>
                <a:lnTo>
                  <a:pt x="14" y="18"/>
                </a:lnTo>
                <a:lnTo>
                  <a:pt x="22" y="18"/>
                </a:lnTo>
                <a:lnTo>
                  <a:pt x="31" y="18"/>
                </a:lnTo>
                <a:lnTo>
                  <a:pt x="40" y="18"/>
                </a:lnTo>
                <a:lnTo>
                  <a:pt x="52" y="18"/>
                </a:lnTo>
                <a:lnTo>
                  <a:pt x="63" y="16"/>
                </a:lnTo>
                <a:lnTo>
                  <a:pt x="73" y="14"/>
                </a:lnTo>
                <a:lnTo>
                  <a:pt x="83" y="11"/>
                </a:lnTo>
                <a:lnTo>
                  <a:pt x="101" y="5"/>
                </a:lnTo>
                <a:lnTo>
                  <a:pt x="120" y="0"/>
                </a:lnTo>
                <a:lnTo>
                  <a:pt x="129" y="4"/>
                </a:lnTo>
                <a:lnTo>
                  <a:pt x="135" y="9"/>
                </a:lnTo>
                <a:lnTo>
                  <a:pt x="141" y="14"/>
                </a:lnTo>
                <a:lnTo>
                  <a:pt x="146" y="1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77" name="Freeform 529"/>
          <p:cNvSpPr>
            <a:spLocks/>
          </p:cNvSpPr>
          <p:nvPr>
            <p:custDataLst>
              <p:tags r:id="rId365"/>
            </p:custDataLst>
          </p:nvPr>
        </p:nvSpPr>
        <p:spPr bwMode="auto">
          <a:xfrm>
            <a:off x="5586414" y="2395538"/>
            <a:ext cx="15875" cy="57150"/>
          </a:xfrm>
          <a:custGeom>
            <a:avLst/>
            <a:gdLst>
              <a:gd name="T0" fmla="*/ 34 w 34"/>
              <a:gd name="T1" fmla="*/ 49 h 49"/>
              <a:gd name="T2" fmla="*/ 34 w 34"/>
              <a:gd name="T3" fmla="*/ 34 h 49"/>
              <a:gd name="T4" fmla="*/ 34 w 34"/>
              <a:gd name="T5" fmla="*/ 25 h 49"/>
              <a:gd name="T6" fmla="*/ 33 w 34"/>
              <a:gd name="T7" fmla="*/ 21 h 49"/>
              <a:gd name="T8" fmla="*/ 33 w 34"/>
              <a:gd name="T9" fmla="*/ 17 h 49"/>
              <a:gd name="T10" fmla="*/ 31 w 34"/>
              <a:gd name="T11" fmla="*/ 15 h 49"/>
              <a:gd name="T12" fmla="*/ 30 w 34"/>
              <a:gd name="T13" fmla="*/ 12 h 49"/>
              <a:gd name="T14" fmla="*/ 25 w 34"/>
              <a:gd name="T15" fmla="*/ 8 h 49"/>
              <a:gd name="T16" fmla="*/ 21 w 34"/>
              <a:gd name="T17" fmla="*/ 0 h 49"/>
              <a:gd name="T18" fmla="*/ 8 w 34"/>
              <a:gd name="T19" fmla="*/ 0 h 49"/>
              <a:gd name="T20" fmla="*/ 0 w 34"/>
              <a:gd name="T21" fmla="*/ 0 h 49"/>
              <a:gd name="T22" fmla="*/ 3 w 34"/>
              <a:gd name="T23" fmla="*/ 11 h 49"/>
              <a:gd name="T24" fmla="*/ 7 w 34"/>
              <a:gd name="T25" fmla="*/ 20 h 49"/>
              <a:gd name="T26" fmla="*/ 10 w 34"/>
              <a:gd name="T27" fmla="*/ 27 h 49"/>
              <a:gd name="T28" fmla="*/ 14 w 34"/>
              <a:gd name="T29" fmla="*/ 34 h 49"/>
              <a:gd name="T30" fmla="*/ 19 w 34"/>
              <a:gd name="T31" fmla="*/ 39 h 49"/>
              <a:gd name="T32" fmla="*/ 24 w 34"/>
              <a:gd name="T33" fmla="*/ 43 h 49"/>
              <a:gd name="T34" fmla="*/ 29 w 34"/>
              <a:gd name="T35" fmla="*/ 46 h 49"/>
              <a:gd name="T36" fmla="*/ 34 w 34"/>
              <a:gd name="T37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34" h="49">
                <a:moveTo>
                  <a:pt x="34" y="49"/>
                </a:moveTo>
                <a:lnTo>
                  <a:pt x="34" y="34"/>
                </a:lnTo>
                <a:lnTo>
                  <a:pt x="34" y="25"/>
                </a:lnTo>
                <a:lnTo>
                  <a:pt x="33" y="21"/>
                </a:lnTo>
                <a:lnTo>
                  <a:pt x="33" y="17"/>
                </a:lnTo>
                <a:lnTo>
                  <a:pt x="31" y="15"/>
                </a:lnTo>
                <a:lnTo>
                  <a:pt x="30" y="12"/>
                </a:lnTo>
                <a:lnTo>
                  <a:pt x="25" y="8"/>
                </a:lnTo>
                <a:lnTo>
                  <a:pt x="21" y="0"/>
                </a:lnTo>
                <a:lnTo>
                  <a:pt x="8" y="0"/>
                </a:lnTo>
                <a:lnTo>
                  <a:pt x="0" y="0"/>
                </a:lnTo>
                <a:lnTo>
                  <a:pt x="3" y="11"/>
                </a:lnTo>
                <a:lnTo>
                  <a:pt x="7" y="20"/>
                </a:lnTo>
                <a:lnTo>
                  <a:pt x="10" y="27"/>
                </a:lnTo>
                <a:lnTo>
                  <a:pt x="14" y="34"/>
                </a:lnTo>
                <a:lnTo>
                  <a:pt x="19" y="39"/>
                </a:lnTo>
                <a:lnTo>
                  <a:pt x="24" y="43"/>
                </a:lnTo>
                <a:lnTo>
                  <a:pt x="29" y="46"/>
                </a:lnTo>
                <a:lnTo>
                  <a:pt x="34" y="4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78" name="Freeform 530"/>
          <p:cNvSpPr>
            <a:spLocks/>
          </p:cNvSpPr>
          <p:nvPr>
            <p:custDataLst>
              <p:tags r:id="rId366"/>
            </p:custDataLst>
          </p:nvPr>
        </p:nvSpPr>
        <p:spPr bwMode="auto">
          <a:xfrm>
            <a:off x="5178426" y="2741613"/>
            <a:ext cx="28575" cy="57150"/>
          </a:xfrm>
          <a:custGeom>
            <a:avLst/>
            <a:gdLst>
              <a:gd name="T0" fmla="*/ 60 w 60"/>
              <a:gd name="T1" fmla="*/ 0 h 74"/>
              <a:gd name="T2" fmla="*/ 56 w 60"/>
              <a:gd name="T3" fmla="*/ 4 h 74"/>
              <a:gd name="T4" fmla="*/ 51 w 60"/>
              <a:gd name="T5" fmla="*/ 10 h 74"/>
              <a:gd name="T6" fmla="*/ 48 w 60"/>
              <a:gd name="T7" fmla="*/ 15 h 74"/>
              <a:gd name="T8" fmla="*/ 46 w 60"/>
              <a:gd name="T9" fmla="*/ 21 h 74"/>
              <a:gd name="T10" fmla="*/ 41 w 60"/>
              <a:gd name="T11" fmla="*/ 31 h 74"/>
              <a:gd name="T12" fmla="*/ 37 w 60"/>
              <a:gd name="T13" fmla="*/ 42 h 74"/>
              <a:gd name="T14" fmla="*/ 35 w 60"/>
              <a:gd name="T15" fmla="*/ 47 h 74"/>
              <a:gd name="T16" fmla="*/ 32 w 60"/>
              <a:gd name="T17" fmla="*/ 51 h 74"/>
              <a:gd name="T18" fmla="*/ 29 w 60"/>
              <a:gd name="T19" fmla="*/ 56 h 74"/>
              <a:gd name="T20" fmla="*/ 25 w 60"/>
              <a:gd name="T21" fmla="*/ 60 h 74"/>
              <a:gd name="T22" fmla="*/ 20 w 60"/>
              <a:gd name="T23" fmla="*/ 65 h 74"/>
              <a:gd name="T24" fmla="*/ 15 w 60"/>
              <a:gd name="T25" fmla="*/ 69 h 74"/>
              <a:gd name="T26" fmla="*/ 8 w 60"/>
              <a:gd name="T27" fmla="*/ 72 h 74"/>
              <a:gd name="T28" fmla="*/ 0 w 60"/>
              <a:gd name="T29" fmla="*/ 74 h 74"/>
              <a:gd name="T30" fmla="*/ 5 w 60"/>
              <a:gd name="T31" fmla="*/ 60 h 74"/>
              <a:gd name="T32" fmla="*/ 12 w 60"/>
              <a:gd name="T33" fmla="*/ 47 h 74"/>
              <a:gd name="T34" fmla="*/ 19 w 60"/>
              <a:gd name="T35" fmla="*/ 34 h 74"/>
              <a:gd name="T36" fmla="*/ 27 w 60"/>
              <a:gd name="T37" fmla="*/ 23 h 74"/>
              <a:gd name="T38" fmla="*/ 36 w 60"/>
              <a:gd name="T39" fmla="*/ 14 h 74"/>
              <a:gd name="T40" fmla="*/ 43 w 60"/>
              <a:gd name="T41" fmla="*/ 6 h 74"/>
              <a:gd name="T42" fmla="*/ 48 w 60"/>
              <a:gd name="T43" fmla="*/ 3 h 74"/>
              <a:gd name="T44" fmla="*/ 52 w 60"/>
              <a:gd name="T45" fmla="*/ 1 h 74"/>
              <a:gd name="T46" fmla="*/ 56 w 60"/>
              <a:gd name="T47" fmla="*/ 0 h 74"/>
              <a:gd name="T48" fmla="*/ 60 w 60"/>
              <a:gd name="T49" fmla="*/ 0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0" h="74">
                <a:moveTo>
                  <a:pt x="60" y="0"/>
                </a:moveTo>
                <a:lnTo>
                  <a:pt x="56" y="4"/>
                </a:lnTo>
                <a:lnTo>
                  <a:pt x="51" y="10"/>
                </a:lnTo>
                <a:lnTo>
                  <a:pt x="48" y="15"/>
                </a:lnTo>
                <a:lnTo>
                  <a:pt x="46" y="21"/>
                </a:lnTo>
                <a:lnTo>
                  <a:pt x="41" y="31"/>
                </a:lnTo>
                <a:lnTo>
                  <a:pt x="37" y="42"/>
                </a:lnTo>
                <a:lnTo>
                  <a:pt x="35" y="47"/>
                </a:lnTo>
                <a:lnTo>
                  <a:pt x="32" y="51"/>
                </a:lnTo>
                <a:lnTo>
                  <a:pt x="29" y="56"/>
                </a:lnTo>
                <a:lnTo>
                  <a:pt x="25" y="60"/>
                </a:lnTo>
                <a:lnTo>
                  <a:pt x="20" y="65"/>
                </a:lnTo>
                <a:lnTo>
                  <a:pt x="15" y="69"/>
                </a:lnTo>
                <a:lnTo>
                  <a:pt x="8" y="72"/>
                </a:lnTo>
                <a:lnTo>
                  <a:pt x="0" y="74"/>
                </a:lnTo>
                <a:lnTo>
                  <a:pt x="5" y="60"/>
                </a:lnTo>
                <a:lnTo>
                  <a:pt x="12" y="47"/>
                </a:lnTo>
                <a:lnTo>
                  <a:pt x="19" y="34"/>
                </a:lnTo>
                <a:lnTo>
                  <a:pt x="27" y="23"/>
                </a:lnTo>
                <a:lnTo>
                  <a:pt x="36" y="14"/>
                </a:lnTo>
                <a:lnTo>
                  <a:pt x="43" y="6"/>
                </a:lnTo>
                <a:lnTo>
                  <a:pt x="48" y="3"/>
                </a:lnTo>
                <a:lnTo>
                  <a:pt x="52" y="1"/>
                </a:lnTo>
                <a:lnTo>
                  <a:pt x="56" y="0"/>
                </a:lnTo>
                <a:lnTo>
                  <a:pt x="6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79" name="Freeform 531"/>
          <p:cNvSpPr>
            <a:spLocks/>
          </p:cNvSpPr>
          <p:nvPr>
            <p:custDataLst>
              <p:tags r:id="rId367"/>
            </p:custDataLst>
          </p:nvPr>
        </p:nvSpPr>
        <p:spPr bwMode="auto">
          <a:xfrm>
            <a:off x="5119688" y="2757489"/>
            <a:ext cx="23812" cy="60325"/>
          </a:xfrm>
          <a:custGeom>
            <a:avLst/>
            <a:gdLst>
              <a:gd name="T0" fmla="*/ 13 w 47"/>
              <a:gd name="T1" fmla="*/ 8 h 45"/>
              <a:gd name="T2" fmla="*/ 22 w 47"/>
              <a:gd name="T3" fmla="*/ 8 h 45"/>
              <a:gd name="T4" fmla="*/ 28 w 47"/>
              <a:gd name="T5" fmla="*/ 6 h 45"/>
              <a:gd name="T6" fmla="*/ 32 w 47"/>
              <a:gd name="T7" fmla="*/ 5 h 45"/>
              <a:gd name="T8" fmla="*/ 35 w 47"/>
              <a:gd name="T9" fmla="*/ 3 h 45"/>
              <a:gd name="T10" fmla="*/ 37 w 47"/>
              <a:gd name="T11" fmla="*/ 1 h 45"/>
              <a:gd name="T12" fmla="*/ 39 w 47"/>
              <a:gd name="T13" fmla="*/ 0 h 45"/>
              <a:gd name="T14" fmla="*/ 43 w 47"/>
              <a:gd name="T15" fmla="*/ 1 h 45"/>
              <a:gd name="T16" fmla="*/ 47 w 47"/>
              <a:gd name="T17" fmla="*/ 2 h 45"/>
              <a:gd name="T18" fmla="*/ 46 w 47"/>
              <a:gd name="T19" fmla="*/ 7 h 45"/>
              <a:gd name="T20" fmla="*/ 46 w 47"/>
              <a:gd name="T21" fmla="*/ 11 h 45"/>
              <a:gd name="T22" fmla="*/ 44 w 47"/>
              <a:gd name="T23" fmla="*/ 15 h 45"/>
              <a:gd name="T24" fmla="*/ 43 w 47"/>
              <a:gd name="T25" fmla="*/ 19 h 45"/>
              <a:gd name="T26" fmla="*/ 37 w 47"/>
              <a:gd name="T27" fmla="*/ 26 h 45"/>
              <a:gd name="T28" fmla="*/ 30 w 47"/>
              <a:gd name="T29" fmla="*/ 32 h 45"/>
              <a:gd name="T30" fmla="*/ 24 w 47"/>
              <a:gd name="T31" fmla="*/ 38 h 45"/>
              <a:gd name="T32" fmla="*/ 16 w 47"/>
              <a:gd name="T33" fmla="*/ 42 h 45"/>
              <a:gd name="T34" fmla="*/ 7 w 47"/>
              <a:gd name="T35" fmla="*/ 45 h 45"/>
              <a:gd name="T36" fmla="*/ 0 w 47"/>
              <a:gd name="T37" fmla="*/ 45 h 45"/>
              <a:gd name="T38" fmla="*/ 2 w 47"/>
              <a:gd name="T39" fmla="*/ 38 h 45"/>
              <a:gd name="T40" fmla="*/ 6 w 47"/>
              <a:gd name="T41" fmla="*/ 26 h 45"/>
              <a:gd name="T42" fmla="*/ 11 w 47"/>
              <a:gd name="T43" fmla="*/ 15 h 45"/>
              <a:gd name="T44" fmla="*/ 13 w 47"/>
              <a:gd name="T45" fmla="*/ 8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47" h="45">
                <a:moveTo>
                  <a:pt x="13" y="8"/>
                </a:moveTo>
                <a:lnTo>
                  <a:pt x="22" y="8"/>
                </a:lnTo>
                <a:lnTo>
                  <a:pt x="28" y="6"/>
                </a:lnTo>
                <a:lnTo>
                  <a:pt x="32" y="5"/>
                </a:lnTo>
                <a:lnTo>
                  <a:pt x="35" y="3"/>
                </a:lnTo>
                <a:lnTo>
                  <a:pt x="37" y="1"/>
                </a:lnTo>
                <a:lnTo>
                  <a:pt x="39" y="0"/>
                </a:lnTo>
                <a:lnTo>
                  <a:pt x="43" y="1"/>
                </a:lnTo>
                <a:lnTo>
                  <a:pt x="47" y="2"/>
                </a:lnTo>
                <a:lnTo>
                  <a:pt x="46" y="7"/>
                </a:lnTo>
                <a:lnTo>
                  <a:pt x="46" y="11"/>
                </a:lnTo>
                <a:lnTo>
                  <a:pt x="44" y="15"/>
                </a:lnTo>
                <a:lnTo>
                  <a:pt x="43" y="19"/>
                </a:lnTo>
                <a:lnTo>
                  <a:pt x="37" y="26"/>
                </a:lnTo>
                <a:lnTo>
                  <a:pt x="30" y="32"/>
                </a:lnTo>
                <a:lnTo>
                  <a:pt x="24" y="38"/>
                </a:lnTo>
                <a:lnTo>
                  <a:pt x="16" y="42"/>
                </a:lnTo>
                <a:lnTo>
                  <a:pt x="7" y="45"/>
                </a:lnTo>
                <a:lnTo>
                  <a:pt x="0" y="45"/>
                </a:lnTo>
                <a:lnTo>
                  <a:pt x="2" y="38"/>
                </a:lnTo>
                <a:lnTo>
                  <a:pt x="6" y="26"/>
                </a:lnTo>
                <a:lnTo>
                  <a:pt x="11" y="15"/>
                </a:lnTo>
                <a:lnTo>
                  <a:pt x="13" y="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80" name="Freeform 532"/>
          <p:cNvSpPr>
            <a:spLocks/>
          </p:cNvSpPr>
          <p:nvPr>
            <p:custDataLst>
              <p:tags r:id="rId368"/>
            </p:custDataLst>
          </p:nvPr>
        </p:nvSpPr>
        <p:spPr bwMode="auto">
          <a:xfrm>
            <a:off x="5094288" y="2751138"/>
            <a:ext cx="6350" cy="57150"/>
          </a:xfrm>
          <a:custGeom>
            <a:avLst/>
            <a:gdLst>
              <a:gd name="T0" fmla="*/ 6 w 26"/>
              <a:gd name="T1" fmla="*/ 36 h 36"/>
              <a:gd name="T2" fmla="*/ 5 w 26"/>
              <a:gd name="T3" fmla="*/ 30 h 36"/>
              <a:gd name="T4" fmla="*/ 3 w 26"/>
              <a:gd name="T5" fmla="*/ 20 h 36"/>
              <a:gd name="T6" fmla="*/ 1 w 26"/>
              <a:gd name="T7" fmla="*/ 10 h 36"/>
              <a:gd name="T8" fmla="*/ 0 w 26"/>
              <a:gd name="T9" fmla="*/ 0 h 36"/>
              <a:gd name="T10" fmla="*/ 26 w 26"/>
              <a:gd name="T11" fmla="*/ 0 h 36"/>
              <a:gd name="T12" fmla="*/ 25 w 26"/>
              <a:gd name="T13" fmla="*/ 12 h 36"/>
              <a:gd name="T14" fmla="*/ 24 w 26"/>
              <a:gd name="T15" fmla="*/ 23 h 36"/>
              <a:gd name="T16" fmla="*/ 23 w 26"/>
              <a:gd name="T17" fmla="*/ 27 h 36"/>
              <a:gd name="T18" fmla="*/ 23 w 26"/>
              <a:gd name="T19" fmla="*/ 31 h 36"/>
              <a:gd name="T20" fmla="*/ 24 w 26"/>
              <a:gd name="T21" fmla="*/ 34 h 36"/>
              <a:gd name="T22" fmla="*/ 26 w 26"/>
              <a:gd name="T23" fmla="*/ 36 h 36"/>
              <a:gd name="T24" fmla="*/ 6 w 26"/>
              <a:gd name="T25" fmla="*/ 36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6" h="36">
                <a:moveTo>
                  <a:pt x="6" y="36"/>
                </a:moveTo>
                <a:lnTo>
                  <a:pt x="5" y="30"/>
                </a:lnTo>
                <a:lnTo>
                  <a:pt x="3" y="20"/>
                </a:lnTo>
                <a:lnTo>
                  <a:pt x="1" y="10"/>
                </a:lnTo>
                <a:lnTo>
                  <a:pt x="0" y="0"/>
                </a:lnTo>
                <a:lnTo>
                  <a:pt x="26" y="0"/>
                </a:lnTo>
                <a:lnTo>
                  <a:pt x="25" y="12"/>
                </a:lnTo>
                <a:lnTo>
                  <a:pt x="24" y="23"/>
                </a:lnTo>
                <a:lnTo>
                  <a:pt x="23" y="27"/>
                </a:lnTo>
                <a:lnTo>
                  <a:pt x="23" y="31"/>
                </a:lnTo>
                <a:lnTo>
                  <a:pt x="24" y="34"/>
                </a:lnTo>
                <a:lnTo>
                  <a:pt x="26" y="36"/>
                </a:lnTo>
                <a:lnTo>
                  <a:pt x="6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81" name="Freeform 533"/>
          <p:cNvSpPr>
            <a:spLocks/>
          </p:cNvSpPr>
          <p:nvPr>
            <p:custDataLst>
              <p:tags r:id="rId369"/>
            </p:custDataLst>
          </p:nvPr>
        </p:nvSpPr>
        <p:spPr bwMode="auto">
          <a:xfrm>
            <a:off x="6365876" y="2479675"/>
            <a:ext cx="174625" cy="158750"/>
          </a:xfrm>
          <a:custGeom>
            <a:avLst/>
            <a:gdLst>
              <a:gd name="T0" fmla="*/ 26 w 405"/>
              <a:gd name="T1" fmla="*/ 162 h 302"/>
              <a:gd name="T2" fmla="*/ 28 w 405"/>
              <a:gd name="T3" fmla="*/ 156 h 302"/>
              <a:gd name="T4" fmla="*/ 30 w 405"/>
              <a:gd name="T5" fmla="*/ 154 h 302"/>
              <a:gd name="T6" fmla="*/ 28 w 405"/>
              <a:gd name="T7" fmla="*/ 151 h 302"/>
              <a:gd name="T8" fmla="*/ 18 w 405"/>
              <a:gd name="T9" fmla="*/ 143 h 302"/>
              <a:gd name="T10" fmla="*/ 6 w 405"/>
              <a:gd name="T11" fmla="*/ 127 h 302"/>
              <a:gd name="T12" fmla="*/ 2 w 405"/>
              <a:gd name="T13" fmla="*/ 116 h 302"/>
              <a:gd name="T14" fmla="*/ 5 w 405"/>
              <a:gd name="T15" fmla="*/ 112 h 302"/>
              <a:gd name="T16" fmla="*/ 6 w 405"/>
              <a:gd name="T17" fmla="*/ 104 h 302"/>
              <a:gd name="T18" fmla="*/ 17 w 405"/>
              <a:gd name="T19" fmla="*/ 97 h 302"/>
              <a:gd name="T20" fmla="*/ 34 w 405"/>
              <a:gd name="T21" fmla="*/ 93 h 302"/>
              <a:gd name="T22" fmla="*/ 47 w 405"/>
              <a:gd name="T23" fmla="*/ 88 h 302"/>
              <a:gd name="T24" fmla="*/ 57 w 405"/>
              <a:gd name="T25" fmla="*/ 82 h 302"/>
              <a:gd name="T26" fmla="*/ 67 w 405"/>
              <a:gd name="T27" fmla="*/ 70 h 302"/>
              <a:gd name="T28" fmla="*/ 75 w 405"/>
              <a:gd name="T29" fmla="*/ 52 h 302"/>
              <a:gd name="T30" fmla="*/ 84 w 405"/>
              <a:gd name="T31" fmla="*/ 47 h 302"/>
              <a:gd name="T32" fmla="*/ 95 w 405"/>
              <a:gd name="T33" fmla="*/ 52 h 302"/>
              <a:gd name="T34" fmla="*/ 117 w 405"/>
              <a:gd name="T35" fmla="*/ 54 h 302"/>
              <a:gd name="T36" fmla="*/ 169 w 405"/>
              <a:gd name="T37" fmla="*/ 46 h 302"/>
              <a:gd name="T38" fmla="*/ 212 w 405"/>
              <a:gd name="T39" fmla="*/ 43 h 302"/>
              <a:gd name="T40" fmla="*/ 234 w 405"/>
              <a:gd name="T41" fmla="*/ 41 h 302"/>
              <a:gd name="T42" fmla="*/ 264 w 405"/>
              <a:gd name="T43" fmla="*/ 35 h 302"/>
              <a:gd name="T44" fmla="*/ 318 w 405"/>
              <a:gd name="T45" fmla="*/ 17 h 302"/>
              <a:gd name="T46" fmla="*/ 359 w 405"/>
              <a:gd name="T47" fmla="*/ 4 h 302"/>
              <a:gd name="T48" fmla="*/ 372 w 405"/>
              <a:gd name="T49" fmla="*/ 3 h 302"/>
              <a:gd name="T50" fmla="*/ 385 w 405"/>
              <a:gd name="T51" fmla="*/ 3 h 302"/>
              <a:gd name="T52" fmla="*/ 398 w 405"/>
              <a:gd name="T53" fmla="*/ 1 h 302"/>
              <a:gd name="T54" fmla="*/ 395 w 405"/>
              <a:gd name="T55" fmla="*/ 8 h 302"/>
              <a:gd name="T56" fmla="*/ 360 w 405"/>
              <a:gd name="T57" fmla="*/ 41 h 302"/>
              <a:gd name="T58" fmla="*/ 344 w 405"/>
              <a:gd name="T59" fmla="*/ 57 h 302"/>
              <a:gd name="T60" fmla="*/ 339 w 405"/>
              <a:gd name="T61" fmla="*/ 64 h 302"/>
              <a:gd name="T62" fmla="*/ 339 w 405"/>
              <a:gd name="T63" fmla="*/ 96 h 302"/>
              <a:gd name="T64" fmla="*/ 337 w 405"/>
              <a:gd name="T65" fmla="*/ 149 h 302"/>
              <a:gd name="T66" fmla="*/ 335 w 405"/>
              <a:gd name="T67" fmla="*/ 180 h 302"/>
              <a:gd name="T68" fmla="*/ 326 w 405"/>
              <a:gd name="T69" fmla="*/ 198 h 302"/>
              <a:gd name="T70" fmla="*/ 305 w 405"/>
              <a:gd name="T71" fmla="*/ 210 h 302"/>
              <a:gd name="T72" fmla="*/ 265 w 405"/>
              <a:gd name="T73" fmla="*/ 227 h 302"/>
              <a:gd name="T74" fmla="*/ 106 w 405"/>
              <a:gd name="T75" fmla="*/ 302 h 302"/>
              <a:gd name="T76" fmla="*/ 57 w 405"/>
              <a:gd name="T77" fmla="*/ 260 h 302"/>
              <a:gd name="T78" fmla="*/ 70 w 405"/>
              <a:gd name="T79" fmla="*/ 228 h 302"/>
              <a:gd name="T80" fmla="*/ 81 w 405"/>
              <a:gd name="T81" fmla="*/ 209 h 302"/>
              <a:gd name="T82" fmla="*/ 86 w 405"/>
              <a:gd name="T83" fmla="*/ 172 h 302"/>
              <a:gd name="T84" fmla="*/ 71 w 405"/>
              <a:gd name="T85" fmla="*/ 173 h 302"/>
              <a:gd name="T86" fmla="*/ 57 w 405"/>
              <a:gd name="T87" fmla="*/ 169 h 302"/>
              <a:gd name="T88" fmla="*/ 41 w 405"/>
              <a:gd name="T89" fmla="*/ 165 h 302"/>
              <a:gd name="T90" fmla="*/ 26 w 405"/>
              <a:gd name="T91" fmla="*/ 166 h 3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405" h="302">
                <a:moveTo>
                  <a:pt x="26" y="166"/>
                </a:moveTo>
                <a:lnTo>
                  <a:pt x="26" y="162"/>
                </a:lnTo>
                <a:lnTo>
                  <a:pt x="27" y="158"/>
                </a:lnTo>
                <a:lnTo>
                  <a:pt x="28" y="156"/>
                </a:lnTo>
                <a:lnTo>
                  <a:pt x="29" y="155"/>
                </a:lnTo>
                <a:lnTo>
                  <a:pt x="30" y="154"/>
                </a:lnTo>
                <a:lnTo>
                  <a:pt x="33" y="154"/>
                </a:lnTo>
                <a:lnTo>
                  <a:pt x="28" y="151"/>
                </a:lnTo>
                <a:lnTo>
                  <a:pt x="23" y="147"/>
                </a:lnTo>
                <a:lnTo>
                  <a:pt x="18" y="143"/>
                </a:lnTo>
                <a:lnTo>
                  <a:pt x="14" y="138"/>
                </a:lnTo>
                <a:lnTo>
                  <a:pt x="6" y="127"/>
                </a:lnTo>
                <a:lnTo>
                  <a:pt x="0" y="117"/>
                </a:lnTo>
                <a:lnTo>
                  <a:pt x="2" y="116"/>
                </a:lnTo>
                <a:lnTo>
                  <a:pt x="4" y="115"/>
                </a:lnTo>
                <a:lnTo>
                  <a:pt x="5" y="112"/>
                </a:lnTo>
                <a:lnTo>
                  <a:pt x="5" y="110"/>
                </a:lnTo>
                <a:lnTo>
                  <a:pt x="6" y="104"/>
                </a:lnTo>
                <a:lnTo>
                  <a:pt x="6" y="98"/>
                </a:lnTo>
                <a:lnTo>
                  <a:pt x="17" y="97"/>
                </a:lnTo>
                <a:lnTo>
                  <a:pt x="26" y="95"/>
                </a:lnTo>
                <a:lnTo>
                  <a:pt x="34" y="93"/>
                </a:lnTo>
                <a:lnTo>
                  <a:pt x="41" y="91"/>
                </a:lnTo>
                <a:lnTo>
                  <a:pt x="47" y="88"/>
                </a:lnTo>
                <a:lnTo>
                  <a:pt x="52" y="85"/>
                </a:lnTo>
                <a:lnTo>
                  <a:pt x="57" y="82"/>
                </a:lnTo>
                <a:lnTo>
                  <a:pt x="60" y="78"/>
                </a:lnTo>
                <a:lnTo>
                  <a:pt x="67" y="70"/>
                </a:lnTo>
                <a:lnTo>
                  <a:pt x="71" y="61"/>
                </a:lnTo>
                <a:lnTo>
                  <a:pt x="75" y="52"/>
                </a:lnTo>
                <a:lnTo>
                  <a:pt x="80" y="43"/>
                </a:lnTo>
                <a:lnTo>
                  <a:pt x="84" y="47"/>
                </a:lnTo>
                <a:lnTo>
                  <a:pt x="89" y="50"/>
                </a:lnTo>
                <a:lnTo>
                  <a:pt x="95" y="52"/>
                </a:lnTo>
                <a:lnTo>
                  <a:pt x="102" y="53"/>
                </a:lnTo>
                <a:lnTo>
                  <a:pt x="117" y="54"/>
                </a:lnTo>
                <a:lnTo>
                  <a:pt x="135" y="52"/>
                </a:lnTo>
                <a:lnTo>
                  <a:pt x="169" y="46"/>
                </a:lnTo>
                <a:lnTo>
                  <a:pt x="200" y="43"/>
                </a:lnTo>
                <a:lnTo>
                  <a:pt x="212" y="43"/>
                </a:lnTo>
                <a:lnTo>
                  <a:pt x="223" y="42"/>
                </a:lnTo>
                <a:lnTo>
                  <a:pt x="234" y="41"/>
                </a:lnTo>
                <a:lnTo>
                  <a:pt x="245" y="39"/>
                </a:lnTo>
                <a:lnTo>
                  <a:pt x="264" y="35"/>
                </a:lnTo>
                <a:lnTo>
                  <a:pt x="283" y="29"/>
                </a:lnTo>
                <a:lnTo>
                  <a:pt x="318" y="17"/>
                </a:lnTo>
                <a:lnTo>
                  <a:pt x="352" y="6"/>
                </a:lnTo>
                <a:lnTo>
                  <a:pt x="359" y="4"/>
                </a:lnTo>
                <a:lnTo>
                  <a:pt x="365" y="3"/>
                </a:lnTo>
                <a:lnTo>
                  <a:pt x="372" y="3"/>
                </a:lnTo>
                <a:lnTo>
                  <a:pt x="378" y="3"/>
                </a:lnTo>
                <a:lnTo>
                  <a:pt x="385" y="3"/>
                </a:lnTo>
                <a:lnTo>
                  <a:pt x="392" y="2"/>
                </a:lnTo>
                <a:lnTo>
                  <a:pt x="398" y="1"/>
                </a:lnTo>
                <a:lnTo>
                  <a:pt x="405" y="0"/>
                </a:lnTo>
                <a:lnTo>
                  <a:pt x="395" y="8"/>
                </a:lnTo>
                <a:lnTo>
                  <a:pt x="372" y="29"/>
                </a:lnTo>
                <a:lnTo>
                  <a:pt x="360" y="41"/>
                </a:lnTo>
                <a:lnTo>
                  <a:pt x="349" y="52"/>
                </a:lnTo>
                <a:lnTo>
                  <a:pt x="344" y="57"/>
                </a:lnTo>
                <a:lnTo>
                  <a:pt x="341" y="61"/>
                </a:lnTo>
                <a:lnTo>
                  <a:pt x="339" y="64"/>
                </a:lnTo>
                <a:lnTo>
                  <a:pt x="339" y="68"/>
                </a:lnTo>
                <a:lnTo>
                  <a:pt x="339" y="96"/>
                </a:lnTo>
                <a:lnTo>
                  <a:pt x="338" y="132"/>
                </a:lnTo>
                <a:lnTo>
                  <a:pt x="337" y="149"/>
                </a:lnTo>
                <a:lnTo>
                  <a:pt x="336" y="165"/>
                </a:lnTo>
                <a:lnTo>
                  <a:pt x="335" y="180"/>
                </a:lnTo>
                <a:lnTo>
                  <a:pt x="332" y="191"/>
                </a:lnTo>
                <a:lnTo>
                  <a:pt x="326" y="198"/>
                </a:lnTo>
                <a:lnTo>
                  <a:pt x="317" y="204"/>
                </a:lnTo>
                <a:lnTo>
                  <a:pt x="305" y="210"/>
                </a:lnTo>
                <a:lnTo>
                  <a:pt x="293" y="215"/>
                </a:lnTo>
                <a:lnTo>
                  <a:pt x="265" y="227"/>
                </a:lnTo>
                <a:lnTo>
                  <a:pt x="239" y="241"/>
                </a:lnTo>
                <a:lnTo>
                  <a:pt x="106" y="302"/>
                </a:lnTo>
                <a:lnTo>
                  <a:pt x="53" y="271"/>
                </a:lnTo>
                <a:lnTo>
                  <a:pt x="57" y="260"/>
                </a:lnTo>
                <a:lnTo>
                  <a:pt x="64" y="240"/>
                </a:lnTo>
                <a:lnTo>
                  <a:pt x="70" y="228"/>
                </a:lnTo>
                <a:lnTo>
                  <a:pt x="75" y="218"/>
                </a:lnTo>
                <a:lnTo>
                  <a:pt x="81" y="209"/>
                </a:lnTo>
                <a:lnTo>
                  <a:pt x="86" y="203"/>
                </a:lnTo>
                <a:lnTo>
                  <a:pt x="86" y="172"/>
                </a:lnTo>
                <a:lnTo>
                  <a:pt x="79" y="173"/>
                </a:lnTo>
                <a:lnTo>
                  <a:pt x="71" y="173"/>
                </a:lnTo>
                <a:lnTo>
                  <a:pt x="63" y="171"/>
                </a:lnTo>
                <a:lnTo>
                  <a:pt x="57" y="169"/>
                </a:lnTo>
                <a:lnTo>
                  <a:pt x="49" y="167"/>
                </a:lnTo>
                <a:lnTo>
                  <a:pt x="41" y="165"/>
                </a:lnTo>
                <a:lnTo>
                  <a:pt x="34" y="165"/>
                </a:lnTo>
                <a:lnTo>
                  <a:pt x="26" y="16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82" name="Freeform 534"/>
          <p:cNvSpPr>
            <a:spLocks/>
          </p:cNvSpPr>
          <p:nvPr>
            <p:custDataLst>
              <p:tags r:id="rId370"/>
            </p:custDataLst>
          </p:nvPr>
        </p:nvSpPr>
        <p:spPr bwMode="auto">
          <a:xfrm>
            <a:off x="8459788" y="2860676"/>
            <a:ext cx="42862" cy="79375"/>
          </a:xfrm>
          <a:custGeom>
            <a:avLst/>
            <a:gdLst>
              <a:gd name="T0" fmla="*/ 100 w 100"/>
              <a:gd name="T1" fmla="*/ 1 h 155"/>
              <a:gd name="T2" fmla="*/ 100 w 100"/>
              <a:gd name="T3" fmla="*/ 30 h 155"/>
              <a:gd name="T4" fmla="*/ 100 w 100"/>
              <a:gd name="T5" fmla="*/ 55 h 155"/>
              <a:gd name="T6" fmla="*/ 100 w 100"/>
              <a:gd name="T7" fmla="*/ 78 h 155"/>
              <a:gd name="T8" fmla="*/ 100 w 100"/>
              <a:gd name="T9" fmla="*/ 99 h 155"/>
              <a:gd name="T10" fmla="*/ 98 w 100"/>
              <a:gd name="T11" fmla="*/ 109 h 155"/>
              <a:gd name="T12" fmla="*/ 94 w 100"/>
              <a:gd name="T13" fmla="*/ 118 h 155"/>
              <a:gd name="T14" fmla="*/ 89 w 100"/>
              <a:gd name="T15" fmla="*/ 128 h 155"/>
              <a:gd name="T16" fmla="*/ 82 w 100"/>
              <a:gd name="T17" fmla="*/ 137 h 155"/>
              <a:gd name="T18" fmla="*/ 73 w 100"/>
              <a:gd name="T19" fmla="*/ 144 h 155"/>
              <a:gd name="T20" fmla="*/ 62 w 100"/>
              <a:gd name="T21" fmla="*/ 150 h 155"/>
              <a:gd name="T22" fmla="*/ 57 w 100"/>
              <a:gd name="T23" fmla="*/ 152 h 155"/>
              <a:gd name="T24" fmla="*/ 51 w 100"/>
              <a:gd name="T25" fmla="*/ 154 h 155"/>
              <a:gd name="T26" fmla="*/ 46 w 100"/>
              <a:gd name="T27" fmla="*/ 155 h 155"/>
              <a:gd name="T28" fmla="*/ 39 w 100"/>
              <a:gd name="T29" fmla="*/ 155 h 155"/>
              <a:gd name="T30" fmla="*/ 35 w 100"/>
              <a:gd name="T31" fmla="*/ 154 h 155"/>
              <a:gd name="T32" fmla="*/ 30 w 100"/>
              <a:gd name="T33" fmla="*/ 153 h 155"/>
              <a:gd name="T34" fmla="*/ 26 w 100"/>
              <a:gd name="T35" fmla="*/ 151 h 155"/>
              <a:gd name="T36" fmla="*/ 22 w 100"/>
              <a:gd name="T37" fmla="*/ 149 h 155"/>
              <a:gd name="T38" fmla="*/ 15 w 100"/>
              <a:gd name="T39" fmla="*/ 142 h 155"/>
              <a:gd name="T40" fmla="*/ 9 w 100"/>
              <a:gd name="T41" fmla="*/ 134 h 155"/>
              <a:gd name="T42" fmla="*/ 5 w 100"/>
              <a:gd name="T43" fmla="*/ 124 h 155"/>
              <a:gd name="T44" fmla="*/ 2 w 100"/>
              <a:gd name="T45" fmla="*/ 113 h 155"/>
              <a:gd name="T46" fmla="*/ 0 w 100"/>
              <a:gd name="T47" fmla="*/ 103 h 155"/>
              <a:gd name="T48" fmla="*/ 0 w 100"/>
              <a:gd name="T49" fmla="*/ 93 h 155"/>
              <a:gd name="T50" fmla="*/ 0 w 100"/>
              <a:gd name="T51" fmla="*/ 77 h 155"/>
              <a:gd name="T52" fmla="*/ 0 w 100"/>
              <a:gd name="T53" fmla="*/ 65 h 155"/>
              <a:gd name="T54" fmla="*/ 0 w 100"/>
              <a:gd name="T55" fmla="*/ 56 h 155"/>
              <a:gd name="T56" fmla="*/ 0 w 100"/>
              <a:gd name="T57" fmla="*/ 50 h 155"/>
              <a:gd name="T58" fmla="*/ 15 w 100"/>
              <a:gd name="T59" fmla="*/ 50 h 155"/>
              <a:gd name="T60" fmla="*/ 26 w 100"/>
              <a:gd name="T61" fmla="*/ 50 h 155"/>
              <a:gd name="T62" fmla="*/ 26 w 100"/>
              <a:gd name="T63" fmla="*/ 40 h 155"/>
              <a:gd name="T64" fmla="*/ 27 w 100"/>
              <a:gd name="T65" fmla="*/ 31 h 155"/>
              <a:gd name="T66" fmla="*/ 29 w 100"/>
              <a:gd name="T67" fmla="*/ 23 h 155"/>
              <a:gd name="T68" fmla="*/ 31 w 100"/>
              <a:gd name="T69" fmla="*/ 17 h 155"/>
              <a:gd name="T70" fmla="*/ 35 w 100"/>
              <a:gd name="T71" fmla="*/ 12 h 155"/>
              <a:gd name="T72" fmla="*/ 39 w 100"/>
              <a:gd name="T73" fmla="*/ 7 h 155"/>
              <a:gd name="T74" fmla="*/ 42 w 100"/>
              <a:gd name="T75" fmla="*/ 4 h 155"/>
              <a:gd name="T76" fmla="*/ 48 w 100"/>
              <a:gd name="T77" fmla="*/ 2 h 155"/>
              <a:gd name="T78" fmla="*/ 59 w 100"/>
              <a:gd name="T79" fmla="*/ 0 h 155"/>
              <a:gd name="T80" fmla="*/ 71 w 100"/>
              <a:gd name="T81" fmla="*/ 0 h 155"/>
              <a:gd name="T82" fmla="*/ 84 w 100"/>
              <a:gd name="T83" fmla="*/ 0 h 155"/>
              <a:gd name="T84" fmla="*/ 100 w 100"/>
              <a:gd name="T85" fmla="*/ 1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00" h="155">
                <a:moveTo>
                  <a:pt x="100" y="1"/>
                </a:moveTo>
                <a:lnTo>
                  <a:pt x="100" y="30"/>
                </a:lnTo>
                <a:lnTo>
                  <a:pt x="100" y="55"/>
                </a:lnTo>
                <a:lnTo>
                  <a:pt x="100" y="78"/>
                </a:lnTo>
                <a:lnTo>
                  <a:pt x="100" y="99"/>
                </a:lnTo>
                <a:lnTo>
                  <a:pt x="98" y="109"/>
                </a:lnTo>
                <a:lnTo>
                  <a:pt x="94" y="118"/>
                </a:lnTo>
                <a:lnTo>
                  <a:pt x="89" y="128"/>
                </a:lnTo>
                <a:lnTo>
                  <a:pt x="82" y="137"/>
                </a:lnTo>
                <a:lnTo>
                  <a:pt x="73" y="144"/>
                </a:lnTo>
                <a:lnTo>
                  <a:pt x="62" y="150"/>
                </a:lnTo>
                <a:lnTo>
                  <a:pt x="57" y="152"/>
                </a:lnTo>
                <a:lnTo>
                  <a:pt x="51" y="154"/>
                </a:lnTo>
                <a:lnTo>
                  <a:pt x="46" y="155"/>
                </a:lnTo>
                <a:lnTo>
                  <a:pt x="39" y="155"/>
                </a:lnTo>
                <a:lnTo>
                  <a:pt x="35" y="154"/>
                </a:lnTo>
                <a:lnTo>
                  <a:pt x="30" y="153"/>
                </a:lnTo>
                <a:lnTo>
                  <a:pt x="26" y="151"/>
                </a:lnTo>
                <a:lnTo>
                  <a:pt x="22" y="149"/>
                </a:lnTo>
                <a:lnTo>
                  <a:pt x="15" y="142"/>
                </a:lnTo>
                <a:lnTo>
                  <a:pt x="9" y="134"/>
                </a:lnTo>
                <a:lnTo>
                  <a:pt x="5" y="124"/>
                </a:lnTo>
                <a:lnTo>
                  <a:pt x="2" y="113"/>
                </a:lnTo>
                <a:lnTo>
                  <a:pt x="0" y="103"/>
                </a:lnTo>
                <a:lnTo>
                  <a:pt x="0" y="93"/>
                </a:lnTo>
                <a:lnTo>
                  <a:pt x="0" y="77"/>
                </a:lnTo>
                <a:lnTo>
                  <a:pt x="0" y="65"/>
                </a:lnTo>
                <a:lnTo>
                  <a:pt x="0" y="56"/>
                </a:lnTo>
                <a:lnTo>
                  <a:pt x="0" y="50"/>
                </a:lnTo>
                <a:lnTo>
                  <a:pt x="15" y="50"/>
                </a:lnTo>
                <a:lnTo>
                  <a:pt x="26" y="50"/>
                </a:lnTo>
                <a:lnTo>
                  <a:pt x="26" y="40"/>
                </a:lnTo>
                <a:lnTo>
                  <a:pt x="27" y="31"/>
                </a:lnTo>
                <a:lnTo>
                  <a:pt x="29" y="23"/>
                </a:lnTo>
                <a:lnTo>
                  <a:pt x="31" y="17"/>
                </a:lnTo>
                <a:lnTo>
                  <a:pt x="35" y="12"/>
                </a:lnTo>
                <a:lnTo>
                  <a:pt x="39" y="7"/>
                </a:lnTo>
                <a:lnTo>
                  <a:pt x="42" y="4"/>
                </a:lnTo>
                <a:lnTo>
                  <a:pt x="48" y="2"/>
                </a:lnTo>
                <a:lnTo>
                  <a:pt x="59" y="0"/>
                </a:lnTo>
                <a:lnTo>
                  <a:pt x="71" y="0"/>
                </a:lnTo>
                <a:lnTo>
                  <a:pt x="84" y="0"/>
                </a:lnTo>
                <a:lnTo>
                  <a:pt x="100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grpSp>
        <p:nvGrpSpPr>
          <p:cNvPr id="2583" name="Group 535"/>
          <p:cNvGrpSpPr>
            <a:grpSpLocks/>
          </p:cNvGrpSpPr>
          <p:nvPr>
            <p:custDataLst>
              <p:tags r:id="rId371"/>
            </p:custDataLst>
          </p:nvPr>
        </p:nvGrpSpPr>
        <p:grpSpPr bwMode="auto">
          <a:xfrm>
            <a:off x="6107113" y="2328863"/>
            <a:ext cx="482600" cy="201612"/>
            <a:chOff x="3289" y="1830"/>
            <a:chExt cx="363" cy="128"/>
          </a:xfrm>
        </p:grpSpPr>
        <p:sp>
          <p:nvSpPr>
            <p:cNvPr id="2584" name="Freeform 536"/>
            <p:cNvSpPr>
              <a:spLocks/>
            </p:cNvSpPr>
            <p:nvPr/>
          </p:nvSpPr>
          <p:spPr bwMode="auto">
            <a:xfrm>
              <a:off x="3289" y="1871"/>
              <a:ext cx="4" cy="3"/>
            </a:xfrm>
            <a:custGeom>
              <a:avLst/>
              <a:gdLst>
                <a:gd name="T0" fmla="*/ 13 w 13"/>
                <a:gd name="T1" fmla="*/ 0 h 7"/>
                <a:gd name="T2" fmla="*/ 12 w 13"/>
                <a:gd name="T3" fmla="*/ 1 h 7"/>
                <a:gd name="T4" fmla="*/ 9 w 13"/>
                <a:gd name="T5" fmla="*/ 3 h 7"/>
                <a:gd name="T6" fmla="*/ 4 w 13"/>
                <a:gd name="T7" fmla="*/ 5 h 7"/>
                <a:gd name="T8" fmla="*/ 0 w 13"/>
                <a:gd name="T9" fmla="*/ 7 h 7"/>
                <a:gd name="T10" fmla="*/ 7 w 13"/>
                <a:gd name="T11" fmla="*/ 3 h 7"/>
                <a:gd name="T12" fmla="*/ 13 w 13"/>
                <a:gd name="T1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7">
                  <a:moveTo>
                    <a:pt x="13" y="0"/>
                  </a:moveTo>
                  <a:lnTo>
                    <a:pt x="12" y="1"/>
                  </a:lnTo>
                  <a:lnTo>
                    <a:pt x="9" y="3"/>
                  </a:lnTo>
                  <a:lnTo>
                    <a:pt x="4" y="5"/>
                  </a:lnTo>
                  <a:lnTo>
                    <a:pt x="0" y="7"/>
                  </a:lnTo>
                  <a:lnTo>
                    <a:pt x="7" y="3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85" name="Freeform 537"/>
            <p:cNvSpPr>
              <a:spLocks/>
            </p:cNvSpPr>
            <p:nvPr/>
          </p:nvSpPr>
          <p:spPr bwMode="auto">
            <a:xfrm>
              <a:off x="3324" y="1937"/>
              <a:ext cx="10" cy="3"/>
            </a:xfrm>
            <a:custGeom>
              <a:avLst/>
              <a:gdLst>
                <a:gd name="T0" fmla="*/ 0 w 34"/>
                <a:gd name="T1" fmla="*/ 6 h 8"/>
                <a:gd name="T2" fmla="*/ 7 w 34"/>
                <a:gd name="T3" fmla="*/ 5 h 8"/>
                <a:gd name="T4" fmla="*/ 15 w 34"/>
                <a:gd name="T5" fmla="*/ 3 h 8"/>
                <a:gd name="T6" fmla="*/ 25 w 34"/>
                <a:gd name="T7" fmla="*/ 1 h 8"/>
                <a:gd name="T8" fmla="*/ 34 w 34"/>
                <a:gd name="T9" fmla="*/ 0 h 8"/>
                <a:gd name="T10" fmla="*/ 31 w 34"/>
                <a:gd name="T11" fmla="*/ 2 h 8"/>
                <a:gd name="T12" fmla="*/ 27 w 34"/>
                <a:gd name="T13" fmla="*/ 4 h 8"/>
                <a:gd name="T14" fmla="*/ 22 w 34"/>
                <a:gd name="T15" fmla="*/ 6 h 8"/>
                <a:gd name="T16" fmla="*/ 18 w 34"/>
                <a:gd name="T17" fmla="*/ 7 h 8"/>
                <a:gd name="T18" fmla="*/ 12 w 34"/>
                <a:gd name="T19" fmla="*/ 8 h 8"/>
                <a:gd name="T20" fmla="*/ 8 w 34"/>
                <a:gd name="T21" fmla="*/ 8 h 8"/>
                <a:gd name="T22" fmla="*/ 4 w 34"/>
                <a:gd name="T23" fmla="*/ 8 h 8"/>
                <a:gd name="T24" fmla="*/ 0 w 34"/>
                <a:gd name="T25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" h="8">
                  <a:moveTo>
                    <a:pt x="0" y="6"/>
                  </a:moveTo>
                  <a:lnTo>
                    <a:pt x="7" y="5"/>
                  </a:lnTo>
                  <a:lnTo>
                    <a:pt x="15" y="3"/>
                  </a:lnTo>
                  <a:lnTo>
                    <a:pt x="25" y="1"/>
                  </a:lnTo>
                  <a:lnTo>
                    <a:pt x="34" y="0"/>
                  </a:lnTo>
                  <a:lnTo>
                    <a:pt x="31" y="2"/>
                  </a:lnTo>
                  <a:lnTo>
                    <a:pt x="27" y="4"/>
                  </a:lnTo>
                  <a:lnTo>
                    <a:pt x="22" y="6"/>
                  </a:lnTo>
                  <a:lnTo>
                    <a:pt x="18" y="7"/>
                  </a:lnTo>
                  <a:lnTo>
                    <a:pt x="12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86" name="Freeform 538"/>
            <p:cNvSpPr>
              <a:spLocks/>
            </p:cNvSpPr>
            <p:nvPr/>
          </p:nvSpPr>
          <p:spPr bwMode="auto">
            <a:xfrm>
              <a:off x="3343" y="1948"/>
              <a:ext cx="4" cy="8"/>
            </a:xfrm>
            <a:custGeom>
              <a:avLst/>
              <a:gdLst>
                <a:gd name="T0" fmla="*/ 0 w 13"/>
                <a:gd name="T1" fmla="*/ 24 h 24"/>
                <a:gd name="T2" fmla="*/ 0 w 13"/>
                <a:gd name="T3" fmla="*/ 0 h 24"/>
                <a:gd name="T4" fmla="*/ 13 w 13"/>
                <a:gd name="T5" fmla="*/ 12 h 24"/>
                <a:gd name="T6" fmla="*/ 0 w 13"/>
                <a:gd name="T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24">
                  <a:moveTo>
                    <a:pt x="0" y="24"/>
                  </a:moveTo>
                  <a:lnTo>
                    <a:pt x="0" y="0"/>
                  </a:lnTo>
                  <a:lnTo>
                    <a:pt x="13" y="12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87" name="Freeform 539"/>
            <p:cNvSpPr>
              <a:spLocks/>
            </p:cNvSpPr>
            <p:nvPr/>
          </p:nvSpPr>
          <p:spPr bwMode="auto">
            <a:xfrm>
              <a:off x="3313" y="1834"/>
              <a:ext cx="34" cy="23"/>
            </a:xfrm>
            <a:custGeom>
              <a:avLst/>
              <a:gdLst>
                <a:gd name="T0" fmla="*/ 0 w 107"/>
                <a:gd name="T1" fmla="*/ 13 h 69"/>
                <a:gd name="T2" fmla="*/ 0 w 107"/>
                <a:gd name="T3" fmla="*/ 27 h 69"/>
                <a:gd name="T4" fmla="*/ 0 w 107"/>
                <a:gd name="T5" fmla="*/ 45 h 69"/>
                <a:gd name="T6" fmla="*/ 0 w 107"/>
                <a:gd name="T7" fmla="*/ 62 h 69"/>
                <a:gd name="T8" fmla="*/ 0 w 107"/>
                <a:gd name="T9" fmla="*/ 69 h 69"/>
                <a:gd name="T10" fmla="*/ 16 w 107"/>
                <a:gd name="T11" fmla="*/ 66 h 69"/>
                <a:gd name="T12" fmla="*/ 49 w 107"/>
                <a:gd name="T13" fmla="*/ 58 h 69"/>
                <a:gd name="T14" fmla="*/ 85 w 107"/>
                <a:gd name="T15" fmla="*/ 50 h 69"/>
                <a:gd name="T16" fmla="*/ 107 w 107"/>
                <a:gd name="T17" fmla="*/ 44 h 69"/>
                <a:gd name="T18" fmla="*/ 101 w 107"/>
                <a:gd name="T19" fmla="*/ 38 h 69"/>
                <a:gd name="T20" fmla="*/ 94 w 107"/>
                <a:gd name="T21" fmla="*/ 34 h 69"/>
                <a:gd name="T22" fmla="*/ 86 w 107"/>
                <a:gd name="T23" fmla="*/ 30 h 69"/>
                <a:gd name="T24" fmla="*/ 78 w 107"/>
                <a:gd name="T25" fmla="*/ 27 h 69"/>
                <a:gd name="T26" fmla="*/ 72 w 107"/>
                <a:gd name="T27" fmla="*/ 23 h 69"/>
                <a:gd name="T28" fmla="*/ 65 w 107"/>
                <a:gd name="T29" fmla="*/ 18 h 69"/>
                <a:gd name="T30" fmla="*/ 63 w 107"/>
                <a:gd name="T31" fmla="*/ 15 h 69"/>
                <a:gd name="T32" fmla="*/ 62 w 107"/>
                <a:gd name="T33" fmla="*/ 11 h 69"/>
                <a:gd name="T34" fmla="*/ 61 w 107"/>
                <a:gd name="T35" fmla="*/ 7 h 69"/>
                <a:gd name="T36" fmla="*/ 61 w 107"/>
                <a:gd name="T37" fmla="*/ 0 h 69"/>
                <a:gd name="T38" fmla="*/ 54 w 107"/>
                <a:gd name="T39" fmla="*/ 1 h 69"/>
                <a:gd name="T40" fmla="*/ 38 w 107"/>
                <a:gd name="T41" fmla="*/ 4 h 69"/>
                <a:gd name="T42" fmla="*/ 18 w 107"/>
                <a:gd name="T43" fmla="*/ 9 h 69"/>
                <a:gd name="T44" fmla="*/ 0 w 107"/>
                <a:gd name="T45" fmla="*/ 13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7" h="69">
                  <a:moveTo>
                    <a:pt x="0" y="13"/>
                  </a:moveTo>
                  <a:lnTo>
                    <a:pt x="0" y="27"/>
                  </a:lnTo>
                  <a:lnTo>
                    <a:pt x="0" y="45"/>
                  </a:lnTo>
                  <a:lnTo>
                    <a:pt x="0" y="62"/>
                  </a:lnTo>
                  <a:lnTo>
                    <a:pt x="0" y="69"/>
                  </a:lnTo>
                  <a:lnTo>
                    <a:pt x="16" y="66"/>
                  </a:lnTo>
                  <a:lnTo>
                    <a:pt x="49" y="58"/>
                  </a:lnTo>
                  <a:lnTo>
                    <a:pt x="85" y="50"/>
                  </a:lnTo>
                  <a:lnTo>
                    <a:pt x="107" y="44"/>
                  </a:lnTo>
                  <a:lnTo>
                    <a:pt x="101" y="38"/>
                  </a:lnTo>
                  <a:lnTo>
                    <a:pt x="94" y="34"/>
                  </a:lnTo>
                  <a:lnTo>
                    <a:pt x="86" y="30"/>
                  </a:lnTo>
                  <a:lnTo>
                    <a:pt x="78" y="27"/>
                  </a:lnTo>
                  <a:lnTo>
                    <a:pt x="72" y="23"/>
                  </a:lnTo>
                  <a:lnTo>
                    <a:pt x="65" y="18"/>
                  </a:lnTo>
                  <a:lnTo>
                    <a:pt x="63" y="15"/>
                  </a:lnTo>
                  <a:lnTo>
                    <a:pt x="62" y="11"/>
                  </a:lnTo>
                  <a:lnTo>
                    <a:pt x="61" y="7"/>
                  </a:lnTo>
                  <a:lnTo>
                    <a:pt x="61" y="0"/>
                  </a:lnTo>
                  <a:lnTo>
                    <a:pt x="54" y="1"/>
                  </a:lnTo>
                  <a:lnTo>
                    <a:pt x="38" y="4"/>
                  </a:lnTo>
                  <a:lnTo>
                    <a:pt x="18" y="9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88" name="Freeform 540"/>
            <p:cNvSpPr>
              <a:spLocks/>
            </p:cNvSpPr>
            <p:nvPr/>
          </p:nvSpPr>
          <p:spPr bwMode="auto">
            <a:xfrm>
              <a:off x="3302" y="1830"/>
              <a:ext cx="350" cy="128"/>
            </a:xfrm>
            <a:custGeom>
              <a:avLst/>
              <a:gdLst>
                <a:gd name="T0" fmla="*/ 992 w 1070"/>
                <a:gd name="T1" fmla="*/ 124 h 382"/>
                <a:gd name="T2" fmla="*/ 970 w 1070"/>
                <a:gd name="T3" fmla="*/ 103 h 382"/>
                <a:gd name="T4" fmla="*/ 962 w 1070"/>
                <a:gd name="T5" fmla="*/ 57 h 382"/>
                <a:gd name="T6" fmla="*/ 936 w 1070"/>
                <a:gd name="T7" fmla="*/ 36 h 382"/>
                <a:gd name="T8" fmla="*/ 817 w 1070"/>
                <a:gd name="T9" fmla="*/ 19 h 382"/>
                <a:gd name="T10" fmla="*/ 726 w 1070"/>
                <a:gd name="T11" fmla="*/ 58 h 382"/>
                <a:gd name="T12" fmla="*/ 678 w 1070"/>
                <a:gd name="T13" fmla="*/ 65 h 382"/>
                <a:gd name="T14" fmla="*/ 632 w 1070"/>
                <a:gd name="T15" fmla="*/ 65 h 382"/>
                <a:gd name="T16" fmla="*/ 612 w 1070"/>
                <a:gd name="T17" fmla="*/ 44 h 382"/>
                <a:gd name="T18" fmla="*/ 560 w 1070"/>
                <a:gd name="T19" fmla="*/ 37 h 382"/>
                <a:gd name="T20" fmla="*/ 525 w 1070"/>
                <a:gd name="T21" fmla="*/ 19 h 382"/>
                <a:gd name="T22" fmla="*/ 483 w 1070"/>
                <a:gd name="T23" fmla="*/ 21 h 382"/>
                <a:gd name="T24" fmla="*/ 465 w 1070"/>
                <a:gd name="T25" fmla="*/ 0 h 382"/>
                <a:gd name="T26" fmla="*/ 390 w 1070"/>
                <a:gd name="T27" fmla="*/ 16 h 382"/>
                <a:gd name="T28" fmla="*/ 299 w 1070"/>
                <a:gd name="T29" fmla="*/ 26 h 382"/>
                <a:gd name="T30" fmla="*/ 257 w 1070"/>
                <a:gd name="T31" fmla="*/ 45 h 382"/>
                <a:gd name="T32" fmla="*/ 138 w 1070"/>
                <a:gd name="T33" fmla="*/ 61 h 382"/>
                <a:gd name="T34" fmla="*/ 173 w 1070"/>
                <a:gd name="T35" fmla="*/ 75 h 382"/>
                <a:gd name="T36" fmla="*/ 164 w 1070"/>
                <a:gd name="T37" fmla="*/ 90 h 382"/>
                <a:gd name="T38" fmla="*/ 114 w 1070"/>
                <a:gd name="T39" fmla="*/ 93 h 382"/>
                <a:gd name="T40" fmla="*/ 42 w 1070"/>
                <a:gd name="T41" fmla="*/ 94 h 382"/>
                <a:gd name="T42" fmla="*/ 8 w 1070"/>
                <a:gd name="T43" fmla="*/ 110 h 382"/>
                <a:gd name="T44" fmla="*/ 0 w 1070"/>
                <a:gd name="T45" fmla="*/ 147 h 382"/>
                <a:gd name="T46" fmla="*/ 16 w 1070"/>
                <a:gd name="T47" fmla="*/ 167 h 382"/>
                <a:gd name="T48" fmla="*/ 22 w 1070"/>
                <a:gd name="T49" fmla="*/ 193 h 382"/>
                <a:gd name="T50" fmla="*/ 21 w 1070"/>
                <a:gd name="T51" fmla="*/ 210 h 382"/>
                <a:gd name="T52" fmla="*/ 49 w 1070"/>
                <a:gd name="T53" fmla="*/ 237 h 382"/>
                <a:gd name="T54" fmla="*/ 56 w 1070"/>
                <a:gd name="T55" fmla="*/ 259 h 382"/>
                <a:gd name="T56" fmla="*/ 74 w 1070"/>
                <a:gd name="T57" fmla="*/ 271 h 382"/>
                <a:gd name="T58" fmla="*/ 96 w 1070"/>
                <a:gd name="T59" fmla="*/ 290 h 382"/>
                <a:gd name="T60" fmla="*/ 205 w 1070"/>
                <a:gd name="T61" fmla="*/ 352 h 382"/>
                <a:gd name="T62" fmla="*/ 253 w 1070"/>
                <a:gd name="T63" fmla="*/ 370 h 382"/>
                <a:gd name="T64" fmla="*/ 267 w 1070"/>
                <a:gd name="T65" fmla="*/ 358 h 382"/>
                <a:gd name="T66" fmla="*/ 277 w 1070"/>
                <a:gd name="T67" fmla="*/ 338 h 382"/>
                <a:gd name="T68" fmla="*/ 297 w 1070"/>
                <a:gd name="T69" fmla="*/ 316 h 382"/>
                <a:gd name="T70" fmla="*/ 334 w 1070"/>
                <a:gd name="T71" fmla="*/ 323 h 382"/>
                <a:gd name="T72" fmla="*/ 362 w 1070"/>
                <a:gd name="T73" fmla="*/ 358 h 382"/>
                <a:gd name="T74" fmla="*/ 399 w 1070"/>
                <a:gd name="T75" fmla="*/ 370 h 382"/>
                <a:gd name="T76" fmla="*/ 447 w 1070"/>
                <a:gd name="T77" fmla="*/ 359 h 382"/>
                <a:gd name="T78" fmla="*/ 493 w 1070"/>
                <a:gd name="T79" fmla="*/ 335 h 382"/>
                <a:gd name="T80" fmla="*/ 525 w 1070"/>
                <a:gd name="T81" fmla="*/ 327 h 382"/>
                <a:gd name="T82" fmla="*/ 564 w 1070"/>
                <a:gd name="T83" fmla="*/ 326 h 382"/>
                <a:gd name="T84" fmla="*/ 567 w 1070"/>
                <a:gd name="T85" fmla="*/ 367 h 382"/>
                <a:gd name="T86" fmla="*/ 590 w 1070"/>
                <a:gd name="T87" fmla="*/ 377 h 382"/>
                <a:gd name="T88" fmla="*/ 613 w 1070"/>
                <a:gd name="T89" fmla="*/ 362 h 382"/>
                <a:gd name="T90" fmla="*/ 647 w 1070"/>
                <a:gd name="T91" fmla="*/ 336 h 382"/>
                <a:gd name="T92" fmla="*/ 752 w 1070"/>
                <a:gd name="T93" fmla="*/ 327 h 382"/>
                <a:gd name="T94" fmla="*/ 831 w 1070"/>
                <a:gd name="T95" fmla="*/ 315 h 382"/>
                <a:gd name="T96" fmla="*/ 918 w 1070"/>
                <a:gd name="T97" fmla="*/ 283 h 382"/>
                <a:gd name="T98" fmla="*/ 967 w 1070"/>
                <a:gd name="T99" fmla="*/ 286 h 382"/>
                <a:gd name="T100" fmla="*/ 1005 w 1070"/>
                <a:gd name="T101" fmla="*/ 293 h 382"/>
                <a:gd name="T102" fmla="*/ 1056 w 1070"/>
                <a:gd name="T103" fmla="*/ 308 h 382"/>
                <a:gd name="T104" fmla="*/ 1056 w 1070"/>
                <a:gd name="T105" fmla="*/ 268 h 382"/>
                <a:gd name="T106" fmla="*/ 1026 w 1070"/>
                <a:gd name="T107" fmla="*/ 219 h 382"/>
                <a:gd name="T108" fmla="*/ 1017 w 1070"/>
                <a:gd name="T109" fmla="*/ 167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070" h="382">
                  <a:moveTo>
                    <a:pt x="1011" y="142"/>
                  </a:moveTo>
                  <a:lnTo>
                    <a:pt x="1011" y="136"/>
                  </a:lnTo>
                  <a:lnTo>
                    <a:pt x="1011" y="123"/>
                  </a:lnTo>
                  <a:lnTo>
                    <a:pt x="1000" y="125"/>
                  </a:lnTo>
                  <a:lnTo>
                    <a:pt x="992" y="124"/>
                  </a:lnTo>
                  <a:lnTo>
                    <a:pt x="984" y="122"/>
                  </a:lnTo>
                  <a:lnTo>
                    <a:pt x="980" y="119"/>
                  </a:lnTo>
                  <a:lnTo>
                    <a:pt x="976" y="114"/>
                  </a:lnTo>
                  <a:lnTo>
                    <a:pt x="972" y="109"/>
                  </a:lnTo>
                  <a:lnTo>
                    <a:pt x="970" y="103"/>
                  </a:lnTo>
                  <a:lnTo>
                    <a:pt x="969" y="96"/>
                  </a:lnTo>
                  <a:lnTo>
                    <a:pt x="967" y="82"/>
                  </a:lnTo>
                  <a:lnTo>
                    <a:pt x="966" y="68"/>
                  </a:lnTo>
                  <a:lnTo>
                    <a:pt x="965" y="62"/>
                  </a:lnTo>
                  <a:lnTo>
                    <a:pt x="962" y="57"/>
                  </a:lnTo>
                  <a:lnTo>
                    <a:pt x="960" y="53"/>
                  </a:lnTo>
                  <a:lnTo>
                    <a:pt x="957" y="50"/>
                  </a:lnTo>
                  <a:lnTo>
                    <a:pt x="950" y="44"/>
                  </a:lnTo>
                  <a:lnTo>
                    <a:pt x="944" y="40"/>
                  </a:lnTo>
                  <a:lnTo>
                    <a:pt x="936" y="36"/>
                  </a:lnTo>
                  <a:lnTo>
                    <a:pt x="928" y="33"/>
                  </a:lnTo>
                  <a:lnTo>
                    <a:pt x="912" y="28"/>
                  </a:lnTo>
                  <a:lnTo>
                    <a:pt x="894" y="25"/>
                  </a:lnTo>
                  <a:lnTo>
                    <a:pt x="857" y="22"/>
                  </a:lnTo>
                  <a:lnTo>
                    <a:pt x="817" y="19"/>
                  </a:lnTo>
                  <a:lnTo>
                    <a:pt x="799" y="29"/>
                  </a:lnTo>
                  <a:lnTo>
                    <a:pt x="769" y="43"/>
                  </a:lnTo>
                  <a:lnTo>
                    <a:pt x="752" y="50"/>
                  </a:lnTo>
                  <a:lnTo>
                    <a:pt x="734" y="56"/>
                  </a:lnTo>
                  <a:lnTo>
                    <a:pt x="726" y="58"/>
                  </a:lnTo>
                  <a:lnTo>
                    <a:pt x="719" y="60"/>
                  </a:lnTo>
                  <a:lnTo>
                    <a:pt x="711" y="61"/>
                  </a:lnTo>
                  <a:lnTo>
                    <a:pt x="704" y="62"/>
                  </a:lnTo>
                  <a:lnTo>
                    <a:pt x="692" y="63"/>
                  </a:lnTo>
                  <a:lnTo>
                    <a:pt x="678" y="65"/>
                  </a:lnTo>
                  <a:lnTo>
                    <a:pt x="664" y="67"/>
                  </a:lnTo>
                  <a:lnTo>
                    <a:pt x="652" y="68"/>
                  </a:lnTo>
                  <a:lnTo>
                    <a:pt x="644" y="68"/>
                  </a:lnTo>
                  <a:lnTo>
                    <a:pt x="637" y="67"/>
                  </a:lnTo>
                  <a:lnTo>
                    <a:pt x="632" y="65"/>
                  </a:lnTo>
                  <a:lnTo>
                    <a:pt x="626" y="63"/>
                  </a:lnTo>
                  <a:lnTo>
                    <a:pt x="622" y="59"/>
                  </a:lnTo>
                  <a:lnTo>
                    <a:pt x="618" y="55"/>
                  </a:lnTo>
                  <a:lnTo>
                    <a:pt x="614" y="50"/>
                  </a:lnTo>
                  <a:lnTo>
                    <a:pt x="612" y="44"/>
                  </a:lnTo>
                  <a:lnTo>
                    <a:pt x="601" y="45"/>
                  </a:lnTo>
                  <a:lnTo>
                    <a:pt x="591" y="44"/>
                  </a:lnTo>
                  <a:lnTo>
                    <a:pt x="581" y="42"/>
                  </a:lnTo>
                  <a:lnTo>
                    <a:pt x="571" y="40"/>
                  </a:lnTo>
                  <a:lnTo>
                    <a:pt x="560" y="37"/>
                  </a:lnTo>
                  <a:lnTo>
                    <a:pt x="549" y="34"/>
                  </a:lnTo>
                  <a:lnTo>
                    <a:pt x="537" y="32"/>
                  </a:lnTo>
                  <a:lnTo>
                    <a:pt x="525" y="32"/>
                  </a:lnTo>
                  <a:lnTo>
                    <a:pt x="525" y="25"/>
                  </a:lnTo>
                  <a:lnTo>
                    <a:pt x="525" y="19"/>
                  </a:lnTo>
                  <a:lnTo>
                    <a:pt x="512" y="22"/>
                  </a:lnTo>
                  <a:lnTo>
                    <a:pt x="499" y="25"/>
                  </a:lnTo>
                  <a:lnTo>
                    <a:pt x="493" y="25"/>
                  </a:lnTo>
                  <a:lnTo>
                    <a:pt x="488" y="23"/>
                  </a:lnTo>
                  <a:lnTo>
                    <a:pt x="483" y="21"/>
                  </a:lnTo>
                  <a:lnTo>
                    <a:pt x="477" y="17"/>
                  </a:lnTo>
                  <a:lnTo>
                    <a:pt x="473" y="13"/>
                  </a:lnTo>
                  <a:lnTo>
                    <a:pt x="468" y="9"/>
                  </a:lnTo>
                  <a:lnTo>
                    <a:pt x="466" y="5"/>
                  </a:lnTo>
                  <a:lnTo>
                    <a:pt x="465" y="0"/>
                  </a:lnTo>
                  <a:lnTo>
                    <a:pt x="456" y="5"/>
                  </a:lnTo>
                  <a:lnTo>
                    <a:pt x="445" y="9"/>
                  </a:lnTo>
                  <a:lnTo>
                    <a:pt x="432" y="12"/>
                  </a:lnTo>
                  <a:lnTo>
                    <a:pt x="419" y="14"/>
                  </a:lnTo>
                  <a:lnTo>
                    <a:pt x="390" y="16"/>
                  </a:lnTo>
                  <a:lnTo>
                    <a:pt x="360" y="19"/>
                  </a:lnTo>
                  <a:lnTo>
                    <a:pt x="343" y="20"/>
                  </a:lnTo>
                  <a:lnTo>
                    <a:pt x="329" y="21"/>
                  </a:lnTo>
                  <a:lnTo>
                    <a:pt x="313" y="23"/>
                  </a:lnTo>
                  <a:lnTo>
                    <a:pt x="299" y="26"/>
                  </a:lnTo>
                  <a:lnTo>
                    <a:pt x="286" y="30"/>
                  </a:lnTo>
                  <a:lnTo>
                    <a:pt x="274" y="35"/>
                  </a:lnTo>
                  <a:lnTo>
                    <a:pt x="267" y="38"/>
                  </a:lnTo>
                  <a:lnTo>
                    <a:pt x="262" y="41"/>
                  </a:lnTo>
                  <a:lnTo>
                    <a:pt x="257" y="45"/>
                  </a:lnTo>
                  <a:lnTo>
                    <a:pt x="253" y="50"/>
                  </a:lnTo>
                  <a:lnTo>
                    <a:pt x="147" y="50"/>
                  </a:lnTo>
                  <a:lnTo>
                    <a:pt x="145" y="54"/>
                  </a:lnTo>
                  <a:lnTo>
                    <a:pt x="142" y="58"/>
                  </a:lnTo>
                  <a:lnTo>
                    <a:pt x="138" y="61"/>
                  </a:lnTo>
                  <a:lnTo>
                    <a:pt x="133" y="62"/>
                  </a:lnTo>
                  <a:lnTo>
                    <a:pt x="143" y="65"/>
                  </a:lnTo>
                  <a:lnTo>
                    <a:pt x="153" y="68"/>
                  </a:lnTo>
                  <a:lnTo>
                    <a:pt x="163" y="70"/>
                  </a:lnTo>
                  <a:lnTo>
                    <a:pt x="173" y="75"/>
                  </a:lnTo>
                  <a:lnTo>
                    <a:pt x="173" y="79"/>
                  </a:lnTo>
                  <a:lnTo>
                    <a:pt x="172" y="83"/>
                  </a:lnTo>
                  <a:lnTo>
                    <a:pt x="170" y="86"/>
                  </a:lnTo>
                  <a:lnTo>
                    <a:pt x="167" y="88"/>
                  </a:lnTo>
                  <a:lnTo>
                    <a:pt x="164" y="90"/>
                  </a:lnTo>
                  <a:lnTo>
                    <a:pt x="161" y="91"/>
                  </a:lnTo>
                  <a:lnTo>
                    <a:pt x="158" y="92"/>
                  </a:lnTo>
                  <a:lnTo>
                    <a:pt x="153" y="93"/>
                  </a:lnTo>
                  <a:lnTo>
                    <a:pt x="133" y="94"/>
                  </a:lnTo>
                  <a:lnTo>
                    <a:pt x="114" y="93"/>
                  </a:lnTo>
                  <a:lnTo>
                    <a:pt x="108" y="93"/>
                  </a:lnTo>
                  <a:lnTo>
                    <a:pt x="94" y="93"/>
                  </a:lnTo>
                  <a:lnTo>
                    <a:pt x="74" y="93"/>
                  </a:lnTo>
                  <a:lnTo>
                    <a:pt x="53" y="93"/>
                  </a:lnTo>
                  <a:lnTo>
                    <a:pt x="42" y="94"/>
                  </a:lnTo>
                  <a:lnTo>
                    <a:pt x="31" y="95"/>
                  </a:lnTo>
                  <a:lnTo>
                    <a:pt x="22" y="99"/>
                  </a:lnTo>
                  <a:lnTo>
                    <a:pt x="15" y="104"/>
                  </a:lnTo>
                  <a:lnTo>
                    <a:pt x="11" y="107"/>
                  </a:lnTo>
                  <a:lnTo>
                    <a:pt x="8" y="110"/>
                  </a:lnTo>
                  <a:lnTo>
                    <a:pt x="6" y="114"/>
                  </a:lnTo>
                  <a:lnTo>
                    <a:pt x="4" y="119"/>
                  </a:lnTo>
                  <a:lnTo>
                    <a:pt x="2" y="130"/>
                  </a:lnTo>
                  <a:lnTo>
                    <a:pt x="0" y="142"/>
                  </a:lnTo>
                  <a:lnTo>
                    <a:pt x="0" y="147"/>
                  </a:lnTo>
                  <a:lnTo>
                    <a:pt x="2" y="151"/>
                  </a:lnTo>
                  <a:lnTo>
                    <a:pt x="4" y="154"/>
                  </a:lnTo>
                  <a:lnTo>
                    <a:pt x="5" y="157"/>
                  </a:lnTo>
                  <a:lnTo>
                    <a:pt x="10" y="162"/>
                  </a:lnTo>
                  <a:lnTo>
                    <a:pt x="16" y="167"/>
                  </a:lnTo>
                  <a:lnTo>
                    <a:pt x="20" y="173"/>
                  </a:lnTo>
                  <a:lnTo>
                    <a:pt x="22" y="179"/>
                  </a:lnTo>
                  <a:lnTo>
                    <a:pt x="24" y="183"/>
                  </a:lnTo>
                  <a:lnTo>
                    <a:pt x="24" y="188"/>
                  </a:lnTo>
                  <a:lnTo>
                    <a:pt x="22" y="193"/>
                  </a:lnTo>
                  <a:lnTo>
                    <a:pt x="20" y="198"/>
                  </a:lnTo>
                  <a:lnTo>
                    <a:pt x="19" y="200"/>
                  </a:lnTo>
                  <a:lnTo>
                    <a:pt x="19" y="203"/>
                  </a:lnTo>
                  <a:lnTo>
                    <a:pt x="20" y="206"/>
                  </a:lnTo>
                  <a:lnTo>
                    <a:pt x="21" y="210"/>
                  </a:lnTo>
                  <a:lnTo>
                    <a:pt x="25" y="217"/>
                  </a:lnTo>
                  <a:lnTo>
                    <a:pt x="30" y="224"/>
                  </a:lnTo>
                  <a:lnTo>
                    <a:pt x="37" y="230"/>
                  </a:lnTo>
                  <a:lnTo>
                    <a:pt x="44" y="235"/>
                  </a:lnTo>
                  <a:lnTo>
                    <a:pt x="49" y="237"/>
                  </a:lnTo>
                  <a:lnTo>
                    <a:pt x="52" y="239"/>
                  </a:lnTo>
                  <a:lnTo>
                    <a:pt x="56" y="241"/>
                  </a:lnTo>
                  <a:lnTo>
                    <a:pt x="60" y="241"/>
                  </a:lnTo>
                  <a:lnTo>
                    <a:pt x="59" y="250"/>
                  </a:lnTo>
                  <a:lnTo>
                    <a:pt x="56" y="259"/>
                  </a:lnTo>
                  <a:lnTo>
                    <a:pt x="52" y="266"/>
                  </a:lnTo>
                  <a:lnTo>
                    <a:pt x="47" y="271"/>
                  </a:lnTo>
                  <a:lnTo>
                    <a:pt x="56" y="271"/>
                  </a:lnTo>
                  <a:lnTo>
                    <a:pt x="66" y="271"/>
                  </a:lnTo>
                  <a:lnTo>
                    <a:pt x="74" y="271"/>
                  </a:lnTo>
                  <a:lnTo>
                    <a:pt x="81" y="271"/>
                  </a:lnTo>
                  <a:lnTo>
                    <a:pt x="82" y="275"/>
                  </a:lnTo>
                  <a:lnTo>
                    <a:pt x="84" y="280"/>
                  </a:lnTo>
                  <a:lnTo>
                    <a:pt x="89" y="284"/>
                  </a:lnTo>
                  <a:lnTo>
                    <a:pt x="96" y="290"/>
                  </a:lnTo>
                  <a:lnTo>
                    <a:pt x="112" y="302"/>
                  </a:lnTo>
                  <a:lnTo>
                    <a:pt x="131" y="313"/>
                  </a:lnTo>
                  <a:lnTo>
                    <a:pt x="170" y="334"/>
                  </a:lnTo>
                  <a:lnTo>
                    <a:pt x="193" y="345"/>
                  </a:lnTo>
                  <a:lnTo>
                    <a:pt x="205" y="352"/>
                  </a:lnTo>
                  <a:lnTo>
                    <a:pt x="218" y="360"/>
                  </a:lnTo>
                  <a:lnTo>
                    <a:pt x="226" y="364"/>
                  </a:lnTo>
                  <a:lnTo>
                    <a:pt x="234" y="367"/>
                  </a:lnTo>
                  <a:lnTo>
                    <a:pt x="243" y="370"/>
                  </a:lnTo>
                  <a:lnTo>
                    <a:pt x="253" y="370"/>
                  </a:lnTo>
                  <a:lnTo>
                    <a:pt x="255" y="370"/>
                  </a:lnTo>
                  <a:lnTo>
                    <a:pt x="257" y="367"/>
                  </a:lnTo>
                  <a:lnTo>
                    <a:pt x="261" y="365"/>
                  </a:lnTo>
                  <a:lnTo>
                    <a:pt x="264" y="361"/>
                  </a:lnTo>
                  <a:lnTo>
                    <a:pt x="267" y="358"/>
                  </a:lnTo>
                  <a:lnTo>
                    <a:pt x="271" y="355"/>
                  </a:lnTo>
                  <a:lnTo>
                    <a:pt x="275" y="353"/>
                  </a:lnTo>
                  <a:lnTo>
                    <a:pt x="279" y="352"/>
                  </a:lnTo>
                  <a:lnTo>
                    <a:pt x="277" y="344"/>
                  </a:lnTo>
                  <a:lnTo>
                    <a:pt x="277" y="338"/>
                  </a:lnTo>
                  <a:lnTo>
                    <a:pt x="278" y="332"/>
                  </a:lnTo>
                  <a:lnTo>
                    <a:pt x="280" y="326"/>
                  </a:lnTo>
                  <a:lnTo>
                    <a:pt x="284" y="322"/>
                  </a:lnTo>
                  <a:lnTo>
                    <a:pt x="289" y="318"/>
                  </a:lnTo>
                  <a:lnTo>
                    <a:pt x="297" y="316"/>
                  </a:lnTo>
                  <a:lnTo>
                    <a:pt x="306" y="315"/>
                  </a:lnTo>
                  <a:lnTo>
                    <a:pt x="316" y="315"/>
                  </a:lnTo>
                  <a:lnTo>
                    <a:pt x="323" y="317"/>
                  </a:lnTo>
                  <a:lnTo>
                    <a:pt x="329" y="320"/>
                  </a:lnTo>
                  <a:lnTo>
                    <a:pt x="334" y="323"/>
                  </a:lnTo>
                  <a:lnTo>
                    <a:pt x="343" y="332"/>
                  </a:lnTo>
                  <a:lnTo>
                    <a:pt x="350" y="342"/>
                  </a:lnTo>
                  <a:lnTo>
                    <a:pt x="353" y="347"/>
                  </a:lnTo>
                  <a:lnTo>
                    <a:pt x="357" y="353"/>
                  </a:lnTo>
                  <a:lnTo>
                    <a:pt x="362" y="358"/>
                  </a:lnTo>
                  <a:lnTo>
                    <a:pt x="367" y="362"/>
                  </a:lnTo>
                  <a:lnTo>
                    <a:pt x="373" y="365"/>
                  </a:lnTo>
                  <a:lnTo>
                    <a:pt x="380" y="368"/>
                  </a:lnTo>
                  <a:lnTo>
                    <a:pt x="389" y="370"/>
                  </a:lnTo>
                  <a:lnTo>
                    <a:pt x="399" y="370"/>
                  </a:lnTo>
                  <a:lnTo>
                    <a:pt x="409" y="370"/>
                  </a:lnTo>
                  <a:lnTo>
                    <a:pt x="418" y="369"/>
                  </a:lnTo>
                  <a:lnTo>
                    <a:pt x="425" y="367"/>
                  </a:lnTo>
                  <a:lnTo>
                    <a:pt x="433" y="365"/>
                  </a:lnTo>
                  <a:lnTo>
                    <a:pt x="447" y="359"/>
                  </a:lnTo>
                  <a:lnTo>
                    <a:pt x="459" y="352"/>
                  </a:lnTo>
                  <a:lnTo>
                    <a:pt x="472" y="345"/>
                  </a:lnTo>
                  <a:lnTo>
                    <a:pt x="483" y="339"/>
                  </a:lnTo>
                  <a:lnTo>
                    <a:pt x="488" y="336"/>
                  </a:lnTo>
                  <a:lnTo>
                    <a:pt x="493" y="335"/>
                  </a:lnTo>
                  <a:lnTo>
                    <a:pt x="499" y="333"/>
                  </a:lnTo>
                  <a:lnTo>
                    <a:pt x="506" y="333"/>
                  </a:lnTo>
                  <a:lnTo>
                    <a:pt x="512" y="332"/>
                  </a:lnTo>
                  <a:lnTo>
                    <a:pt x="521" y="329"/>
                  </a:lnTo>
                  <a:lnTo>
                    <a:pt x="525" y="327"/>
                  </a:lnTo>
                  <a:lnTo>
                    <a:pt x="529" y="325"/>
                  </a:lnTo>
                  <a:lnTo>
                    <a:pt x="531" y="323"/>
                  </a:lnTo>
                  <a:lnTo>
                    <a:pt x="532" y="321"/>
                  </a:lnTo>
                  <a:lnTo>
                    <a:pt x="565" y="321"/>
                  </a:lnTo>
                  <a:lnTo>
                    <a:pt x="564" y="326"/>
                  </a:lnTo>
                  <a:lnTo>
                    <a:pt x="563" y="333"/>
                  </a:lnTo>
                  <a:lnTo>
                    <a:pt x="564" y="341"/>
                  </a:lnTo>
                  <a:lnTo>
                    <a:pt x="565" y="349"/>
                  </a:lnTo>
                  <a:lnTo>
                    <a:pt x="566" y="358"/>
                  </a:lnTo>
                  <a:lnTo>
                    <a:pt x="567" y="367"/>
                  </a:lnTo>
                  <a:lnTo>
                    <a:pt x="567" y="375"/>
                  </a:lnTo>
                  <a:lnTo>
                    <a:pt x="565" y="382"/>
                  </a:lnTo>
                  <a:lnTo>
                    <a:pt x="575" y="381"/>
                  </a:lnTo>
                  <a:lnTo>
                    <a:pt x="582" y="379"/>
                  </a:lnTo>
                  <a:lnTo>
                    <a:pt x="590" y="377"/>
                  </a:lnTo>
                  <a:lnTo>
                    <a:pt x="596" y="375"/>
                  </a:lnTo>
                  <a:lnTo>
                    <a:pt x="601" y="372"/>
                  </a:lnTo>
                  <a:lnTo>
                    <a:pt x="605" y="369"/>
                  </a:lnTo>
                  <a:lnTo>
                    <a:pt x="610" y="366"/>
                  </a:lnTo>
                  <a:lnTo>
                    <a:pt x="613" y="362"/>
                  </a:lnTo>
                  <a:lnTo>
                    <a:pt x="623" y="345"/>
                  </a:lnTo>
                  <a:lnTo>
                    <a:pt x="632" y="327"/>
                  </a:lnTo>
                  <a:lnTo>
                    <a:pt x="636" y="331"/>
                  </a:lnTo>
                  <a:lnTo>
                    <a:pt x="641" y="334"/>
                  </a:lnTo>
                  <a:lnTo>
                    <a:pt x="647" y="336"/>
                  </a:lnTo>
                  <a:lnTo>
                    <a:pt x="654" y="337"/>
                  </a:lnTo>
                  <a:lnTo>
                    <a:pt x="669" y="338"/>
                  </a:lnTo>
                  <a:lnTo>
                    <a:pt x="687" y="336"/>
                  </a:lnTo>
                  <a:lnTo>
                    <a:pt x="721" y="330"/>
                  </a:lnTo>
                  <a:lnTo>
                    <a:pt x="752" y="327"/>
                  </a:lnTo>
                  <a:lnTo>
                    <a:pt x="767" y="327"/>
                  </a:lnTo>
                  <a:lnTo>
                    <a:pt x="781" y="325"/>
                  </a:lnTo>
                  <a:lnTo>
                    <a:pt x="794" y="324"/>
                  </a:lnTo>
                  <a:lnTo>
                    <a:pt x="808" y="321"/>
                  </a:lnTo>
                  <a:lnTo>
                    <a:pt x="831" y="315"/>
                  </a:lnTo>
                  <a:lnTo>
                    <a:pt x="853" y="307"/>
                  </a:lnTo>
                  <a:lnTo>
                    <a:pt x="873" y="299"/>
                  </a:lnTo>
                  <a:lnTo>
                    <a:pt x="895" y="290"/>
                  </a:lnTo>
                  <a:lnTo>
                    <a:pt x="906" y="287"/>
                  </a:lnTo>
                  <a:lnTo>
                    <a:pt x="918" y="283"/>
                  </a:lnTo>
                  <a:lnTo>
                    <a:pt x="930" y="280"/>
                  </a:lnTo>
                  <a:lnTo>
                    <a:pt x="944" y="278"/>
                  </a:lnTo>
                  <a:lnTo>
                    <a:pt x="951" y="279"/>
                  </a:lnTo>
                  <a:lnTo>
                    <a:pt x="961" y="284"/>
                  </a:lnTo>
                  <a:lnTo>
                    <a:pt x="967" y="286"/>
                  </a:lnTo>
                  <a:lnTo>
                    <a:pt x="972" y="288"/>
                  </a:lnTo>
                  <a:lnTo>
                    <a:pt x="979" y="289"/>
                  </a:lnTo>
                  <a:lnTo>
                    <a:pt x="983" y="290"/>
                  </a:lnTo>
                  <a:lnTo>
                    <a:pt x="995" y="290"/>
                  </a:lnTo>
                  <a:lnTo>
                    <a:pt x="1005" y="293"/>
                  </a:lnTo>
                  <a:lnTo>
                    <a:pt x="1015" y="295"/>
                  </a:lnTo>
                  <a:lnTo>
                    <a:pt x="1024" y="300"/>
                  </a:lnTo>
                  <a:lnTo>
                    <a:pt x="1034" y="303"/>
                  </a:lnTo>
                  <a:lnTo>
                    <a:pt x="1045" y="306"/>
                  </a:lnTo>
                  <a:lnTo>
                    <a:pt x="1056" y="308"/>
                  </a:lnTo>
                  <a:lnTo>
                    <a:pt x="1070" y="309"/>
                  </a:lnTo>
                  <a:lnTo>
                    <a:pt x="1068" y="297"/>
                  </a:lnTo>
                  <a:lnTo>
                    <a:pt x="1063" y="286"/>
                  </a:lnTo>
                  <a:lnTo>
                    <a:pt x="1060" y="276"/>
                  </a:lnTo>
                  <a:lnTo>
                    <a:pt x="1056" y="268"/>
                  </a:lnTo>
                  <a:lnTo>
                    <a:pt x="1047" y="254"/>
                  </a:lnTo>
                  <a:lnTo>
                    <a:pt x="1038" y="241"/>
                  </a:lnTo>
                  <a:lnTo>
                    <a:pt x="1034" y="233"/>
                  </a:lnTo>
                  <a:lnTo>
                    <a:pt x="1030" y="226"/>
                  </a:lnTo>
                  <a:lnTo>
                    <a:pt x="1026" y="219"/>
                  </a:lnTo>
                  <a:lnTo>
                    <a:pt x="1024" y="211"/>
                  </a:lnTo>
                  <a:lnTo>
                    <a:pt x="1021" y="202"/>
                  </a:lnTo>
                  <a:lnTo>
                    <a:pt x="1018" y="192"/>
                  </a:lnTo>
                  <a:lnTo>
                    <a:pt x="1017" y="179"/>
                  </a:lnTo>
                  <a:lnTo>
                    <a:pt x="1017" y="167"/>
                  </a:lnTo>
                  <a:lnTo>
                    <a:pt x="1014" y="152"/>
                  </a:lnTo>
                  <a:lnTo>
                    <a:pt x="1011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2589" name="Freeform 541"/>
          <p:cNvSpPr>
            <a:spLocks/>
          </p:cNvSpPr>
          <p:nvPr>
            <p:custDataLst>
              <p:tags r:id="rId372"/>
            </p:custDataLst>
          </p:nvPr>
        </p:nvSpPr>
        <p:spPr bwMode="auto">
          <a:xfrm>
            <a:off x="4095751" y="3481389"/>
            <a:ext cx="100013" cy="122237"/>
          </a:xfrm>
          <a:custGeom>
            <a:avLst/>
            <a:gdLst>
              <a:gd name="T0" fmla="*/ 63 w 226"/>
              <a:gd name="T1" fmla="*/ 236 h 237"/>
              <a:gd name="T2" fmla="*/ 68 w 226"/>
              <a:gd name="T3" fmla="*/ 237 h 237"/>
              <a:gd name="T4" fmla="*/ 75 w 226"/>
              <a:gd name="T5" fmla="*/ 235 h 237"/>
              <a:gd name="T6" fmla="*/ 83 w 226"/>
              <a:gd name="T7" fmla="*/ 234 h 237"/>
              <a:gd name="T8" fmla="*/ 89 w 226"/>
              <a:gd name="T9" fmla="*/ 230 h 237"/>
              <a:gd name="T10" fmla="*/ 96 w 226"/>
              <a:gd name="T11" fmla="*/ 223 h 237"/>
              <a:gd name="T12" fmla="*/ 99 w 226"/>
              <a:gd name="T13" fmla="*/ 214 h 237"/>
              <a:gd name="T14" fmla="*/ 123 w 226"/>
              <a:gd name="T15" fmla="*/ 209 h 237"/>
              <a:gd name="T16" fmla="*/ 166 w 226"/>
              <a:gd name="T17" fmla="*/ 205 h 237"/>
              <a:gd name="T18" fmla="*/ 195 w 226"/>
              <a:gd name="T19" fmla="*/ 198 h 237"/>
              <a:gd name="T20" fmla="*/ 209 w 226"/>
              <a:gd name="T21" fmla="*/ 191 h 237"/>
              <a:gd name="T22" fmla="*/ 220 w 226"/>
              <a:gd name="T23" fmla="*/ 181 h 237"/>
              <a:gd name="T24" fmla="*/ 225 w 226"/>
              <a:gd name="T25" fmla="*/ 168 h 237"/>
              <a:gd name="T26" fmla="*/ 226 w 226"/>
              <a:gd name="T27" fmla="*/ 153 h 237"/>
              <a:gd name="T28" fmla="*/ 223 w 226"/>
              <a:gd name="T29" fmla="*/ 140 h 237"/>
              <a:gd name="T30" fmla="*/ 215 w 226"/>
              <a:gd name="T31" fmla="*/ 123 h 237"/>
              <a:gd name="T32" fmla="*/ 203 w 226"/>
              <a:gd name="T33" fmla="*/ 100 h 237"/>
              <a:gd name="T34" fmla="*/ 196 w 226"/>
              <a:gd name="T35" fmla="*/ 84 h 237"/>
              <a:gd name="T36" fmla="*/ 193 w 226"/>
              <a:gd name="T37" fmla="*/ 74 h 237"/>
              <a:gd name="T38" fmla="*/ 195 w 226"/>
              <a:gd name="T39" fmla="*/ 59 h 237"/>
              <a:gd name="T40" fmla="*/ 200 w 226"/>
              <a:gd name="T41" fmla="*/ 43 h 237"/>
              <a:gd name="T42" fmla="*/ 213 w 226"/>
              <a:gd name="T43" fmla="*/ 25 h 237"/>
              <a:gd name="T44" fmla="*/ 213 w 226"/>
              <a:gd name="T45" fmla="*/ 14 h 237"/>
              <a:gd name="T46" fmla="*/ 191 w 226"/>
              <a:gd name="T47" fmla="*/ 7 h 237"/>
              <a:gd name="T48" fmla="*/ 154 w 226"/>
              <a:gd name="T49" fmla="*/ 2 h 237"/>
              <a:gd name="T50" fmla="*/ 20 w 226"/>
              <a:gd name="T51" fmla="*/ 6 h 237"/>
              <a:gd name="T52" fmla="*/ 18 w 226"/>
              <a:gd name="T53" fmla="*/ 31 h 237"/>
              <a:gd name="T54" fmla="*/ 10 w 226"/>
              <a:gd name="T55" fmla="*/ 54 h 237"/>
              <a:gd name="T56" fmla="*/ 3 w 226"/>
              <a:gd name="T57" fmla="*/ 79 h 237"/>
              <a:gd name="T58" fmla="*/ 0 w 226"/>
              <a:gd name="T59" fmla="*/ 111 h 237"/>
              <a:gd name="T60" fmla="*/ 3 w 226"/>
              <a:gd name="T61" fmla="*/ 130 h 237"/>
              <a:gd name="T62" fmla="*/ 10 w 226"/>
              <a:gd name="T63" fmla="*/ 146 h 237"/>
              <a:gd name="T64" fmla="*/ 30 w 226"/>
              <a:gd name="T65" fmla="*/ 173 h 237"/>
              <a:gd name="T66" fmla="*/ 51 w 226"/>
              <a:gd name="T67" fmla="*/ 199 h 237"/>
              <a:gd name="T68" fmla="*/ 57 w 226"/>
              <a:gd name="T69" fmla="*/ 216 h 237"/>
              <a:gd name="T70" fmla="*/ 61 w 226"/>
              <a:gd name="T71" fmla="*/ 234 h 2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26" h="237">
                <a:moveTo>
                  <a:pt x="61" y="234"/>
                </a:moveTo>
                <a:lnTo>
                  <a:pt x="63" y="236"/>
                </a:lnTo>
                <a:lnTo>
                  <a:pt x="65" y="237"/>
                </a:lnTo>
                <a:lnTo>
                  <a:pt x="68" y="237"/>
                </a:lnTo>
                <a:lnTo>
                  <a:pt x="70" y="237"/>
                </a:lnTo>
                <a:lnTo>
                  <a:pt x="75" y="235"/>
                </a:lnTo>
                <a:lnTo>
                  <a:pt x="80" y="234"/>
                </a:lnTo>
                <a:lnTo>
                  <a:pt x="83" y="234"/>
                </a:lnTo>
                <a:lnTo>
                  <a:pt x="86" y="232"/>
                </a:lnTo>
                <a:lnTo>
                  <a:pt x="89" y="230"/>
                </a:lnTo>
                <a:lnTo>
                  <a:pt x="92" y="227"/>
                </a:lnTo>
                <a:lnTo>
                  <a:pt x="96" y="223"/>
                </a:lnTo>
                <a:lnTo>
                  <a:pt x="98" y="219"/>
                </a:lnTo>
                <a:lnTo>
                  <a:pt x="99" y="214"/>
                </a:lnTo>
                <a:lnTo>
                  <a:pt x="100" y="209"/>
                </a:lnTo>
                <a:lnTo>
                  <a:pt x="123" y="209"/>
                </a:lnTo>
                <a:lnTo>
                  <a:pt x="145" y="208"/>
                </a:lnTo>
                <a:lnTo>
                  <a:pt x="166" y="205"/>
                </a:lnTo>
                <a:lnTo>
                  <a:pt x="186" y="201"/>
                </a:lnTo>
                <a:lnTo>
                  <a:pt x="195" y="198"/>
                </a:lnTo>
                <a:lnTo>
                  <a:pt x="202" y="195"/>
                </a:lnTo>
                <a:lnTo>
                  <a:pt x="209" y="191"/>
                </a:lnTo>
                <a:lnTo>
                  <a:pt x="215" y="186"/>
                </a:lnTo>
                <a:lnTo>
                  <a:pt x="220" y="181"/>
                </a:lnTo>
                <a:lnTo>
                  <a:pt x="223" y="175"/>
                </a:lnTo>
                <a:lnTo>
                  <a:pt x="225" y="168"/>
                </a:lnTo>
                <a:lnTo>
                  <a:pt x="226" y="161"/>
                </a:lnTo>
                <a:lnTo>
                  <a:pt x="226" y="153"/>
                </a:lnTo>
                <a:lnTo>
                  <a:pt x="225" y="147"/>
                </a:lnTo>
                <a:lnTo>
                  <a:pt x="223" y="140"/>
                </a:lnTo>
                <a:lnTo>
                  <a:pt x="221" y="134"/>
                </a:lnTo>
                <a:lnTo>
                  <a:pt x="215" y="123"/>
                </a:lnTo>
                <a:lnTo>
                  <a:pt x="210" y="112"/>
                </a:lnTo>
                <a:lnTo>
                  <a:pt x="203" y="100"/>
                </a:lnTo>
                <a:lnTo>
                  <a:pt x="198" y="90"/>
                </a:lnTo>
                <a:lnTo>
                  <a:pt x="196" y="84"/>
                </a:lnTo>
                <a:lnTo>
                  <a:pt x="195" y="79"/>
                </a:lnTo>
                <a:lnTo>
                  <a:pt x="193" y="74"/>
                </a:lnTo>
                <a:lnTo>
                  <a:pt x="193" y="68"/>
                </a:lnTo>
                <a:lnTo>
                  <a:pt x="195" y="59"/>
                </a:lnTo>
                <a:lnTo>
                  <a:pt x="197" y="51"/>
                </a:lnTo>
                <a:lnTo>
                  <a:pt x="200" y="43"/>
                </a:lnTo>
                <a:lnTo>
                  <a:pt x="204" y="36"/>
                </a:lnTo>
                <a:lnTo>
                  <a:pt x="213" y="25"/>
                </a:lnTo>
                <a:lnTo>
                  <a:pt x="220" y="19"/>
                </a:lnTo>
                <a:lnTo>
                  <a:pt x="213" y="14"/>
                </a:lnTo>
                <a:lnTo>
                  <a:pt x="203" y="11"/>
                </a:lnTo>
                <a:lnTo>
                  <a:pt x="191" y="7"/>
                </a:lnTo>
                <a:lnTo>
                  <a:pt x="179" y="5"/>
                </a:lnTo>
                <a:lnTo>
                  <a:pt x="154" y="2"/>
                </a:lnTo>
                <a:lnTo>
                  <a:pt x="133" y="0"/>
                </a:lnTo>
                <a:lnTo>
                  <a:pt x="20" y="6"/>
                </a:lnTo>
                <a:lnTo>
                  <a:pt x="20" y="19"/>
                </a:lnTo>
                <a:lnTo>
                  <a:pt x="18" y="31"/>
                </a:lnTo>
                <a:lnTo>
                  <a:pt x="14" y="42"/>
                </a:lnTo>
                <a:lnTo>
                  <a:pt x="10" y="54"/>
                </a:lnTo>
                <a:lnTo>
                  <a:pt x="7" y="66"/>
                </a:lnTo>
                <a:lnTo>
                  <a:pt x="3" y="79"/>
                </a:lnTo>
                <a:lnTo>
                  <a:pt x="1" y="93"/>
                </a:lnTo>
                <a:lnTo>
                  <a:pt x="0" y="111"/>
                </a:lnTo>
                <a:lnTo>
                  <a:pt x="1" y="121"/>
                </a:lnTo>
                <a:lnTo>
                  <a:pt x="3" y="130"/>
                </a:lnTo>
                <a:lnTo>
                  <a:pt x="6" y="138"/>
                </a:lnTo>
                <a:lnTo>
                  <a:pt x="10" y="146"/>
                </a:lnTo>
                <a:lnTo>
                  <a:pt x="19" y="159"/>
                </a:lnTo>
                <a:lnTo>
                  <a:pt x="30" y="173"/>
                </a:lnTo>
                <a:lnTo>
                  <a:pt x="41" y="185"/>
                </a:lnTo>
                <a:lnTo>
                  <a:pt x="51" y="199"/>
                </a:lnTo>
                <a:lnTo>
                  <a:pt x="55" y="207"/>
                </a:lnTo>
                <a:lnTo>
                  <a:pt x="57" y="216"/>
                </a:lnTo>
                <a:lnTo>
                  <a:pt x="59" y="225"/>
                </a:lnTo>
                <a:lnTo>
                  <a:pt x="61" y="23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90" name="Freeform 542"/>
          <p:cNvSpPr>
            <a:spLocks/>
          </p:cNvSpPr>
          <p:nvPr>
            <p:custDataLst>
              <p:tags r:id="rId373"/>
            </p:custDataLst>
          </p:nvPr>
        </p:nvSpPr>
        <p:spPr bwMode="auto">
          <a:xfrm>
            <a:off x="8040688" y="2917825"/>
            <a:ext cx="207962" cy="458788"/>
          </a:xfrm>
          <a:custGeom>
            <a:avLst/>
            <a:gdLst>
              <a:gd name="T0" fmla="*/ 287 w 478"/>
              <a:gd name="T1" fmla="*/ 109 h 875"/>
              <a:gd name="T2" fmla="*/ 250 w 478"/>
              <a:gd name="T3" fmla="*/ 138 h 875"/>
              <a:gd name="T4" fmla="*/ 199 w 478"/>
              <a:gd name="T5" fmla="*/ 197 h 875"/>
              <a:gd name="T6" fmla="*/ 198 w 478"/>
              <a:gd name="T7" fmla="*/ 213 h 875"/>
              <a:gd name="T8" fmla="*/ 206 w 478"/>
              <a:gd name="T9" fmla="*/ 239 h 875"/>
              <a:gd name="T10" fmla="*/ 221 w 478"/>
              <a:gd name="T11" fmla="*/ 265 h 875"/>
              <a:gd name="T12" fmla="*/ 240 w 478"/>
              <a:gd name="T13" fmla="*/ 288 h 875"/>
              <a:gd name="T14" fmla="*/ 259 w 478"/>
              <a:gd name="T15" fmla="*/ 301 h 875"/>
              <a:gd name="T16" fmla="*/ 279 w 478"/>
              <a:gd name="T17" fmla="*/ 329 h 875"/>
              <a:gd name="T18" fmla="*/ 295 w 478"/>
              <a:gd name="T19" fmla="*/ 361 h 875"/>
              <a:gd name="T20" fmla="*/ 305 w 478"/>
              <a:gd name="T21" fmla="*/ 369 h 875"/>
              <a:gd name="T22" fmla="*/ 438 w 478"/>
              <a:gd name="T23" fmla="*/ 499 h 875"/>
              <a:gd name="T24" fmla="*/ 471 w 478"/>
              <a:gd name="T25" fmla="*/ 589 h 875"/>
              <a:gd name="T26" fmla="*/ 478 w 478"/>
              <a:gd name="T27" fmla="*/ 647 h 875"/>
              <a:gd name="T28" fmla="*/ 476 w 478"/>
              <a:gd name="T29" fmla="*/ 687 h 875"/>
              <a:gd name="T30" fmla="*/ 478 w 478"/>
              <a:gd name="T31" fmla="*/ 708 h 875"/>
              <a:gd name="T32" fmla="*/ 447 w 478"/>
              <a:gd name="T33" fmla="*/ 718 h 875"/>
              <a:gd name="T34" fmla="*/ 420 w 478"/>
              <a:gd name="T35" fmla="*/ 733 h 875"/>
              <a:gd name="T36" fmla="*/ 391 w 478"/>
              <a:gd name="T37" fmla="*/ 756 h 875"/>
              <a:gd name="T38" fmla="*/ 365 w 478"/>
              <a:gd name="T39" fmla="*/ 789 h 875"/>
              <a:gd name="T40" fmla="*/ 348 w 478"/>
              <a:gd name="T41" fmla="*/ 785 h 875"/>
              <a:gd name="T42" fmla="*/ 319 w 478"/>
              <a:gd name="T43" fmla="*/ 789 h 875"/>
              <a:gd name="T44" fmla="*/ 313 w 478"/>
              <a:gd name="T45" fmla="*/ 804 h 875"/>
              <a:gd name="T46" fmla="*/ 289 w 478"/>
              <a:gd name="T47" fmla="*/ 838 h 875"/>
              <a:gd name="T48" fmla="*/ 256 w 478"/>
              <a:gd name="T49" fmla="*/ 868 h 875"/>
              <a:gd name="T50" fmla="*/ 239 w 478"/>
              <a:gd name="T51" fmla="*/ 875 h 875"/>
              <a:gd name="T52" fmla="*/ 232 w 478"/>
              <a:gd name="T53" fmla="*/ 868 h 875"/>
              <a:gd name="T54" fmla="*/ 225 w 478"/>
              <a:gd name="T55" fmla="*/ 844 h 875"/>
              <a:gd name="T56" fmla="*/ 231 w 478"/>
              <a:gd name="T57" fmla="*/ 800 h 875"/>
              <a:gd name="T58" fmla="*/ 253 w 478"/>
              <a:gd name="T59" fmla="*/ 775 h 875"/>
              <a:gd name="T60" fmla="*/ 277 w 478"/>
              <a:gd name="T61" fmla="*/ 760 h 875"/>
              <a:gd name="T62" fmla="*/ 295 w 478"/>
              <a:gd name="T63" fmla="*/ 753 h 875"/>
              <a:gd name="T64" fmla="*/ 305 w 478"/>
              <a:gd name="T65" fmla="*/ 743 h 875"/>
              <a:gd name="T66" fmla="*/ 314 w 478"/>
              <a:gd name="T67" fmla="*/ 714 h 875"/>
              <a:gd name="T68" fmla="*/ 330 w 478"/>
              <a:gd name="T69" fmla="*/ 686 h 875"/>
              <a:gd name="T70" fmla="*/ 365 w 478"/>
              <a:gd name="T71" fmla="*/ 643 h 875"/>
              <a:gd name="T72" fmla="*/ 371 w 478"/>
              <a:gd name="T73" fmla="*/ 536 h 875"/>
              <a:gd name="T74" fmla="*/ 364 w 478"/>
              <a:gd name="T75" fmla="*/ 475 h 875"/>
              <a:gd name="T76" fmla="*/ 341 w 478"/>
              <a:gd name="T77" fmla="*/ 427 h 875"/>
              <a:gd name="T78" fmla="*/ 297 w 478"/>
              <a:gd name="T79" fmla="*/ 377 h 875"/>
              <a:gd name="T80" fmla="*/ 219 w 478"/>
              <a:gd name="T81" fmla="*/ 308 h 875"/>
              <a:gd name="T82" fmla="*/ 161 w 478"/>
              <a:gd name="T83" fmla="*/ 255 h 875"/>
              <a:gd name="T84" fmla="*/ 108 w 478"/>
              <a:gd name="T85" fmla="*/ 198 h 875"/>
              <a:gd name="T86" fmla="*/ 72 w 478"/>
              <a:gd name="T87" fmla="*/ 146 h 875"/>
              <a:gd name="T88" fmla="*/ 42 w 478"/>
              <a:gd name="T89" fmla="*/ 104 h 875"/>
              <a:gd name="T90" fmla="*/ 46 w 478"/>
              <a:gd name="T91" fmla="*/ 41 h 875"/>
              <a:gd name="T92" fmla="*/ 129 w 478"/>
              <a:gd name="T93" fmla="*/ 19 h 875"/>
              <a:gd name="T94" fmla="*/ 148 w 478"/>
              <a:gd name="T95" fmla="*/ 5 h 875"/>
              <a:gd name="T96" fmla="*/ 175 w 478"/>
              <a:gd name="T97" fmla="*/ 16 h 875"/>
              <a:gd name="T98" fmla="*/ 221 w 478"/>
              <a:gd name="T99" fmla="*/ 35 h 875"/>
              <a:gd name="T100" fmla="*/ 269 w 478"/>
              <a:gd name="T101" fmla="*/ 67 h 8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478" h="875">
                <a:moveTo>
                  <a:pt x="299" y="104"/>
                </a:moveTo>
                <a:lnTo>
                  <a:pt x="295" y="106"/>
                </a:lnTo>
                <a:lnTo>
                  <a:pt x="287" y="109"/>
                </a:lnTo>
                <a:lnTo>
                  <a:pt x="277" y="116"/>
                </a:lnTo>
                <a:lnTo>
                  <a:pt x="264" y="126"/>
                </a:lnTo>
                <a:lnTo>
                  <a:pt x="250" y="138"/>
                </a:lnTo>
                <a:lnTo>
                  <a:pt x="233" y="154"/>
                </a:lnTo>
                <a:lnTo>
                  <a:pt x="217" y="173"/>
                </a:lnTo>
                <a:lnTo>
                  <a:pt x="199" y="197"/>
                </a:lnTo>
                <a:lnTo>
                  <a:pt x="197" y="201"/>
                </a:lnTo>
                <a:lnTo>
                  <a:pt x="197" y="207"/>
                </a:lnTo>
                <a:lnTo>
                  <a:pt x="198" y="213"/>
                </a:lnTo>
                <a:lnTo>
                  <a:pt x="199" y="221"/>
                </a:lnTo>
                <a:lnTo>
                  <a:pt x="202" y="229"/>
                </a:lnTo>
                <a:lnTo>
                  <a:pt x="206" y="239"/>
                </a:lnTo>
                <a:lnTo>
                  <a:pt x="210" y="248"/>
                </a:lnTo>
                <a:lnTo>
                  <a:pt x="214" y="256"/>
                </a:lnTo>
                <a:lnTo>
                  <a:pt x="221" y="265"/>
                </a:lnTo>
                <a:lnTo>
                  <a:pt x="226" y="273"/>
                </a:lnTo>
                <a:lnTo>
                  <a:pt x="233" y="281"/>
                </a:lnTo>
                <a:lnTo>
                  <a:pt x="240" y="288"/>
                </a:lnTo>
                <a:lnTo>
                  <a:pt x="246" y="294"/>
                </a:lnTo>
                <a:lnTo>
                  <a:pt x="253" y="298"/>
                </a:lnTo>
                <a:lnTo>
                  <a:pt x="259" y="301"/>
                </a:lnTo>
                <a:lnTo>
                  <a:pt x="266" y="302"/>
                </a:lnTo>
                <a:lnTo>
                  <a:pt x="271" y="314"/>
                </a:lnTo>
                <a:lnTo>
                  <a:pt x="279" y="329"/>
                </a:lnTo>
                <a:lnTo>
                  <a:pt x="286" y="346"/>
                </a:lnTo>
                <a:lnTo>
                  <a:pt x="292" y="357"/>
                </a:lnTo>
                <a:lnTo>
                  <a:pt x="295" y="361"/>
                </a:lnTo>
                <a:lnTo>
                  <a:pt x="298" y="365"/>
                </a:lnTo>
                <a:lnTo>
                  <a:pt x="302" y="367"/>
                </a:lnTo>
                <a:lnTo>
                  <a:pt x="305" y="369"/>
                </a:lnTo>
                <a:lnTo>
                  <a:pt x="313" y="372"/>
                </a:lnTo>
                <a:lnTo>
                  <a:pt x="319" y="376"/>
                </a:lnTo>
                <a:lnTo>
                  <a:pt x="438" y="499"/>
                </a:lnTo>
                <a:lnTo>
                  <a:pt x="453" y="535"/>
                </a:lnTo>
                <a:lnTo>
                  <a:pt x="466" y="571"/>
                </a:lnTo>
                <a:lnTo>
                  <a:pt x="471" y="589"/>
                </a:lnTo>
                <a:lnTo>
                  <a:pt x="475" y="607"/>
                </a:lnTo>
                <a:lnTo>
                  <a:pt x="477" y="627"/>
                </a:lnTo>
                <a:lnTo>
                  <a:pt x="478" y="647"/>
                </a:lnTo>
                <a:lnTo>
                  <a:pt x="477" y="666"/>
                </a:lnTo>
                <a:lnTo>
                  <a:pt x="476" y="680"/>
                </a:lnTo>
                <a:lnTo>
                  <a:pt x="476" y="687"/>
                </a:lnTo>
                <a:lnTo>
                  <a:pt x="476" y="693"/>
                </a:lnTo>
                <a:lnTo>
                  <a:pt x="476" y="700"/>
                </a:lnTo>
                <a:lnTo>
                  <a:pt x="478" y="708"/>
                </a:lnTo>
                <a:lnTo>
                  <a:pt x="467" y="711"/>
                </a:lnTo>
                <a:lnTo>
                  <a:pt x="457" y="714"/>
                </a:lnTo>
                <a:lnTo>
                  <a:pt x="447" y="718"/>
                </a:lnTo>
                <a:lnTo>
                  <a:pt x="437" y="722"/>
                </a:lnTo>
                <a:lnTo>
                  <a:pt x="428" y="727"/>
                </a:lnTo>
                <a:lnTo>
                  <a:pt x="420" y="733"/>
                </a:lnTo>
                <a:lnTo>
                  <a:pt x="412" y="739"/>
                </a:lnTo>
                <a:lnTo>
                  <a:pt x="404" y="744"/>
                </a:lnTo>
                <a:lnTo>
                  <a:pt x="391" y="756"/>
                </a:lnTo>
                <a:lnTo>
                  <a:pt x="380" y="767"/>
                </a:lnTo>
                <a:lnTo>
                  <a:pt x="371" y="778"/>
                </a:lnTo>
                <a:lnTo>
                  <a:pt x="365" y="789"/>
                </a:lnTo>
                <a:lnTo>
                  <a:pt x="360" y="786"/>
                </a:lnTo>
                <a:lnTo>
                  <a:pt x="354" y="785"/>
                </a:lnTo>
                <a:lnTo>
                  <a:pt x="348" y="785"/>
                </a:lnTo>
                <a:lnTo>
                  <a:pt x="342" y="786"/>
                </a:lnTo>
                <a:lnTo>
                  <a:pt x="330" y="788"/>
                </a:lnTo>
                <a:lnTo>
                  <a:pt x="319" y="789"/>
                </a:lnTo>
                <a:lnTo>
                  <a:pt x="318" y="793"/>
                </a:lnTo>
                <a:lnTo>
                  <a:pt x="316" y="798"/>
                </a:lnTo>
                <a:lnTo>
                  <a:pt x="313" y="804"/>
                </a:lnTo>
                <a:lnTo>
                  <a:pt x="310" y="810"/>
                </a:lnTo>
                <a:lnTo>
                  <a:pt x="300" y="824"/>
                </a:lnTo>
                <a:lnTo>
                  <a:pt x="289" y="838"/>
                </a:lnTo>
                <a:lnTo>
                  <a:pt x="276" y="853"/>
                </a:lnTo>
                <a:lnTo>
                  <a:pt x="263" y="864"/>
                </a:lnTo>
                <a:lnTo>
                  <a:pt x="256" y="868"/>
                </a:lnTo>
                <a:lnTo>
                  <a:pt x="250" y="872"/>
                </a:lnTo>
                <a:lnTo>
                  <a:pt x="244" y="874"/>
                </a:lnTo>
                <a:lnTo>
                  <a:pt x="239" y="875"/>
                </a:lnTo>
                <a:lnTo>
                  <a:pt x="236" y="874"/>
                </a:lnTo>
                <a:lnTo>
                  <a:pt x="234" y="872"/>
                </a:lnTo>
                <a:lnTo>
                  <a:pt x="232" y="868"/>
                </a:lnTo>
                <a:lnTo>
                  <a:pt x="230" y="864"/>
                </a:lnTo>
                <a:lnTo>
                  <a:pt x="226" y="854"/>
                </a:lnTo>
                <a:lnTo>
                  <a:pt x="225" y="844"/>
                </a:lnTo>
                <a:lnTo>
                  <a:pt x="226" y="830"/>
                </a:lnTo>
                <a:lnTo>
                  <a:pt x="229" y="816"/>
                </a:lnTo>
                <a:lnTo>
                  <a:pt x="231" y="800"/>
                </a:lnTo>
                <a:lnTo>
                  <a:pt x="232" y="782"/>
                </a:lnTo>
                <a:lnTo>
                  <a:pt x="244" y="779"/>
                </a:lnTo>
                <a:lnTo>
                  <a:pt x="253" y="775"/>
                </a:lnTo>
                <a:lnTo>
                  <a:pt x="262" y="770"/>
                </a:lnTo>
                <a:lnTo>
                  <a:pt x="269" y="765"/>
                </a:lnTo>
                <a:lnTo>
                  <a:pt x="277" y="760"/>
                </a:lnTo>
                <a:lnTo>
                  <a:pt x="285" y="756"/>
                </a:lnTo>
                <a:lnTo>
                  <a:pt x="289" y="754"/>
                </a:lnTo>
                <a:lnTo>
                  <a:pt x="295" y="753"/>
                </a:lnTo>
                <a:lnTo>
                  <a:pt x="300" y="752"/>
                </a:lnTo>
                <a:lnTo>
                  <a:pt x="305" y="752"/>
                </a:lnTo>
                <a:lnTo>
                  <a:pt x="305" y="743"/>
                </a:lnTo>
                <a:lnTo>
                  <a:pt x="308" y="733"/>
                </a:lnTo>
                <a:lnTo>
                  <a:pt x="311" y="723"/>
                </a:lnTo>
                <a:lnTo>
                  <a:pt x="314" y="714"/>
                </a:lnTo>
                <a:lnTo>
                  <a:pt x="319" y="705"/>
                </a:lnTo>
                <a:lnTo>
                  <a:pt x="324" y="695"/>
                </a:lnTo>
                <a:lnTo>
                  <a:pt x="330" y="686"/>
                </a:lnTo>
                <a:lnTo>
                  <a:pt x="336" y="677"/>
                </a:lnTo>
                <a:lnTo>
                  <a:pt x="349" y="659"/>
                </a:lnTo>
                <a:lnTo>
                  <a:pt x="365" y="643"/>
                </a:lnTo>
                <a:lnTo>
                  <a:pt x="378" y="629"/>
                </a:lnTo>
                <a:lnTo>
                  <a:pt x="392" y="616"/>
                </a:lnTo>
                <a:lnTo>
                  <a:pt x="371" y="536"/>
                </a:lnTo>
                <a:lnTo>
                  <a:pt x="371" y="514"/>
                </a:lnTo>
                <a:lnTo>
                  <a:pt x="368" y="493"/>
                </a:lnTo>
                <a:lnTo>
                  <a:pt x="364" y="475"/>
                </a:lnTo>
                <a:lnTo>
                  <a:pt x="357" y="458"/>
                </a:lnTo>
                <a:lnTo>
                  <a:pt x="349" y="442"/>
                </a:lnTo>
                <a:lnTo>
                  <a:pt x="341" y="427"/>
                </a:lnTo>
                <a:lnTo>
                  <a:pt x="331" y="414"/>
                </a:lnTo>
                <a:lnTo>
                  <a:pt x="321" y="402"/>
                </a:lnTo>
                <a:lnTo>
                  <a:pt x="297" y="377"/>
                </a:lnTo>
                <a:lnTo>
                  <a:pt x="271" y="355"/>
                </a:lnTo>
                <a:lnTo>
                  <a:pt x="245" y="332"/>
                </a:lnTo>
                <a:lnTo>
                  <a:pt x="219" y="308"/>
                </a:lnTo>
                <a:lnTo>
                  <a:pt x="199" y="292"/>
                </a:lnTo>
                <a:lnTo>
                  <a:pt x="179" y="273"/>
                </a:lnTo>
                <a:lnTo>
                  <a:pt x="161" y="255"/>
                </a:lnTo>
                <a:lnTo>
                  <a:pt x="142" y="237"/>
                </a:lnTo>
                <a:lnTo>
                  <a:pt x="124" y="217"/>
                </a:lnTo>
                <a:lnTo>
                  <a:pt x="108" y="198"/>
                </a:lnTo>
                <a:lnTo>
                  <a:pt x="92" y="179"/>
                </a:lnTo>
                <a:lnTo>
                  <a:pt x="79" y="160"/>
                </a:lnTo>
                <a:lnTo>
                  <a:pt x="72" y="146"/>
                </a:lnTo>
                <a:lnTo>
                  <a:pt x="63" y="133"/>
                </a:lnTo>
                <a:lnTo>
                  <a:pt x="53" y="118"/>
                </a:lnTo>
                <a:lnTo>
                  <a:pt x="42" y="104"/>
                </a:lnTo>
                <a:lnTo>
                  <a:pt x="21" y="77"/>
                </a:lnTo>
                <a:lnTo>
                  <a:pt x="0" y="49"/>
                </a:lnTo>
                <a:lnTo>
                  <a:pt x="46" y="41"/>
                </a:lnTo>
                <a:lnTo>
                  <a:pt x="91" y="32"/>
                </a:lnTo>
                <a:lnTo>
                  <a:pt x="111" y="26"/>
                </a:lnTo>
                <a:lnTo>
                  <a:pt x="129" y="19"/>
                </a:lnTo>
                <a:lnTo>
                  <a:pt x="136" y="15"/>
                </a:lnTo>
                <a:lnTo>
                  <a:pt x="143" y="11"/>
                </a:lnTo>
                <a:lnTo>
                  <a:pt x="148" y="5"/>
                </a:lnTo>
                <a:lnTo>
                  <a:pt x="153" y="0"/>
                </a:lnTo>
                <a:lnTo>
                  <a:pt x="163" y="9"/>
                </a:lnTo>
                <a:lnTo>
                  <a:pt x="175" y="16"/>
                </a:lnTo>
                <a:lnTo>
                  <a:pt x="186" y="21"/>
                </a:lnTo>
                <a:lnTo>
                  <a:pt x="198" y="26"/>
                </a:lnTo>
                <a:lnTo>
                  <a:pt x="221" y="35"/>
                </a:lnTo>
                <a:lnTo>
                  <a:pt x="239" y="43"/>
                </a:lnTo>
                <a:lnTo>
                  <a:pt x="256" y="55"/>
                </a:lnTo>
                <a:lnTo>
                  <a:pt x="269" y="67"/>
                </a:lnTo>
                <a:lnTo>
                  <a:pt x="282" y="82"/>
                </a:lnTo>
                <a:lnTo>
                  <a:pt x="299" y="10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91" name="Freeform 543"/>
          <p:cNvSpPr>
            <a:spLocks/>
          </p:cNvSpPr>
          <p:nvPr>
            <p:custDataLst>
              <p:tags r:id="rId374"/>
            </p:custDataLst>
          </p:nvPr>
        </p:nvSpPr>
        <p:spPr bwMode="auto">
          <a:xfrm>
            <a:off x="8128000" y="3603625"/>
            <a:ext cx="25400" cy="57150"/>
          </a:xfrm>
          <a:custGeom>
            <a:avLst/>
            <a:gdLst>
              <a:gd name="T0" fmla="*/ 59 w 59"/>
              <a:gd name="T1" fmla="*/ 6 h 31"/>
              <a:gd name="T2" fmla="*/ 57 w 59"/>
              <a:gd name="T3" fmla="*/ 11 h 31"/>
              <a:gd name="T4" fmla="*/ 53 w 59"/>
              <a:gd name="T5" fmla="*/ 15 h 31"/>
              <a:gd name="T6" fmla="*/ 49 w 59"/>
              <a:gd name="T7" fmla="*/ 19 h 31"/>
              <a:gd name="T8" fmla="*/ 45 w 59"/>
              <a:gd name="T9" fmla="*/ 24 h 31"/>
              <a:gd name="T10" fmla="*/ 40 w 59"/>
              <a:gd name="T11" fmla="*/ 27 h 31"/>
              <a:gd name="T12" fmla="*/ 36 w 59"/>
              <a:gd name="T13" fmla="*/ 29 h 31"/>
              <a:gd name="T14" fmla="*/ 30 w 59"/>
              <a:gd name="T15" fmla="*/ 31 h 31"/>
              <a:gd name="T16" fmla="*/ 26 w 59"/>
              <a:gd name="T17" fmla="*/ 31 h 31"/>
              <a:gd name="T18" fmla="*/ 21 w 59"/>
              <a:gd name="T19" fmla="*/ 31 h 31"/>
              <a:gd name="T20" fmla="*/ 17 w 59"/>
              <a:gd name="T21" fmla="*/ 30 h 31"/>
              <a:gd name="T22" fmla="*/ 14 w 59"/>
              <a:gd name="T23" fmla="*/ 29 h 31"/>
              <a:gd name="T24" fmla="*/ 11 w 59"/>
              <a:gd name="T25" fmla="*/ 27 h 31"/>
              <a:gd name="T26" fmla="*/ 4 w 59"/>
              <a:gd name="T27" fmla="*/ 20 h 31"/>
              <a:gd name="T28" fmla="*/ 0 w 59"/>
              <a:gd name="T29" fmla="*/ 12 h 31"/>
              <a:gd name="T30" fmla="*/ 1 w 59"/>
              <a:gd name="T31" fmla="*/ 9 h 31"/>
              <a:gd name="T32" fmla="*/ 3 w 59"/>
              <a:gd name="T33" fmla="*/ 6 h 31"/>
              <a:gd name="T34" fmla="*/ 5 w 59"/>
              <a:gd name="T35" fmla="*/ 4 h 31"/>
              <a:gd name="T36" fmla="*/ 8 w 59"/>
              <a:gd name="T37" fmla="*/ 3 h 31"/>
              <a:gd name="T38" fmla="*/ 16 w 59"/>
              <a:gd name="T39" fmla="*/ 1 h 31"/>
              <a:gd name="T40" fmla="*/ 24 w 59"/>
              <a:gd name="T41" fmla="*/ 0 h 31"/>
              <a:gd name="T42" fmla="*/ 34 w 59"/>
              <a:gd name="T43" fmla="*/ 0 h 31"/>
              <a:gd name="T44" fmla="*/ 42 w 59"/>
              <a:gd name="T45" fmla="*/ 2 h 31"/>
              <a:gd name="T46" fmla="*/ 51 w 59"/>
              <a:gd name="T47" fmla="*/ 4 h 31"/>
              <a:gd name="T48" fmla="*/ 59 w 59"/>
              <a:gd name="T49" fmla="*/ 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92" name="Freeform 544"/>
          <p:cNvSpPr>
            <a:spLocks/>
          </p:cNvSpPr>
          <p:nvPr>
            <p:custDataLst>
              <p:tags r:id="rId375"/>
            </p:custDataLst>
          </p:nvPr>
        </p:nvSpPr>
        <p:spPr bwMode="auto">
          <a:xfrm>
            <a:off x="6819901" y="2862263"/>
            <a:ext cx="174625" cy="271462"/>
          </a:xfrm>
          <a:custGeom>
            <a:avLst/>
            <a:gdLst>
              <a:gd name="T0" fmla="*/ 200 w 399"/>
              <a:gd name="T1" fmla="*/ 8 h 518"/>
              <a:gd name="T2" fmla="*/ 202 w 399"/>
              <a:gd name="T3" fmla="*/ 22 h 518"/>
              <a:gd name="T4" fmla="*/ 208 w 399"/>
              <a:gd name="T5" fmla="*/ 36 h 518"/>
              <a:gd name="T6" fmla="*/ 214 w 399"/>
              <a:gd name="T7" fmla="*/ 49 h 518"/>
              <a:gd name="T8" fmla="*/ 224 w 399"/>
              <a:gd name="T9" fmla="*/ 63 h 518"/>
              <a:gd name="T10" fmla="*/ 235 w 399"/>
              <a:gd name="T11" fmla="*/ 75 h 518"/>
              <a:gd name="T12" fmla="*/ 249 w 399"/>
              <a:gd name="T13" fmla="*/ 86 h 518"/>
              <a:gd name="T14" fmla="*/ 264 w 399"/>
              <a:gd name="T15" fmla="*/ 95 h 518"/>
              <a:gd name="T16" fmla="*/ 316 w 399"/>
              <a:gd name="T17" fmla="*/ 106 h 518"/>
              <a:gd name="T18" fmla="*/ 365 w 399"/>
              <a:gd name="T19" fmla="*/ 119 h 518"/>
              <a:gd name="T20" fmla="*/ 380 w 399"/>
              <a:gd name="T21" fmla="*/ 127 h 518"/>
              <a:gd name="T22" fmla="*/ 392 w 399"/>
              <a:gd name="T23" fmla="*/ 137 h 518"/>
              <a:gd name="T24" fmla="*/ 398 w 399"/>
              <a:gd name="T25" fmla="*/ 151 h 518"/>
              <a:gd name="T26" fmla="*/ 398 w 399"/>
              <a:gd name="T27" fmla="*/ 174 h 518"/>
              <a:gd name="T28" fmla="*/ 390 w 399"/>
              <a:gd name="T29" fmla="*/ 200 h 518"/>
              <a:gd name="T30" fmla="*/ 369 w 399"/>
              <a:gd name="T31" fmla="*/ 239 h 518"/>
              <a:gd name="T32" fmla="*/ 344 w 399"/>
              <a:gd name="T33" fmla="*/ 276 h 518"/>
              <a:gd name="T34" fmla="*/ 328 w 399"/>
              <a:gd name="T35" fmla="*/ 303 h 518"/>
              <a:gd name="T36" fmla="*/ 314 w 399"/>
              <a:gd name="T37" fmla="*/ 330 h 518"/>
              <a:gd name="T38" fmla="*/ 307 w 399"/>
              <a:gd name="T39" fmla="*/ 360 h 518"/>
              <a:gd name="T40" fmla="*/ 297 w 399"/>
              <a:gd name="T41" fmla="*/ 377 h 518"/>
              <a:gd name="T42" fmla="*/ 268 w 399"/>
              <a:gd name="T43" fmla="*/ 387 h 518"/>
              <a:gd name="T44" fmla="*/ 246 w 399"/>
              <a:gd name="T45" fmla="*/ 399 h 518"/>
              <a:gd name="T46" fmla="*/ 235 w 399"/>
              <a:gd name="T47" fmla="*/ 408 h 518"/>
              <a:gd name="T48" fmla="*/ 227 w 399"/>
              <a:gd name="T49" fmla="*/ 417 h 518"/>
              <a:gd name="T50" fmla="*/ 224 w 399"/>
              <a:gd name="T51" fmla="*/ 427 h 518"/>
              <a:gd name="T52" fmla="*/ 213 w 399"/>
              <a:gd name="T53" fmla="*/ 438 h 518"/>
              <a:gd name="T54" fmla="*/ 188 w 399"/>
              <a:gd name="T55" fmla="*/ 450 h 518"/>
              <a:gd name="T56" fmla="*/ 173 w 399"/>
              <a:gd name="T57" fmla="*/ 456 h 518"/>
              <a:gd name="T58" fmla="*/ 166 w 399"/>
              <a:gd name="T59" fmla="*/ 467 h 518"/>
              <a:gd name="T60" fmla="*/ 158 w 399"/>
              <a:gd name="T61" fmla="*/ 481 h 518"/>
              <a:gd name="T62" fmla="*/ 146 w 399"/>
              <a:gd name="T63" fmla="*/ 490 h 518"/>
              <a:gd name="T64" fmla="*/ 131 w 399"/>
              <a:gd name="T65" fmla="*/ 494 h 518"/>
              <a:gd name="T66" fmla="*/ 102 w 399"/>
              <a:gd name="T67" fmla="*/ 498 h 518"/>
              <a:gd name="T68" fmla="*/ 73 w 399"/>
              <a:gd name="T69" fmla="*/ 504 h 518"/>
              <a:gd name="T70" fmla="*/ 55 w 399"/>
              <a:gd name="T71" fmla="*/ 512 h 518"/>
              <a:gd name="T72" fmla="*/ 46 w 399"/>
              <a:gd name="T73" fmla="*/ 514 h 518"/>
              <a:gd name="T74" fmla="*/ 43 w 399"/>
              <a:gd name="T75" fmla="*/ 506 h 518"/>
              <a:gd name="T76" fmla="*/ 38 w 399"/>
              <a:gd name="T77" fmla="*/ 497 h 518"/>
              <a:gd name="T78" fmla="*/ 34 w 399"/>
              <a:gd name="T79" fmla="*/ 487 h 518"/>
              <a:gd name="T80" fmla="*/ 33 w 399"/>
              <a:gd name="T81" fmla="*/ 468 h 518"/>
              <a:gd name="T82" fmla="*/ 29 w 399"/>
              <a:gd name="T83" fmla="*/ 445 h 518"/>
              <a:gd name="T84" fmla="*/ 17 w 399"/>
              <a:gd name="T85" fmla="*/ 418 h 518"/>
              <a:gd name="T86" fmla="*/ 0 w 399"/>
              <a:gd name="T87" fmla="*/ 358 h 518"/>
              <a:gd name="T88" fmla="*/ 194 w 399"/>
              <a:gd name="T89" fmla="*/ 185 h 518"/>
              <a:gd name="T90" fmla="*/ 200 w 399"/>
              <a:gd name="T91" fmla="*/ 0 h 5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99" h="518">
                <a:moveTo>
                  <a:pt x="200" y="0"/>
                </a:moveTo>
                <a:lnTo>
                  <a:pt x="200" y="8"/>
                </a:lnTo>
                <a:lnTo>
                  <a:pt x="201" y="15"/>
                </a:lnTo>
                <a:lnTo>
                  <a:pt x="202" y="22"/>
                </a:lnTo>
                <a:lnTo>
                  <a:pt x="205" y="29"/>
                </a:lnTo>
                <a:lnTo>
                  <a:pt x="208" y="36"/>
                </a:lnTo>
                <a:lnTo>
                  <a:pt x="211" y="42"/>
                </a:lnTo>
                <a:lnTo>
                  <a:pt x="214" y="49"/>
                </a:lnTo>
                <a:lnTo>
                  <a:pt x="219" y="56"/>
                </a:lnTo>
                <a:lnTo>
                  <a:pt x="224" y="63"/>
                </a:lnTo>
                <a:lnTo>
                  <a:pt x="230" y="69"/>
                </a:lnTo>
                <a:lnTo>
                  <a:pt x="235" y="75"/>
                </a:lnTo>
                <a:lnTo>
                  <a:pt x="242" y="81"/>
                </a:lnTo>
                <a:lnTo>
                  <a:pt x="249" y="86"/>
                </a:lnTo>
                <a:lnTo>
                  <a:pt x="256" y="91"/>
                </a:lnTo>
                <a:lnTo>
                  <a:pt x="264" y="95"/>
                </a:lnTo>
                <a:lnTo>
                  <a:pt x="273" y="98"/>
                </a:lnTo>
                <a:lnTo>
                  <a:pt x="316" y="106"/>
                </a:lnTo>
                <a:lnTo>
                  <a:pt x="356" y="116"/>
                </a:lnTo>
                <a:lnTo>
                  <a:pt x="365" y="119"/>
                </a:lnTo>
                <a:lnTo>
                  <a:pt x="374" y="123"/>
                </a:lnTo>
                <a:lnTo>
                  <a:pt x="380" y="127"/>
                </a:lnTo>
                <a:lnTo>
                  <a:pt x="387" y="132"/>
                </a:lnTo>
                <a:lnTo>
                  <a:pt x="392" y="137"/>
                </a:lnTo>
                <a:lnTo>
                  <a:pt x="396" y="144"/>
                </a:lnTo>
                <a:lnTo>
                  <a:pt x="398" y="151"/>
                </a:lnTo>
                <a:lnTo>
                  <a:pt x="399" y="160"/>
                </a:lnTo>
                <a:lnTo>
                  <a:pt x="398" y="174"/>
                </a:lnTo>
                <a:lnTo>
                  <a:pt x="396" y="187"/>
                </a:lnTo>
                <a:lnTo>
                  <a:pt x="390" y="200"/>
                </a:lnTo>
                <a:lnTo>
                  <a:pt x="385" y="213"/>
                </a:lnTo>
                <a:lnTo>
                  <a:pt x="369" y="239"/>
                </a:lnTo>
                <a:lnTo>
                  <a:pt x="353" y="263"/>
                </a:lnTo>
                <a:lnTo>
                  <a:pt x="344" y="276"/>
                </a:lnTo>
                <a:lnTo>
                  <a:pt x="335" y="290"/>
                </a:lnTo>
                <a:lnTo>
                  <a:pt x="328" y="303"/>
                </a:lnTo>
                <a:lnTo>
                  <a:pt x="321" y="316"/>
                </a:lnTo>
                <a:lnTo>
                  <a:pt x="314" y="330"/>
                </a:lnTo>
                <a:lnTo>
                  <a:pt x="310" y="345"/>
                </a:lnTo>
                <a:lnTo>
                  <a:pt x="307" y="360"/>
                </a:lnTo>
                <a:lnTo>
                  <a:pt x="306" y="376"/>
                </a:lnTo>
                <a:lnTo>
                  <a:pt x="297" y="377"/>
                </a:lnTo>
                <a:lnTo>
                  <a:pt x="284" y="381"/>
                </a:lnTo>
                <a:lnTo>
                  <a:pt x="268" y="387"/>
                </a:lnTo>
                <a:lnTo>
                  <a:pt x="254" y="395"/>
                </a:lnTo>
                <a:lnTo>
                  <a:pt x="246" y="399"/>
                </a:lnTo>
                <a:lnTo>
                  <a:pt x="241" y="403"/>
                </a:lnTo>
                <a:lnTo>
                  <a:pt x="235" y="408"/>
                </a:lnTo>
                <a:lnTo>
                  <a:pt x="231" y="413"/>
                </a:lnTo>
                <a:lnTo>
                  <a:pt x="227" y="417"/>
                </a:lnTo>
                <a:lnTo>
                  <a:pt x="225" y="422"/>
                </a:lnTo>
                <a:lnTo>
                  <a:pt x="224" y="427"/>
                </a:lnTo>
                <a:lnTo>
                  <a:pt x="227" y="431"/>
                </a:lnTo>
                <a:lnTo>
                  <a:pt x="213" y="438"/>
                </a:lnTo>
                <a:lnTo>
                  <a:pt x="197" y="446"/>
                </a:lnTo>
                <a:lnTo>
                  <a:pt x="188" y="450"/>
                </a:lnTo>
                <a:lnTo>
                  <a:pt x="179" y="454"/>
                </a:lnTo>
                <a:lnTo>
                  <a:pt x="173" y="456"/>
                </a:lnTo>
                <a:lnTo>
                  <a:pt x="166" y="456"/>
                </a:lnTo>
                <a:lnTo>
                  <a:pt x="166" y="467"/>
                </a:lnTo>
                <a:lnTo>
                  <a:pt x="163" y="475"/>
                </a:lnTo>
                <a:lnTo>
                  <a:pt x="158" y="481"/>
                </a:lnTo>
                <a:lnTo>
                  <a:pt x="153" y="486"/>
                </a:lnTo>
                <a:lnTo>
                  <a:pt x="146" y="490"/>
                </a:lnTo>
                <a:lnTo>
                  <a:pt x="139" y="493"/>
                </a:lnTo>
                <a:lnTo>
                  <a:pt x="131" y="494"/>
                </a:lnTo>
                <a:lnTo>
                  <a:pt x="122" y="496"/>
                </a:lnTo>
                <a:lnTo>
                  <a:pt x="102" y="498"/>
                </a:lnTo>
                <a:lnTo>
                  <a:pt x="83" y="501"/>
                </a:lnTo>
                <a:lnTo>
                  <a:pt x="73" y="504"/>
                </a:lnTo>
                <a:lnTo>
                  <a:pt x="64" y="507"/>
                </a:lnTo>
                <a:lnTo>
                  <a:pt x="55" y="512"/>
                </a:lnTo>
                <a:lnTo>
                  <a:pt x="46" y="518"/>
                </a:lnTo>
                <a:lnTo>
                  <a:pt x="46" y="514"/>
                </a:lnTo>
                <a:lnTo>
                  <a:pt x="45" y="510"/>
                </a:lnTo>
                <a:lnTo>
                  <a:pt x="43" y="506"/>
                </a:lnTo>
                <a:lnTo>
                  <a:pt x="40" y="501"/>
                </a:lnTo>
                <a:lnTo>
                  <a:pt x="38" y="497"/>
                </a:lnTo>
                <a:lnTo>
                  <a:pt x="36" y="492"/>
                </a:lnTo>
                <a:lnTo>
                  <a:pt x="34" y="487"/>
                </a:lnTo>
                <a:lnTo>
                  <a:pt x="33" y="481"/>
                </a:lnTo>
                <a:lnTo>
                  <a:pt x="33" y="468"/>
                </a:lnTo>
                <a:lnTo>
                  <a:pt x="31" y="456"/>
                </a:lnTo>
                <a:lnTo>
                  <a:pt x="29" y="445"/>
                </a:lnTo>
                <a:lnTo>
                  <a:pt x="26" y="436"/>
                </a:lnTo>
                <a:lnTo>
                  <a:pt x="17" y="418"/>
                </a:lnTo>
                <a:lnTo>
                  <a:pt x="7" y="401"/>
                </a:lnTo>
                <a:lnTo>
                  <a:pt x="0" y="358"/>
                </a:lnTo>
                <a:lnTo>
                  <a:pt x="113" y="332"/>
                </a:lnTo>
                <a:lnTo>
                  <a:pt x="194" y="185"/>
                </a:lnTo>
                <a:lnTo>
                  <a:pt x="166" y="136"/>
                </a:lnTo>
                <a:lnTo>
                  <a:pt x="20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93" name="Freeform 545"/>
          <p:cNvSpPr>
            <a:spLocks/>
          </p:cNvSpPr>
          <p:nvPr>
            <p:custDataLst>
              <p:tags r:id="rId376"/>
            </p:custDataLst>
          </p:nvPr>
        </p:nvSpPr>
        <p:spPr bwMode="auto">
          <a:xfrm>
            <a:off x="5546725" y="2916238"/>
            <a:ext cx="376238" cy="385762"/>
          </a:xfrm>
          <a:custGeom>
            <a:avLst/>
            <a:gdLst>
              <a:gd name="T0" fmla="*/ 231 w 866"/>
              <a:gd name="T1" fmla="*/ 270 h 740"/>
              <a:gd name="T2" fmla="*/ 245 w 866"/>
              <a:gd name="T3" fmla="*/ 264 h 740"/>
              <a:gd name="T4" fmla="*/ 272 w 866"/>
              <a:gd name="T5" fmla="*/ 272 h 740"/>
              <a:gd name="T6" fmla="*/ 654 w 866"/>
              <a:gd name="T7" fmla="*/ 1 h 740"/>
              <a:gd name="T8" fmla="*/ 679 w 866"/>
              <a:gd name="T9" fmla="*/ 6 h 740"/>
              <a:gd name="T10" fmla="*/ 711 w 866"/>
              <a:gd name="T11" fmla="*/ 21 h 740"/>
              <a:gd name="T12" fmla="*/ 730 w 866"/>
              <a:gd name="T13" fmla="*/ 35 h 740"/>
              <a:gd name="T14" fmla="*/ 760 w 866"/>
              <a:gd name="T15" fmla="*/ 57 h 740"/>
              <a:gd name="T16" fmla="*/ 791 w 866"/>
              <a:gd name="T17" fmla="*/ 59 h 740"/>
              <a:gd name="T18" fmla="*/ 831 w 866"/>
              <a:gd name="T19" fmla="*/ 43 h 740"/>
              <a:gd name="T20" fmla="*/ 854 w 866"/>
              <a:gd name="T21" fmla="*/ 166 h 740"/>
              <a:gd name="T22" fmla="*/ 866 w 866"/>
              <a:gd name="T23" fmla="*/ 205 h 740"/>
              <a:gd name="T24" fmla="*/ 850 w 866"/>
              <a:gd name="T25" fmla="*/ 301 h 740"/>
              <a:gd name="T26" fmla="*/ 848 w 866"/>
              <a:gd name="T27" fmla="*/ 376 h 740"/>
              <a:gd name="T28" fmla="*/ 834 w 866"/>
              <a:gd name="T29" fmla="*/ 421 h 740"/>
              <a:gd name="T30" fmla="*/ 802 w 866"/>
              <a:gd name="T31" fmla="*/ 467 h 740"/>
              <a:gd name="T32" fmla="*/ 777 w 866"/>
              <a:gd name="T33" fmla="*/ 499 h 740"/>
              <a:gd name="T34" fmla="*/ 758 w 866"/>
              <a:gd name="T35" fmla="*/ 567 h 740"/>
              <a:gd name="T36" fmla="*/ 711 w 866"/>
              <a:gd name="T37" fmla="*/ 629 h 740"/>
              <a:gd name="T38" fmla="*/ 680 w 866"/>
              <a:gd name="T39" fmla="*/ 646 h 740"/>
              <a:gd name="T40" fmla="*/ 644 w 866"/>
              <a:gd name="T41" fmla="*/ 638 h 740"/>
              <a:gd name="T42" fmla="*/ 611 w 866"/>
              <a:gd name="T43" fmla="*/ 625 h 740"/>
              <a:gd name="T44" fmla="*/ 566 w 866"/>
              <a:gd name="T45" fmla="*/ 633 h 740"/>
              <a:gd name="T46" fmla="*/ 530 w 866"/>
              <a:gd name="T47" fmla="*/ 659 h 740"/>
              <a:gd name="T48" fmla="*/ 511 w 866"/>
              <a:gd name="T49" fmla="*/ 680 h 740"/>
              <a:gd name="T50" fmla="*/ 491 w 866"/>
              <a:gd name="T51" fmla="*/ 684 h 740"/>
              <a:gd name="T52" fmla="*/ 470 w 866"/>
              <a:gd name="T53" fmla="*/ 668 h 740"/>
              <a:gd name="T54" fmla="*/ 446 w 866"/>
              <a:gd name="T55" fmla="*/ 639 h 740"/>
              <a:gd name="T56" fmla="*/ 421 w 866"/>
              <a:gd name="T57" fmla="*/ 635 h 740"/>
              <a:gd name="T58" fmla="*/ 405 w 866"/>
              <a:gd name="T59" fmla="*/ 647 h 740"/>
              <a:gd name="T60" fmla="*/ 384 w 866"/>
              <a:gd name="T61" fmla="*/ 652 h 740"/>
              <a:gd name="T62" fmla="*/ 350 w 866"/>
              <a:gd name="T63" fmla="*/ 638 h 740"/>
              <a:gd name="T64" fmla="*/ 306 w 866"/>
              <a:gd name="T65" fmla="*/ 608 h 740"/>
              <a:gd name="T66" fmla="*/ 271 w 866"/>
              <a:gd name="T67" fmla="*/ 604 h 740"/>
              <a:gd name="T68" fmla="*/ 237 w 866"/>
              <a:gd name="T69" fmla="*/ 620 h 740"/>
              <a:gd name="T70" fmla="*/ 209 w 866"/>
              <a:gd name="T71" fmla="*/ 653 h 740"/>
              <a:gd name="T72" fmla="*/ 190 w 866"/>
              <a:gd name="T73" fmla="*/ 692 h 740"/>
              <a:gd name="T74" fmla="*/ 178 w 866"/>
              <a:gd name="T75" fmla="*/ 719 h 740"/>
              <a:gd name="T76" fmla="*/ 149 w 866"/>
              <a:gd name="T77" fmla="*/ 702 h 740"/>
              <a:gd name="T78" fmla="*/ 100 w 866"/>
              <a:gd name="T79" fmla="*/ 740 h 740"/>
              <a:gd name="T80" fmla="*/ 66 w 866"/>
              <a:gd name="T81" fmla="*/ 699 h 740"/>
              <a:gd name="T82" fmla="*/ 64 w 866"/>
              <a:gd name="T83" fmla="*/ 644 h 740"/>
              <a:gd name="T84" fmla="*/ 50 w 866"/>
              <a:gd name="T85" fmla="*/ 613 h 740"/>
              <a:gd name="T86" fmla="*/ 20 w 866"/>
              <a:gd name="T87" fmla="*/ 587 h 740"/>
              <a:gd name="T88" fmla="*/ 5 w 866"/>
              <a:gd name="T89" fmla="*/ 558 h 740"/>
              <a:gd name="T90" fmla="*/ 53 w 866"/>
              <a:gd name="T91" fmla="*/ 530 h 740"/>
              <a:gd name="T92" fmla="*/ 76 w 866"/>
              <a:gd name="T93" fmla="*/ 518 h 740"/>
              <a:gd name="T94" fmla="*/ 139 w 866"/>
              <a:gd name="T95" fmla="*/ 510 h 740"/>
              <a:gd name="T96" fmla="*/ 182 w 866"/>
              <a:gd name="T97" fmla="*/ 500 h 740"/>
              <a:gd name="T98" fmla="*/ 201 w 866"/>
              <a:gd name="T99" fmla="*/ 475 h 740"/>
              <a:gd name="T100" fmla="*/ 219 w 866"/>
              <a:gd name="T101" fmla="*/ 424 h 740"/>
              <a:gd name="T102" fmla="*/ 224 w 866"/>
              <a:gd name="T103" fmla="*/ 367 h 740"/>
              <a:gd name="T104" fmla="*/ 219 w 866"/>
              <a:gd name="T105" fmla="*/ 320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866" h="740">
                <a:moveTo>
                  <a:pt x="219" y="283"/>
                </a:moveTo>
                <a:lnTo>
                  <a:pt x="223" y="278"/>
                </a:lnTo>
                <a:lnTo>
                  <a:pt x="227" y="273"/>
                </a:lnTo>
                <a:lnTo>
                  <a:pt x="231" y="270"/>
                </a:lnTo>
                <a:lnTo>
                  <a:pt x="234" y="267"/>
                </a:lnTo>
                <a:lnTo>
                  <a:pt x="238" y="266"/>
                </a:lnTo>
                <a:lnTo>
                  <a:pt x="242" y="264"/>
                </a:lnTo>
                <a:lnTo>
                  <a:pt x="245" y="264"/>
                </a:lnTo>
                <a:lnTo>
                  <a:pt x="250" y="264"/>
                </a:lnTo>
                <a:lnTo>
                  <a:pt x="256" y="265"/>
                </a:lnTo>
                <a:lnTo>
                  <a:pt x="264" y="268"/>
                </a:lnTo>
                <a:lnTo>
                  <a:pt x="272" y="272"/>
                </a:lnTo>
                <a:lnTo>
                  <a:pt x="279" y="277"/>
                </a:lnTo>
                <a:lnTo>
                  <a:pt x="645" y="6"/>
                </a:lnTo>
                <a:lnTo>
                  <a:pt x="649" y="3"/>
                </a:lnTo>
                <a:lnTo>
                  <a:pt x="654" y="1"/>
                </a:lnTo>
                <a:lnTo>
                  <a:pt x="658" y="0"/>
                </a:lnTo>
                <a:lnTo>
                  <a:pt x="663" y="0"/>
                </a:lnTo>
                <a:lnTo>
                  <a:pt x="671" y="2"/>
                </a:lnTo>
                <a:lnTo>
                  <a:pt x="679" y="6"/>
                </a:lnTo>
                <a:lnTo>
                  <a:pt x="689" y="11"/>
                </a:lnTo>
                <a:lnTo>
                  <a:pt x="699" y="17"/>
                </a:lnTo>
                <a:lnTo>
                  <a:pt x="704" y="19"/>
                </a:lnTo>
                <a:lnTo>
                  <a:pt x="711" y="21"/>
                </a:lnTo>
                <a:lnTo>
                  <a:pt x="717" y="23"/>
                </a:lnTo>
                <a:lnTo>
                  <a:pt x="724" y="25"/>
                </a:lnTo>
                <a:lnTo>
                  <a:pt x="726" y="30"/>
                </a:lnTo>
                <a:lnTo>
                  <a:pt x="730" y="35"/>
                </a:lnTo>
                <a:lnTo>
                  <a:pt x="736" y="42"/>
                </a:lnTo>
                <a:lnTo>
                  <a:pt x="744" y="47"/>
                </a:lnTo>
                <a:lnTo>
                  <a:pt x="752" y="53"/>
                </a:lnTo>
                <a:lnTo>
                  <a:pt x="760" y="57"/>
                </a:lnTo>
                <a:lnTo>
                  <a:pt x="769" y="60"/>
                </a:lnTo>
                <a:lnTo>
                  <a:pt x="778" y="61"/>
                </a:lnTo>
                <a:lnTo>
                  <a:pt x="784" y="60"/>
                </a:lnTo>
                <a:lnTo>
                  <a:pt x="791" y="59"/>
                </a:lnTo>
                <a:lnTo>
                  <a:pt x="798" y="57"/>
                </a:lnTo>
                <a:lnTo>
                  <a:pt x="804" y="54"/>
                </a:lnTo>
                <a:lnTo>
                  <a:pt x="816" y="48"/>
                </a:lnTo>
                <a:lnTo>
                  <a:pt x="831" y="43"/>
                </a:lnTo>
                <a:lnTo>
                  <a:pt x="824" y="122"/>
                </a:lnTo>
                <a:lnTo>
                  <a:pt x="836" y="140"/>
                </a:lnTo>
                <a:lnTo>
                  <a:pt x="846" y="154"/>
                </a:lnTo>
                <a:lnTo>
                  <a:pt x="854" y="166"/>
                </a:lnTo>
                <a:lnTo>
                  <a:pt x="859" y="177"/>
                </a:lnTo>
                <a:lnTo>
                  <a:pt x="862" y="188"/>
                </a:lnTo>
                <a:lnTo>
                  <a:pt x="865" y="197"/>
                </a:lnTo>
                <a:lnTo>
                  <a:pt x="866" y="205"/>
                </a:lnTo>
                <a:lnTo>
                  <a:pt x="865" y="211"/>
                </a:lnTo>
                <a:lnTo>
                  <a:pt x="857" y="234"/>
                </a:lnTo>
                <a:lnTo>
                  <a:pt x="850" y="259"/>
                </a:lnTo>
                <a:lnTo>
                  <a:pt x="850" y="301"/>
                </a:lnTo>
                <a:lnTo>
                  <a:pt x="850" y="334"/>
                </a:lnTo>
                <a:lnTo>
                  <a:pt x="850" y="350"/>
                </a:lnTo>
                <a:lnTo>
                  <a:pt x="849" y="364"/>
                </a:lnTo>
                <a:lnTo>
                  <a:pt x="848" y="376"/>
                </a:lnTo>
                <a:lnTo>
                  <a:pt x="846" y="388"/>
                </a:lnTo>
                <a:lnTo>
                  <a:pt x="843" y="399"/>
                </a:lnTo>
                <a:lnTo>
                  <a:pt x="839" y="411"/>
                </a:lnTo>
                <a:lnTo>
                  <a:pt x="834" y="421"/>
                </a:lnTo>
                <a:lnTo>
                  <a:pt x="828" y="432"/>
                </a:lnTo>
                <a:lnTo>
                  <a:pt x="821" y="443"/>
                </a:lnTo>
                <a:lnTo>
                  <a:pt x="813" y="454"/>
                </a:lnTo>
                <a:lnTo>
                  <a:pt x="802" y="467"/>
                </a:lnTo>
                <a:lnTo>
                  <a:pt x="791" y="480"/>
                </a:lnTo>
                <a:lnTo>
                  <a:pt x="786" y="486"/>
                </a:lnTo>
                <a:lnTo>
                  <a:pt x="781" y="493"/>
                </a:lnTo>
                <a:lnTo>
                  <a:pt x="777" y="499"/>
                </a:lnTo>
                <a:lnTo>
                  <a:pt x="773" y="506"/>
                </a:lnTo>
                <a:lnTo>
                  <a:pt x="768" y="522"/>
                </a:lnTo>
                <a:lnTo>
                  <a:pt x="764" y="537"/>
                </a:lnTo>
                <a:lnTo>
                  <a:pt x="758" y="567"/>
                </a:lnTo>
                <a:lnTo>
                  <a:pt x="755" y="593"/>
                </a:lnTo>
                <a:lnTo>
                  <a:pt x="731" y="585"/>
                </a:lnTo>
                <a:lnTo>
                  <a:pt x="698" y="591"/>
                </a:lnTo>
                <a:lnTo>
                  <a:pt x="711" y="629"/>
                </a:lnTo>
                <a:lnTo>
                  <a:pt x="719" y="636"/>
                </a:lnTo>
                <a:lnTo>
                  <a:pt x="704" y="641"/>
                </a:lnTo>
                <a:lnTo>
                  <a:pt x="692" y="645"/>
                </a:lnTo>
                <a:lnTo>
                  <a:pt x="680" y="646"/>
                </a:lnTo>
                <a:lnTo>
                  <a:pt x="670" y="646"/>
                </a:lnTo>
                <a:lnTo>
                  <a:pt x="661" y="644"/>
                </a:lnTo>
                <a:lnTo>
                  <a:pt x="653" y="641"/>
                </a:lnTo>
                <a:lnTo>
                  <a:pt x="644" y="638"/>
                </a:lnTo>
                <a:lnTo>
                  <a:pt x="636" y="634"/>
                </a:lnTo>
                <a:lnTo>
                  <a:pt x="629" y="631"/>
                </a:lnTo>
                <a:lnTo>
                  <a:pt x="620" y="628"/>
                </a:lnTo>
                <a:lnTo>
                  <a:pt x="611" y="625"/>
                </a:lnTo>
                <a:lnTo>
                  <a:pt x="601" y="624"/>
                </a:lnTo>
                <a:lnTo>
                  <a:pt x="591" y="625"/>
                </a:lnTo>
                <a:lnTo>
                  <a:pt x="579" y="628"/>
                </a:lnTo>
                <a:lnTo>
                  <a:pt x="566" y="633"/>
                </a:lnTo>
                <a:lnTo>
                  <a:pt x="552" y="641"/>
                </a:lnTo>
                <a:lnTo>
                  <a:pt x="543" y="646"/>
                </a:lnTo>
                <a:lnTo>
                  <a:pt x="536" y="652"/>
                </a:lnTo>
                <a:lnTo>
                  <a:pt x="530" y="659"/>
                </a:lnTo>
                <a:lnTo>
                  <a:pt x="525" y="666"/>
                </a:lnTo>
                <a:lnTo>
                  <a:pt x="520" y="673"/>
                </a:lnTo>
                <a:lnTo>
                  <a:pt x="514" y="678"/>
                </a:lnTo>
                <a:lnTo>
                  <a:pt x="511" y="680"/>
                </a:lnTo>
                <a:lnTo>
                  <a:pt x="508" y="683"/>
                </a:lnTo>
                <a:lnTo>
                  <a:pt x="503" y="684"/>
                </a:lnTo>
                <a:lnTo>
                  <a:pt x="499" y="684"/>
                </a:lnTo>
                <a:lnTo>
                  <a:pt x="491" y="684"/>
                </a:lnTo>
                <a:lnTo>
                  <a:pt x="486" y="682"/>
                </a:lnTo>
                <a:lnTo>
                  <a:pt x="481" y="679"/>
                </a:lnTo>
                <a:lnTo>
                  <a:pt x="477" y="676"/>
                </a:lnTo>
                <a:lnTo>
                  <a:pt x="470" y="668"/>
                </a:lnTo>
                <a:lnTo>
                  <a:pt x="465" y="659"/>
                </a:lnTo>
                <a:lnTo>
                  <a:pt x="458" y="650"/>
                </a:lnTo>
                <a:lnTo>
                  <a:pt x="451" y="642"/>
                </a:lnTo>
                <a:lnTo>
                  <a:pt x="446" y="639"/>
                </a:lnTo>
                <a:lnTo>
                  <a:pt x="441" y="637"/>
                </a:lnTo>
                <a:lnTo>
                  <a:pt x="433" y="635"/>
                </a:lnTo>
                <a:lnTo>
                  <a:pt x="425" y="635"/>
                </a:lnTo>
                <a:lnTo>
                  <a:pt x="421" y="635"/>
                </a:lnTo>
                <a:lnTo>
                  <a:pt x="417" y="638"/>
                </a:lnTo>
                <a:lnTo>
                  <a:pt x="412" y="640"/>
                </a:lnTo>
                <a:lnTo>
                  <a:pt x="409" y="644"/>
                </a:lnTo>
                <a:lnTo>
                  <a:pt x="405" y="647"/>
                </a:lnTo>
                <a:lnTo>
                  <a:pt x="401" y="650"/>
                </a:lnTo>
                <a:lnTo>
                  <a:pt x="397" y="652"/>
                </a:lnTo>
                <a:lnTo>
                  <a:pt x="392" y="653"/>
                </a:lnTo>
                <a:lnTo>
                  <a:pt x="384" y="652"/>
                </a:lnTo>
                <a:lnTo>
                  <a:pt x="376" y="651"/>
                </a:lnTo>
                <a:lnTo>
                  <a:pt x="369" y="648"/>
                </a:lnTo>
                <a:lnTo>
                  <a:pt x="363" y="645"/>
                </a:lnTo>
                <a:lnTo>
                  <a:pt x="350" y="638"/>
                </a:lnTo>
                <a:lnTo>
                  <a:pt x="339" y="629"/>
                </a:lnTo>
                <a:lnTo>
                  <a:pt x="327" y="619"/>
                </a:lnTo>
                <a:lnTo>
                  <a:pt x="312" y="611"/>
                </a:lnTo>
                <a:lnTo>
                  <a:pt x="306" y="608"/>
                </a:lnTo>
                <a:lnTo>
                  <a:pt x="297" y="606"/>
                </a:lnTo>
                <a:lnTo>
                  <a:pt x="289" y="604"/>
                </a:lnTo>
                <a:lnTo>
                  <a:pt x="279" y="603"/>
                </a:lnTo>
                <a:lnTo>
                  <a:pt x="271" y="604"/>
                </a:lnTo>
                <a:lnTo>
                  <a:pt x="262" y="606"/>
                </a:lnTo>
                <a:lnTo>
                  <a:pt x="253" y="610"/>
                </a:lnTo>
                <a:lnTo>
                  <a:pt x="245" y="615"/>
                </a:lnTo>
                <a:lnTo>
                  <a:pt x="237" y="620"/>
                </a:lnTo>
                <a:lnTo>
                  <a:pt x="229" y="628"/>
                </a:lnTo>
                <a:lnTo>
                  <a:pt x="222" y="636"/>
                </a:lnTo>
                <a:lnTo>
                  <a:pt x="216" y="644"/>
                </a:lnTo>
                <a:lnTo>
                  <a:pt x="209" y="653"/>
                </a:lnTo>
                <a:lnTo>
                  <a:pt x="204" y="662"/>
                </a:lnTo>
                <a:lnTo>
                  <a:pt x="198" y="671"/>
                </a:lnTo>
                <a:lnTo>
                  <a:pt x="194" y="682"/>
                </a:lnTo>
                <a:lnTo>
                  <a:pt x="190" y="692"/>
                </a:lnTo>
                <a:lnTo>
                  <a:pt x="188" y="702"/>
                </a:lnTo>
                <a:lnTo>
                  <a:pt x="187" y="711"/>
                </a:lnTo>
                <a:lnTo>
                  <a:pt x="186" y="720"/>
                </a:lnTo>
                <a:lnTo>
                  <a:pt x="178" y="719"/>
                </a:lnTo>
                <a:lnTo>
                  <a:pt x="172" y="717"/>
                </a:lnTo>
                <a:lnTo>
                  <a:pt x="164" y="712"/>
                </a:lnTo>
                <a:lnTo>
                  <a:pt x="156" y="708"/>
                </a:lnTo>
                <a:lnTo>
                  <a:pt x="149" y="702"/>
                </a:lnTo>
                <a:lnTo>
                  <a:pt x="141" y="697"/>
                </a:lnTo>
                <a:lnTo>
                  <a:pt x="134" y="693"/>
                </a:lnTo>
                <a:lnTo>
                  <a:pt x="127" y="690"/>
                </a:lnTo>
                <a:lnTo>
                  <a:pt x="100" y="740"/>
                </a:lnTo>
                <a:lnTo>
                  <a:pt x="73" y="740"/>
                </a:lnTo>
                <a:lnTo>
                  <a:pt x="70" y="725"/>
                </a:lnTo>
                <a:lnTo>
                  <a:pt x="67" y="712"/>
                </a:lnTo>
                <a:lnTo>
                  <a:pt x="66" y="699"/>
                </a:lnTo>
                <a:lnTo>
                  <a:pt x="66" y="686"/>
                </a:lnTo>
                <a:lnTo>
                  <a:pt x="66" y="672"/>
                </a:lnTo>
                <a:lnTo>
                  <a:pt x="66" y="658"/>
                </a:lnTo>
                <a:lnTo>
                  <a:pt x="64" y="644"/>
                </a:lnTo>
                <a:lnTo>
                  <a:pt x="60" y="629"/>
                </a:lnTo>
                <a:lnTo>
                  <a:pt x="58" y="622"/>
                </a:lnTo>
                <a:lnTo>
                  <a:pt x="53" y="618"/>
                </a:lnTo>
                <a:lnTo>
                  <a:pt x="50" y="613"/>
                </a:lnTo>
                <a:lnTo>
                  <a:pt x="46" y="609"/>
                </a:lnTo>
                <a:lnTo>
                  <a:pt x="36" y="601"/>
                </a:lnTo>
                <a:lnTo>
                  <a:pt x="25" y="592"/>
                </a:lnTo>
                <a:lnTo>
                  <a:pt x="20" y="587"/>
                </a:lnTo>
                <a:lnTo>
                  <a:pt x="16" y="581"/>
                </a:lnTo>
                <a:lnTo>
                  <a:pt x="11" y="575"/>
                </a:lnTo>
                <a:lnTo>
                  <a:pt x="8" y="566"/>
                </a:lnTo>
                <a:lnTo>
                  <a:pt x="5" y="558"/>
                </a:lnTo>
                <a:lnTo>
                  <a:pt x="3" y="548"/>
                </a:lnTo>
                <a:lnTo>
                  <a:pt x="0" y="537"/>
                </a:lnTo>
                <a:lnTo>
                  <a:pt x="0" y="524"/>
                </a:lnTo>
                <a:lnTo>
                  <a:pt x="53" y="530"/>
                </a:lnTo>
                <a:lnTo>
                  <a:pt x="59" y="526"/>
                </a:lnTo>
                <a:lnTo>
                  <a:pt x="64" y="522"/>
                </a:lnTo>
                <a:lnTo>
                  <a:pt x="71" y="520"/>
                </a:lnTo>
                <a:lnTo>
                  <a:pt x="76" y="518"/>
                </a:lnTo>
                <a:lnTo>
                  <a:pt x="91" y="514"/>
                </a:lnTo>
                <a:lnTo>
                  <a:pt x="106" y="512"/>
                </a:lnTo>
                <a:lnTo>
                  <a:pt x="121" y="511"/>
                </a:lnTo>
                <a:lnTo>
                  <a:pt x="139" y="510"/>
                </a:lnTo>
                <a:lnTo>
                  <a:pt x="155" y="508"/>
                </a:lnTo>
                <a:lnTo>
                  <a:pt x="173" y="505"/>
                </a:lnTo>
                <a:lnTo>
                  <a:pt x="177" y="503"/>
                </a:lnTo>
                <a:lnTo>
                  <a:pt x="182" y="500"/>
                </a:lnTo>
                <a:lnTo>
                  <a:pt x="185" y="497"/>
                </a:lnTo>
                <a:lnTo>
                  <a:pt x="189" y="494"/>
                </a:lnTo>
                <a:lnTo>
                  <a:pt x="196" y="485"/>
                </a:lnTo>
                <a:lnTo>
                  <a:pt x="201" y="475"/>
                </a:lnTo>
                <a:lnTo>
                  <a:pt x="207" y="464"/>
                </a:lnTo>
                <a:lnTo>
                  <a:pt x="211" y="451"/>
                </a:lnTo>
                <a:lnTo>
                  <a:pt x="216" y="438"/>
                </a:lnTo>
                <a:lnTo>
                  <a:pt x="219" y="424"/>
                </a:lnTo>
                <a:lnTo>
                  <a:pt x="221" y="410"/>
                </a:lnTo>
                <a:lnTo>
                  <a:pt x="223" y="395"/>
                </a:lnTo>
                <a:lnTo>
                  <a:pt x="224" y="381"/>
                </a:lnTo>
                <a:lnTo>
                  <a:pt x="224" y="367"/>
                </a:lnTo>
                <a:lnTo>
                  <a:pt x="224" y="354"/>
                </a:lnTo>
                <a:lnTo>
                  <a:pt x="223" y="341"/>
                </a:lnTo>
                <a:lnTo>
                  <a:pt x="221" y="330"/>
                </a:lnTo>
                <a:lnTo>
                  <a:pt x="219" y="320"/>
                </a:lnTo>
                <a:lnTo>
                  <a:pt x="219" y="28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94" name="Freeform 546"/>
          <p:cNvSpPr>
            <a:spLocks/>
          </p:cNvSpPr>
          <p:nvPr>
            <p:custDataLst>
              <p:tags r:id="rId377"/>
            </p:custDataLst>
          </p:nvPr>
        </p:nvSpPr>
        <p:spPr bwMode="auto">
          <a:xfrm>
            <a:off x="5216525" y="2533650"/>
            <a:ext cx="300038" cy="260350"/>
          </a:xfrm>
          <a:custGeom>
            <a:avLst/>
            <a:gdLst>
              <a:gd name="T0" fmla="*/ 648 w 697"/>
              <a:gd name="T1" fmla="*/ 53 h 500"/>
              <a:gd name="T2" fmla="*/ 657 w 697"/>
              <a:gd name="T3" fmla="*/ 161 h 500"/>
              <a:gd name="T4" fmla="*/ 661 w 697"/>
              <a:gd name="T5" fmla="*/ 167 h 500"/>
              <a:gd name="T6" fmla="*/ 677 w 697"/>
              <a:gd name="T7" fmla="*/ 177 h 500"/>
              <a:gd name="T8" fmla="*/ 694 w 697"/>
              <a:gd name="T9" fmla="*/ 189 h 500"/>
              <a:gd name="T10" fmla="*/ 697 w 697"/>
              <a:gd name="T11" fmla="*/ 198 h 500"/>
              <a:gd name="T12" fmla="*/ 694 w 697"/>
              <a:gd name="T13" fmla="*/ 211 h 500"/>
              <a:gd name="T14" fmla="*/ 685 w 697"/>
              <a:gd name="T15" fmla="*/ 217 h 500"/>
              <a:gd name="T16" fmla="*/ 655 w 697"/>
              <a:gd name="T17" fmla="*/ 218 h 500"/>
              <a:gd name="T18" fmla="*/ 605 w 697"/>
              <a:gd name="T19" fmla="*/ 228 h 500"/>
              <a:gd name="T20" fmla="*/ 567 w 697"/>
              <a:gd name="T21" fmla="*/ 250 h 500"/>
              <a:gd name="T22" fmla="*/ 549 w 697"/>
              <a:gd name="T23" fmla="*/ 267 h 500"/>
              <a:gd name="T24" fmla="*/ 539 w 697"/>
              <a:gd name="T25" fmla="*/ 288 h 500"/>
              <a:gd name="T26" fmla="*/ 521 w 697"/>
              <a:gd name="T27" fmla="*/ 302 h 500"/>
              <a:gd name="T28" fmla="*/ 491 w 697"/>
              <a:gd name="T29" fmla="*/ 324 h 500"/>
              <a:gd name="T30" fmla="*/ 455 w 697"/>
              <a:gd name="T31" fmla="*/ 352 h 500"/>
              <a:gd name="T32" fmla="*/ 420 w 697"/>
              <a:gd name="T33" fmla="*/ 370 h 500"/>
              <a:gd name="T34" fmla="*/ 372 w 697"/>
              <a:gd name="T35" fmla="*/ 377 h 500"/>
              <a:gd name="T36" fmla="*/ 344 w 697"/>
              <a:gd name="T37" fmla="*/ 380 h 500"/>
              <a:gd name="T38" fmla="*/ 316 w 697"/>
              <a:gd name="T39" fmla="*/ 396 h 500"/>
              <a:gd name="T40" fmla="*/ 290 w 697"/>
              <a:gd name="T41" fmla="*/ 417 h 500"/>
              <a:gd name="T42" fmla="*/ 265 w 697"/>
              <a:gd name="T43" fmla="*/ 426 h 500"/>
              <a:gd name="T44" fmla="*/ 5 w 697"/>
              <a:gd name="T45" fmla="*/ 496 h 500"/>
              <a:gd name="T46" fmla="*/ 32 w 697"/>
              <a:gd name="T47" fmla="*/ 487 h 500"/>
              <a:gd name="T48" fmla="*/ 85 w 697"/>
              <a:gd name="T49" fmla="*/ 473 h 500"/>
              <a:gd name="T50" fmla="*/ 93 w 697"/>
              <a:gd name="T51" fmla="*/ 459 h 500"/>
              <a:gd name="T52" fmla="*/ 99 w 697"/>
              <a:gd name="T53" fmla="*/ 438 h 500"/>
              <a:gd name="T54" fmla="*/ 119 w 697"/>
              <a:gd name="T55" fmla="*/ 422 h 500"/>
              <a:gd name="T56" fmla="*/ 160 w 697"/>
              <a:gd name="T57" fmla="*/ 399 h 500"/>
              <a:gd name="T58" fmla="*/ 181 w 697"/>
              <a:gd name="T59" fmla="*/ 382 h 500"/>
              <a:gd name="T60" fmla="*/ 192 w 697"/>
              <a:gd name="T61" fmla="*/ 357 h 500"/>
              <a:gd name="T62" fmla="*/ 193 w 697"/>
              <a:gd name="T63" fmla="*/ 316 h 500"/>
              <a:gd name="T64" fmla="*/ 195 w 697"/>
              <a:gd name="T65" fmla="*/ 254 h 500"/>
              <a:gd name="T66" fmla="*/ 192 w 697"/>
              <a:gd name="T67" fmla="*/ 192 h 500"/>
              <a:gd name="T68" fmla="*/ 214 w 697"/>
              <a:gd name="T69" fmla="*/ 189 h 500"/>
              <a:gd name="T70" fmla="*/ 228 w 697"/>
              <a:gd name="T71" fmla="*/ 179 h 500"/>
              <a:gd name="T72" fmla="*/ 241 w 697"/>
              <a:gd name="T73" fmla="*/ 165 h 500"/>
              <a:gd name="T74" fmla="*/ 252 w 697"/>
              <a:gd name="T75" fmla="*/ 152 h 500"/>
              <a:gd name="T76" fmla="*/ 281 w 697"/>
              <a:gd name="T77" fmla="*/ 146 h 500"/>
              <a:gd name="T78" fmla="*/ 314 w 697"/>
              <a:gd name="T79" fmla="*/ 143 h 500"/>
              <a:gd name="T80" fmla="*/ 340 w 697"/>
              <a:gd name="T81" fmla="*/ 131 h 500"/>
              <a:gd name="T82" fmla="*/ 360 w 697"/>
              <a:gd name="T83" fmla="*/ 108 h 500"/>
              <a:gd name="T84" fmla="*/ 388 w 697"/>
              <a:gd name="T85" fmla="*/ 48 h 500"/>
              <a:gd name="T86" fmla="*/ 407 w 697"/>
              <a:gd name="T87" fmla="*/ 12 h 500"/>
              <a:gd name="T88" fmla="*/ 426 w 697"/>
              <a:gd name="T89" fmla="*/ 8 h 500"/>
              <a:gd name="T90" fmla="*/ 449 w 697"/>
              <a:gd name="T91" fmla="*/ 20 h 500"/>
              <a:gd name="T92" fmla="*/ 512 w 697"/>
              <a:gd name="T93" fmla="*/ 18 h 500"/>
              <a:gd name="T94" fmla="*/ 590 w 697"/>
              <a:gd name="T95" fmla="*/ 13 h 500"/>
              <a:gd name="T96" fmla="*/ 597 w 697"/>
              <a:gd name="T97" fmla="*/ 17 h 500"/>
              <a:gd name="T98" fmla="*/ 605 w 697"/>
              <a:gd name="T99" fmla="*/ 36 h 500"/>
              <a:gd name="T100" fmla="*/ 611 w 697"/>
              <a:gd name="T101" fmla="*/ 51 h 500"/>
              <a:gd name="T102" fmla="*/ 618 w 697"/>
              <a:gd name="T103" fmla="*/ 50 h 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697" h="500">
                <a:moveTo>
                  <a:pt x="631" y="50"/>
                </a:moveTo>
                <a:lnTo>
                  <a:pt x="635" y="51"/>
                </a:lnTo>
                <a:lnTo>
                  <a:pt x="648" y="53"/>
                </a:lnTo>
                <a:lnTo>
                  <a:pt x="659" y="55"/>
                </a:lnTo>
                <a:lnTo>
                  <a:pt x="664" y="56"/>
                </a:lnTo>
                <a:lnTo>
                  <a:pt x="657" y="161"/>
                </a:lnTo>
                <a:lnTo>
                  <a:pt x="657" y="163"/>
                </a:lnTo>
                <a:lnTo>
                  <a:pt x="659" y="165"/>
                </a:lnTo>
                <a:lnTo>
                  <a:pt x="661" y="167"/>
                </a:lnTo>
                <a:lnTo>
                  <a:pt x="664" y="169"/>
                </a:lnTo>
                <a:lnTo>
                  <a:pt x="669" y="173"/>
                </a:lnTo>
                <a:lnTo>
                  <a:pt x="677" y="177"/>
                </a:lnTo>
                <a:lnTo>
                  <a:pt x="685" y="181"/>
                </a:lnTo>
                <a:lnTo>
                  <a:pt x="691" y="185"/>
                </a:lnTo>
                <a:lnTo>
                  <a:pt x="694" y="189"/>
                </a:lnTo>
                <a:lnTo>
                  <a:pt x="696" y="192"/>
                </a:lnTo>
                <a:lnTo>
                  <a:pt x="697" y="195"/>
                </a:lnTo>
                <a:lnTo>
                  <a:pt x="697" y="198"/>
                </a:lnTo>
                <a:lnTo>
                  <a:pt x="697" y="203"/>
                </a:lnTo>
                <a:lnTo>
                  <a:pt x="696" y="208"/>
                </a:lnTo>
                <a:lnTo>
                  <a:pt x="694" y="211"/>
                </a:lnTo>
                <a:lnTo>
                  <a:pt x="691" y="214"/>
                </a:lnTo>
                <a:lnTo>
                  <a:pt x="688" y="216"/>
                </a:lnTo>
                <a:lnTo>
                  <a:pt x="685" y="217"/>
                </a:lnTo>
                <a:lnTo>
                  <a:pt x="680" y="218"/>
                </a:lnTo>
                <a:lnTo>
                  <a:pt x="676" y="219"/>
                </a:lnTo>
                <a:lnTo>
                  <a:pt x="655" y="218"/>
                </a:lnTo>
                <a:lnTo>
                  <a:pt x="631" y="216"/>
                </a:lnTo>
                <a:lnTo>
                  <a:pt x="619" y="221"/>
                </a:lnTo>
                <a:lnTo>
                  <a:pt x="605" y="228"/>
                </a:lnTo>
                <a:lnTo>
                  <a:pt x="589" y="235"/>
                </a:lnTo>
                <a:lnTo>
                  <a:pt x="574" y="245"/>
                </a:lnTo>
                <a:lnTo>
                  <a:pt x="567" y="250"/>
                </a:lnTo>
                <a:lnTo>
                  <a:pt x="560" y="256"/>
                </a:lnTo>
                <a:lnTo>
                  <a:pt x="554" y="261"/>
                </a:lnTo>
                <a:lnTo>
                  <a:pt x="549" y="267"/>
                </a:lnTo>
                <a:lnTo>
                  <a:pt x="544" y="274"/>
                </a:lnTo>
                <a:lnTo>
                  <a:pt x="541" y="281"/>
                </a:lnTo>
                <a:lnTo>
                  <a:pt x="539" y="288"/>
                </a:lnTo>
                <a:lnTo>
                  <a:pt x="538" y="296"/>
                </a:lnTo>
                <a:lnTo>
                  <a:pt x="529" y="299"/>
                </a:lnTo>
                <a:lnTo>
                  <a:pt x="521" y="302"/>
                </a:lnTo>
                <a:lnTo>
                  <a:pt x="514" y="306"/>
                </a:lnTo>
                <a:lnTo>
                  <a:pt x="506" y="312"/>
                </a:lnTo>
                <a:lnTo>
                  <a:pt x="491" y="324"/>
                </a:lnTo>
                <a:lnTo>
                  <a:pt x="475" y="339"/>
                </a:lnTo>
                <a:lnTo>
                  <a:pt x="465" y="346"/>
                </a:lnTo>
                <a:lnTo>
                  <a:pt x="455" y="352"/>
                </a:lnTo>
                <a:lnTo>
                  <a:pt x="445" y="360"/>
                </a:lnTo>
                <a:lnTo>
                  <a:pt x="433" y="365"/>
                </a:lnTo>
                <a:lnTo>
                  <a:pt x="420" y="370"/>
                </a:lnTo>
                <a:lnTo>
                  <a:pt x="406" y="373"/>
                </a:lnTo>
                <a:lnTo>
                  <a:pt x="389" y="376"/>
                </a:lnTo>
                <a:lnTo>
                  <a:pt x="372" y="377"/>
                </a:lnTo>
                <a:lnTo>
                  <a:pt x="361" y="377"/>
                </a:lnTo>
                <a:lnTo>
                  <a:pt x="352" y="378"/>
                </a:lnTo>
                <a:lnTo>
                  <a:pt x="344" y="380"/>
                </a:lnTo>
                <a:lnTo>
                  <a:pt x="337" y="382"/>
                </a:lnTo>
                <a:lnTo>
                  <a:pt x="326" y="389"/>
                </a:lnTo>
                <a:lnTo>
                  <a:pt x="316" y="396"/>
                </a:lnTo>
                <a:lnTo>
                  <a:pt x="306" y="404"/>
                </a:lnTo>
                <a:lnTo>
                  <a:pt x="296" y="413"/>
                </a:lnTo>
                <a:lnTo>
                  <a:pt x="290" y="417"/>
                </a:lnTo>
                <a:lnTo>
                  <a:pt x="283" y="420"/>
                </a:lnTo>
                <a:lnTo>
                  <a:pt x="274" y="423"/>
                </a:lnTo>
                <a:lnTo>
                  <a:pt x="265" y="426"/>
                </a:lnTo>
                <a:lnTo>
                  <a:pt x="272" y="494"/>
                </a:lnTo>
                <a:lnTo>
                  <a:pt x="0" y="500"/>
                </a:lnTo>
                <a:lnTo>
                  <a:pt x="5" y="496"/>
                </a:lnTo>
                <a:lnTo>
                  <a:pt x="13" y="492"/>
                </a:lnTo>
                <a:lnTo>
                  <a:pt x="22" y="490"/>
                </a:lnTo>
                <a:lnTo>
                  <a:pt x="32" y="487"/>
                </a:lnTo>
                <a:lnTo>
                  <a:pt x="55" y="483"/>
                </a:lnTo>
                <a:lnTo>
                  <a:pt x="80" y="475"/>
                </a:lnTo>
                <a:lnTo>
                  <a:pt x="85" y="473"/>
                </a:lnTo>
                <a:lnTo>
                  <a:pt x="90" y="469"/>
                </a:lnTo>
                <a:lnTo>
                  <a:pt x="92" y="465"/>
                </a:lnTo>
                <a:lnTo>
                  <a:pt x="93" y="459"/>
                </a:lnTo>
                <a:lnTo>
                  <a:pt x="93" y="451"/>
                </a:lnTo>
                <a:lnTo>
                  <a:pt x="93" y="444"/>
                </a:lnTo>
                <a:lnTo>
                  <a:pt x="99" y="438"/>
                </a:lnTo>
                <a:lnTo>
                  <a:pt x="104" y="432"/>
                </a:lnTo>
                <a:lnTo>
                  <a:pt x="112" y="427"/>
                </a:lnTo>
                <a:lnTo>
                  <a:pt x="119" y="422"/>
                </a:lnTo>
                <a:lnTo>
                  <a:pt x="136" y="414"/>
                </a:lnTo>
                <a:lnTo>
                  <a:pt x="152" y="404"/>
                </a:lnTo>
                <a:lnTo>
                  <a:pt x="160" y="399"/>
                </a:lnTo>
                <a:lnTo>
                  <a:pt x="168" y="394"/>
                </a:lnTo>
                <a:lnTo>
                  <a:pt x="174" y="388"/>
                </a:lnTo>
                <a:lnTo>
                  <a:pt x="181" y="382"/>
                </a:lnTo>
                <a:lnTo>
                  <a:pt x="185" y="375"/>
                </a:lnTo>
                <a:lnTo>
                  <a:pt x="189" y="366"/>
                </a:lnTo>
                <a:lnTo>
                  <a:pt x="192" y="357"/>
                </a:lnTo>
                <a:lnTo>
                  <a:pt x="192" y="345"/>
                </a:lnTo>
                <a:lnTo>
                  <a:pt x="193" y="332"/>
                </a:lnTo>
                <a:lnTo>
                  <a:pt x="193" y="316"/>
                </a:lnTo>
                <a:lnTo>
                  <a:pt x="194" y="296"/>
                </a:lnTo>
                <a:lnTo>
                  <a:pt x="195" y="275"/>
                </a:lnTo>
                <a:lnTo>
                  <a:pt x="195" y="254"/>
                </a:lnTo>
                <a:lnTo>
                  <a:pt x="195" y="232"/>
                </a:lnTo>
                <a:lnTo>
                  <a:pt x="194" y="211"/>
                </a:lnTo>
                <a:lnTo>
                  <a:pt x="192" y="192"/>
                </a:lnTo>
                <a:lnTo>
                  <a:pt x="201" y="192"/>
                </a:lnTo>
                <a:lnTo>
                  <a:pt x="207" y="190"/>
                </a:lnTo>
                <a:lnTo>
                  <a:pt x="214" y="189"/>
                </a:lnTo>
                <a:lnTo>
                  <a:pt x="219" y="185"/>
                </a:lnTo>
                <a:lnTo>
                  <a:pt x="224" y="182"/>
                </a:lnTo>
                <a:lnTo>
                  <a:pt x="228" y="179"/>
                </a:lnTo>
                <a:lnTo>
                  <a:pt x="232" y="176"/>
                </a:lnTo>
                <a:lnTo>
                  <a:pt x="236" y="172"/>
                </a:lnTo>
                <a:lnTo>
                  <a:pt x="241" y="165"/>
                </a:lnTo>
                <a:lnTo>
                  <a:pt x="247" y="158"/>
                </a:lnTo>
                <a:lnTo>
                  <a:pt x="249" y="155"/>
                </a:lnTo>
                <a:lnTo>
                  <a:pt x="252" y="152"/>
                </a:lnTo>
                <a:lnTo>
                  <a:pt x="256" y="150"/>
                </a:lnTo>
                <a:lnTo>
                  <a:pt x="259" y="149"/>
                </a:lnTo>
                <a:lnTo>
                  <a:pt x="281" y="146"/>
                </a:lnTo>
                <a:lnTo>
                  <a:pt x="297" y="145"/>
                </a:lnTo>
                <a:lnTo>
                  <a:pt x="306" y="144"/>
                </a:lnTo>
                <a:lnTo>
                  <a:pt x="314" y="143"/>
                </a:lnTo>
                <a:lnTo>
                  <a:pt x="323" y="140"/>
                </a:lnTo>
                <a:lnTo>
                  <a:pt x="331" y="137"/>
                </a:lnTo>
                <a:lnTo>
                  <a:pt x="340" y="131"/>
                </a:lnTo>
                <a:lnTo>
                  <a:pt x="348" y="124"/>
                </a:lnTo>
                <a:lnTo>
                  <a:pt x="354" y="116"/>
                </a:lnTo>
                <a:lnTo>
                  <a:pt x="360" y="108"/>
                </a:lnTo>
                <a:lnTo>
                  <a:pt x="371" y="89"/>
                </a:lnTo>
                <a:lnTo>
                  <a:pt x="380" y="68"/>
                </a:lnTo>
                <a:lnTo>
                  <a:pt x="388" y="48"/>
                </a:lnTo>
                <a:lnTo>
                  <a:pt x="397" y="29"/>
                </a:lnTo>
                <a:lnTo>
                  <a:pt x="402" y="21"/>
                </a:lnTo>
                <a:lnTo>
                  <a:pt x="407" y="12"/>
                </a:lnTo>
                <a:lnTo>
                  <a:pt x="413" y="6"/>
                </a:lnTo>
                <a:lnTo>
                  <a:pt x="418" y="0"/>
                </a:lnTo>
                <a:lnTo>
                  <a:pt x="426" y="8"/>
                </a:lnTo>
                <a:lnTo>
                  <a:pt x="433" y="14"/>
                </a:lnTo>
                <a:lnTo>
                  <a:pt x="441" y="17"/>
                </a:lnTo>
                <a:lnTo>
                  <a:pt x="449" y="20"/>
                </a:lnTo>
                <a:lnTo>
                  <a:pt x="465" y="20"/>
                </a:lnTo>
                <a:lnTo>
                  <a:pt x="485" y="20"/>
                </a:lnTo>
                <a:lnTo>
                  <a:pt x="512" y="18"/>
                </a:lnTo>
                <a:lnTo>
                  <a:pt x="543" y="16"/>
                </a:lnTo>
                <a:lnTo>
                  <a:pt x="571" y="14"/>
                </a:lnTo>
                <a:lnTo>
                  <a:pt x="590" y="13"/>
                </a:lnTo>
                <a:lnTo>
                  <a:pt x="594" y="13"/>
                </a:lnTo>
                <a:lnTo>
                  <a:pt x="595" y="15"/>
                </a:lnTo>
                <a:lnTo>
                  <a:pt x="597" y="17"/>
                </a:lnTo>
                <a:lnTo>
                  <a:pt x="599" y="21"/>
                </a:lnTo>
                <a:lnTo>
                  <a:pt x="601" y="28"/>
                </a:lnTo>
                <a:lnTo>
                  <a:pt x="605" y="36"/>
                </a:lnTo>
                <a:lnTo>
                  <a:pt x="607" y="44"/>
                </a:lnTo>
                <a:lnTo>
                  <a:pt x="609" y="49"/>
                </a:lnTo>
                <a:lnTo>
                  <a:pt x="611" y="51"/>
                </a:lnTo>
                <a:lnTo>
                  <a:pt x="613" y="52"/>
                </a:lnTo>
                <a:lnTo>
                  <a:pt x="615" y="51"/>
                </a:lnTo>
                <a:lnTo>
                  <a:pt x="618" y="50"/>
                </a:lnTo>
                <a:lnTo>
                  <a:pt x="631" y="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95" name="Freeform 547"/>
          <p:cNvSpPr>
            <a:spLocks/>
          </p:cNvSpPr>
          <p:nvPr>
            <p:custDataLst>
              <p:tags r:id="rId378"/>
            </p:custDataLst>
          </p:nvPr>
        </p:nvSpPr>
        <p:spPr bwMode="auto">
          <a:xfrm>
            <a:off x="5916614" y="1463676"/>
            <a:ext cx="236537" cy="92075"/>
          </a:xfrm>
          <a:custGeom>
            <a:avLst/>
            <a:gdLst>
              <a:gd name="T0" fmla="*/ 74 w 546"/>
              <a:gd name="T1" fmla="*/ 19 h 173"/>
              <a:gd name="T2" fmla="*/ 94 w 546"/>
              <a:gd name="T3" fmla="*/ 34 h 173"/>
              <a:gd name="T4" fmla="*/ 110 w 546"/>
              <a:gd name="T5" fmla="*/ 27 h 173"/>
              <a:gd name="T6" fmla="*/ 132 w 546"/>
              <a:gd name="T7" fmla="*/ 27 h 173"/>
              <a:gd name="T8" fmla="*/ 161 w 546"/>
              <a:gd name="T9" fmla="*/ 44 h 173"/>
              <a:gd name="T10" fmla="*/ 209 w 546"/>
              <a:gd name="T11" fmla="*/ 19 h 173"/>
              <a:gd name="T12" fmla="*/ 243 w 546"/>
              <a:gd name="T13" fmla="*/ 19 h 173"/>
              <a:gd name="T14" fmla="*/ 260 w 546"/>
              <a:gd name="T15" fmla="*/ 16 h 173"/>
              <a:gd name="T16" fmla="*/ 269 w 546"/>
              <a:gd name="T17" fmla="*/ 14 h 173"/>
              <a:gd name="T18" fmla="*/ 279 w 546"/>
              <a:gd name="T19" fmla="*/ 11 h 173"/>
              <a:gd name="T20" fmla="*/ 286 w 546"/>
              <a:gd name="T21" fmla="*/ 3 h 173"/>
              <a:gd name="T22" fmla="*/ 321 w 546"/>
              <a:gd name="T23" fmla="*/ 5 h 173"/>
              <a:gd name="T24" fmla="*/ 333 w 546"/>
              <a:gd name="T25" fmla="*/ 12 h 173"/>
              <a:gd name="T26" fmla="*/ 348 w 546"/>
              <a:gd name="T27" fmla="*/ 7 h 173"/>
              <a:gd name="T28" fmla="*/ 353 w 546"/>
              <a:gd name="T29" fmla="*/ 0 h 173"/>
              <a:gd name="T30" fmla="*/ 367 w 546"/>
              <a:gd name="T31" fmla="*/ 7 h 173"/>
              <a:gd name="T32" fmla="*/ 389 w 546"/>
              <a:gd name="T33" fmla="*/ 7 h 173"/>
              <a:gd name="T34" fmla="*/ 436 w 546"/>
              <a:gd name="T35" fmla="*/ 1 h 173"/>
              <a:gd name="T36" fmla="*/ 482 w 546"/>
              <a:gd name="T37" fmla="*/ 6 h 173"/>
              <a:gd name="T38" fmla="*/ 528 w 546"/>
              <a:gd name="T39" fmla="*/ 12 h 173"/>
              <a:gd name="T40" fmla="*/ 545 w 546"/>
              <a:gd name="T41" fmla="*/ 49 h 173"/>
              <a:gd name="T42" fmla="*/ 537 w 546"/>
              <a:gd name="T43" fmla="*/ 60 h 173"/>
              <a:gd name="T44" fmla="*/ 513 w 546"/>
              <a:gd name="T45" fmla="*/ 62 h 173"/>
              <a:gd name="T46" fmla="*/ 483 w 546"/>
              <a:gd name="T47" fmla="*/ 54 h 173"/>
              <a:gd name="T48" fmla="*/ 413 w 546"/>
              <a:gd name="T49" fmla="*/ 44 h 173"/>
              <a:gd name="T50" fmla="*/ 438 w 546"/>
              <a:gd name="T51" fmla="*/ 81 h 173"/>
              <a:gd name="T52" fmla="*/ 471 w 546"/>
              <a:gd name="T53" fmla="*/ 102 h 173"/>
              <a:gd name="T54" fmla="*/ 493 w 546"/>
              <a:gd name="T55" fmla="*/ 119 h 173"/>
              <a:gd name="T56" fmla="*/ 475 w 546"/>
              <a:gd name="T57" fmla="*/ 136 h 173"/>
              <a:gd name="T58" fmla="*/ 449 w 546"/>
              <a:gd name="T59" fmla="*/ 142 h 173"/>
              <a:gd name="T60" fmla="*/ 426 w 546"/>
              <a:gd name="T61" fmla="*/ 141 h 173"/>
              <a:gd name="T62" fmla="*/ 412 w 546"/>
              <a:gd name="T63" fmla="*/ 134 h 173"/>
              <a:gd name="T64" fmla="*/ 399 w 546"/>
              <a:gd name="T65" fmla="*/ 130 h 173"/>
              <a:gd name="T66" fmla="*/ 385 w 546"/>
              <a:gd name="T67" fmla="*/ 121 h 173"/>
              <a:gd name="T68" fmla="*/ 375 w 546"/>
              <a:gd name="T69" fmla="*/ 104 h 173"/>
              <a:gd name="T70" fmla="*/ 365 w 546"/>
              <a:gd name="T71" fmla="*/ 92 h 173"/>
              <a:gd name="T72" fmla="*/ 344 w 546"/>
              <a:gd name="T73" fmla="*/ 84 h 173"/>
              <a:gd name="T74" fmla="*/ 325 w 546"/>
              <a:gd name="T75" fmla="*/ 76 h 173"/>
              <a:gd name="T76" fmla="*/ 303 w 546"/>
              <a:gd name="T77" fmla="*/ 87 h 173"/>
              <a:gd name="T78" fmla="*/ 258 w 546"/>
              <a:gd name="T79" fmla="*/ 134 h 173"/>
              <a:gd name="T80" fmla="*/ 236 w 546"/>
              <a:gd name="T81" fmla="*/ 163 h 173"/>
              <a:gd name="T82" fmla="*/ 220 w 546"/>
              <a:gd name="T83" fmla="*/ 172 h 173"/>
              <a:gd name="T84" fmla="*/ 188 w 546"/>
              <a:gd name="T85" fmla="*/ 167 h 173"/>
              <a:gd name="T86" fmla="*/ 165 w 546"/>
              <a:gd name="T87" fmla="*/ 155 h 173"/>
              <a:gd name="T88" fmla="*/ 113 w 546"/>
              <a:gd name="T89" fmla="*/ 105 h 173"/>
              <a:gd name="T90" fmla="*/ 95 w 546"/>
              <a:gd name="T91" fmla="*/ 91 h 173"/>
              <a:gd name="T92" fmla="*/ 60 w 546"/>
              <a:gd name="T93" fmla="*/ 76 h 173"/>
              <a:gd name="T94" fmla="*/ 16 w 546"/>
              <a:gd name="T95" fmla="*/ 58 h 173"/>
              <a:gd name="T96" fmla="*/ 11 w 546"/>
              <a:gd name="T97" fmla="*/ 34 h 173"/>
              <a:gd name="T98" fmla="*/ 28 w 546"/>
              <a:gd name="T99" fmla="*/ 19 h 173"/>
              <a:gd name="T100" fmla="*/ 47 w 546"/>
              <a:gd name="T101" fmla="*/ 12 h 1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96" name="Freeform 548"/>
          <p:cNvSpPr>
            <a:spLocks/>
          </p:cNvSpPr>
          <p:nvPr>
            <p:custDataLst>
              <p:tags r:id="rId379"/>
            </p:custDataLst>
          </p:nvPr>
        </p:nvSpPr>
        <p:spPr bwMode="auto">
          <a:xfrm>
            <a:off x="6427788" y="1447801"/>
            <a:ext cx="107950" cy="60325"/>
          </a:xfrm>
          <a:custGeom>
            <a:avLst/>
            <a:gdLst>
              <a:gd name="T0" fmla="*/ 27 w 246"/>
              <a:gd name="T1" fmla="*/ 36 h 42"/>
              <a:gd name="T2" fmla="*/ 36 w 246"/>
              <a:gd name="T3" fmla="*/ 36 h 42"/>
              <a:gd name="T4" fmla="*/ 45 w 246"/>
              <a:gd name="T5" fmla="*/ 35 h 42"/>
              <a:gd name="T6" fmla="*/ 53 w 246"/>
              <a:gd name="T7" fmla="*/ 33 h 42"/>
              <a:gd name="T8" fmla="*/ 59 w 246"/>
              <a:gd name="T9" fmla="*/ 31 h 42"/>
              <a:gd name="T10" fmla="*/ 66 w 246"/>
              <a:gd name="T11" fmla="*/ 30 h 42"/>
              <a:gd name="T12" fmla="*/ 72 w 246"/>
              <a:gd name="T13" fmla="*/ 29 h 42"/>
              <a:gd name="T14" fmla="*/ 80 w 246"/>
              <a:gd name="T15" fmla="*/ 29 h 42"/>
              <a:gd name="T16" fmla="*/ 87 w 246"/>
              <a:gd name="T17" fmla="*/ 30 h 42"/>
              <a:gd name="T18" fmla="*/ 87 w 246"/>
              <a:gd name="T19" fmla="*/ 42 h 42"/>
              <a:gd name="T20" fmla="*/ 154 w 246"/>
              <a:gd name="T21" fmla="*/ 42 h 42"/>
              <a:gd name="T22" fmla="*/ 154 w 246"/>
              <a:gd name="T23" fmla="*/ 39 h 42"/>
              <a:gd name="T24" fmla="*/ 156 w 246"/>
              <a:gd name="T25" fmla="*/ 36 h 42"/>
              <a:gd name="T26" fmla="*/ 159 w 246"/>
              <a:gd name="T27" fmla="*/ 33 h 42"/>
              <a:gd name="T28" fmla="*/ 163 w 246"/>
              <a:gd name="T29" fmla="*/ 31 h 42"/>
              <a:gd name="T30" fmla="*/ 175 w 246"/>
              <a:gd name="T31" fmla="*/ 26 h 42"/>
              <a:gd name="T32" fmla="*/ 190 w 246"/>
              <a:gd name="T33" fmla="*/ 23 h 42"/>
              <a:gd name="T34" fmla="*/ 221 w 246"/>
              <a:gd name="T35" fmla="*/ 17 h 42"/>
              <a:gd name="T36" fmla="*/ 246 w 246"/>
              <a:gd name="T37" fmla="*/ 12 h 42"/>
              <a:gd name="T38" fmla="*/ 212 w 246"/>
              <a:gd name="T39" fmla="*/ 13 h 42"/>
              <a:gd name="T40" fmla="*/ 186 w 246"/>
              <a:gd name="T41" fmla="*/ 14 h 42"/>
              <a:gd name="T42" fmla="*/ 178 w 246"/>
              <a:gd name="T43" fmla="*/ 15 h 42"/>
              <a:gd name="T44" fmla="*/ 171 w 246"/>
              <a:gd name="T45" fmla="*/ 15 h 42"/>
              <a:gd name="T46" fmla="*/ 168 w 246"/>
              <a:gd name="T47" fmla="*/ 14 h 42"/>
              <a:gd name="T48" fmla="*/ 167 w 246"/>
              <a:gd name="T49" fmla="*/ 12 h 42"/>
              <a:gd name="T50" fmla="*/ 159 w 246"/>
              <a:gd name="T51" fmla="*/ 16 h 42"/>
              <a:gd name="T52" fmla="*/ 152 w 246"/>
              <a:gd name="T53" fmla="*/ 17 h 42"/>
              <a:gd name="T54" fmla="*/ 147 w 246"/>
              <a:gd name="T55" fmla="*/ 17 h 42"/>
              <a:gd name="T56" fmla="*/ 141 w 246"/>
              <a:gd name="T57" fmla="*/ 15 h 42"/>
              <a:gd name="T58" fmla="*/ 137 w 246"/>
              <a:gd name="T59" fmla="*/ 12 h 42"/>
              <a:gd name="T60" fmla="*/ 133 w 246"/>
              <a:gd name="T61" fmla="*/ 9 h 42"/>
              <a:gd name="T62" fmla="*/ 129 w 246"/>
              <a:gd name="T63" fmla="*/ 5 h 42"/>
              <a:gd name="T64" fmla="*/ 126 w 246"/>
              <a:gd name="T65" fmla="*/ 0 h 42"/>
              <a:gd name="T66" fmla="*/ 121 w 246"/>
              <a:gd name="T67" fmla="*/ 2 h 42"/>
              <a:gd name="T68" fmla="*/ 113 w 246"/>
              <a:gd name="T69" fmla="*/ 4 h 42"/>
              <a:gd name="T70" fmla="*/ 103 w 246"/>
              <a:gd name="T71" fmla="*/ 5 h 42"/>
              <a:gd name="T72" fmla="*/ 93 w 246"/>
              <a:gd name="T73" fmla="*/ 5 h 42"/>
              <a:gd name="T74" fmla="*/ 74 w 246"/>
              <a:gd name="T75" fmla="*/ 6 h 42"/>
              <a:gd name="T76" fmla="*/ 60 w 246"/>
              <a:gd name="T77" fmla="*/ 6 h 42"/>
              <a:gd name="T78" fmla="*/ 58 w 246"/>
              <a:gd name="T79" fmla="*/ 9 h 42"/>
              <a:gd name="T80" fmla="*/ 56 w 246"/>
              <a:gd name="T81" fmla="*/ 12 h 42"/>
              <a:gd name="T82" fmla="*/ 54 w 246"/>
              <a:gd name="T83" fmla="*/ 15 h 42"/>
              <a:gd name="T84" fmla="*/ 50 w 246"/>
              <a:gd name="T85" fmla="*/ 17 h 42"/>
              <a:gd name="T86" fmla="*/ 42 w 246"/>
              <a:gd name="T87" fmla="*/ 20 h 42"/>
              <a:gd name="T88" fmla="*/ 33 w 246"/>
              <a:gd name="T89" fmla="*/ 22 h 42"/>
              <a:gd name="T90" fmla="*/ 14 w 246"/>
              <a:gd name="T91" fmla="*/ 24 h 42"/>
              <a:gd name="T92" fmla="*/ 0 w 246"/>
              <a:gd name="T93" fmla="*/ 24 h 42"/>
              <a:gd name="T94" fmla="*/ 1 w 246"/>
              <a:gd name="T95" fmla="*/ 27 h 42"/>
              <a:gd name="T96" fmla="*/ 3 w 246"/>
              <a:gd name="T97" fmla="*/ 29 h 42"/>
              <a:gd name="T98" fmla="*/ 5 w 246"/>
              <a:gd name="T99" fmla="*/ 31 h 42"/>
              <a:gd name="T100" fmla="*/ 9 w 246"/>
              <a:gd name="T101" fmla="*/ 33 h 42"/>
              <a:gd name="T102" fmla="*/ 17 w 246"/>
              <a:gd name="T103" fmla="*/ 35 h 42"/>
              <a:gd name="T104" fmla="*/ 27 w 246"/>
              <a:gd name="T105" fmla="*/ 36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97" name="Freeform 549"/>
          <p:cNvSpPr>
            <a:spLocks/>
          </p:cNvSpPr>
          <p:nvPr>
            <p:custDataLst>
              <p:tags r:id="rId380"/>
            </p:custDataLst>
          </p:nvPr>
        </p:nvSpPr>
        <p:spPr bwMode="auto">
          <a:xfrm>
            <a:off x="6570663" y="1430338"/>
            <a:ext cx="63500" cy="57150"/>
          </a:xfrm>
          <a:custGeom>
            <a:avLst/>
            <a:gdLst>
              <a:gd name="T0" fmla="*/ 103 w 149"/>
              <a:gd name="T1" fmla="*/ 0 h 61"/>
              <a:gd name="T2" fmla="*/ 118 w 149"/>
              <a:gd name="T3" fmla="*/ 1 h 61"/>
              <a:gd name="T4" fmla="*/ 134 w 149"/>
              <a:gd name="T5" fmla="*/ 3 h 61"/>
              <a:gd name="T6" fmla="*/ 145 w 149"/>
              <a:gd name="T7" fmla="*/ 5 h 61"/>
              <a:gd name="T8" fmla="*/ 149 w 149"/>
              <a:gd name="T9" fmla="*/ 6 h 61"/>
              <a:gd name="T10" fmla="*/ 149 w 149"/>
              <a:gd name="T11" fmla="*/ 8 h 61"/>
              <a:gd name="T12" fmla="*/ 147 w 149"/>
              <a:gd name="T13" fmla="*/ 10 h 61"/>
              <a:gd name="T14" fmla="*/ 145 w 149"/>
              <a:gd name="T15" fmla="*/ 12 h 61"/>
              <a:gd name="T16" fmla="*/ 141 w 149"/>
              <a:gd name="T17" fmla="*/ 13 h 61"/>
              <a:gd name="T18" fmla="*/ 137 w 149"/>
              <a:gd name="T19" fmla="*/ 14 h 61"/>
              <a:gd name="T20" fmla="*/ 132 w 149"/>
              <a:gd name="T21" fmla="*/ 14 h 61"/>
              <a:gd name="T22" fmla="*/ 127 w 149"/>
              <a:gd name="T23" fmla="*/ 14 h 61"/>
              <a:gd name="T24" fmla="*/ 123 w 149"/>
              <a:gd name="T25" fmla="*/ 12 h 61"/>
              <a:gd name="T26" fmla="*/ 123 w 149"/>
              <a:gd name="T27" fmla="*/ 23 h 61"/>
              <a:gd name="T28" fmla="*/ 123 w 149"/>
              <a:gd name="T29" fmla="*/ 33 h 61"/>
              <a:gd name="T30" fmla="*/ 123 w 149"/>
              <a:gd name="T31" fmla="*/ 41 h 61"/>
              <a:gd name="T32" fmla="*/ 123 w 149"/>
              <a:gd name="T33" fmla="*/ 49 h 61"/>
              <a:gd name="T34" fmla="*/ 116 w 149"/>
              <a:gd name="T35" fmla="*/ 50 h 61"/>
              <a:gd name="T36" fmla="*/ 109 w 149"/>
              <a:gd name="T37" fmla="*/ 51 h 61"/>
              <a:gd name="T38" fmla="*/ 104 w 149"/>
              <a:gd name="T39" fmla="*/ 53 h 61"/>
              <a:gd name="T40" fmla="*/ 100 w 149"/>
              <a:gd name="T41" fmla="*/ 55 h 61"/>
              <a:gd name="T42" fmla="*/ 94 w 149"/>
              <a:gd name="T43" fmla="*/ 57 h 61"/>
              <a:gd name="T44" fmla="*/ 89 w 149"/>
              <a:gd name="T45" fmla="*/ 59 h 61"/>
              <a:gd name="T46" fmla="*/ 83 w 149"/>
              <a:gd name="T47" fmla="*/ 61 h 61"/>
              <a:gd name="T48" fmla="*/ 76 w 149"/>
              <a:gd name="T49" fmla="*/ 61 h 61"/>
              <a:gd name="T50" fmla="*/ 67 w 149"/>
              <a:gd name="T51" fmla="*/ 60 h 61"/>
              <a:gd name="T52" fmla="*/ 53 w 149"/>
              <a:gd name="T53" fmla="*/ 57 h 61"/>
              <a:gd name="T54" fmla="*/ 39 w 149"/>
              <a:gd name="T55" fmla="*/ 54 h 61"/>
              <a:gd name="T56" fmla="*/ 25 w 149"/>
              <a:gd name="T57" fmla="*/ 49 h 61"/>
              <a:gd name="T58" fmla="*/ 12 w 149"/>
              <a:gd name="T59" fmla="*/ 45 h 61"/>
              <a:gd name="T60" fmla="*/ 3 w 149"/>
              <a:gd name="T61" fmla="*/ 41 h 61"/>
              <a:gd name="T62" fmla="*/ 1 w 149"/>
              <a:gd name="T63" fmla="*/ 39 h 61"/>
              <a:gd name="T64" fmla="*/ 0 w 149"/>
              <a:gd name="T65" fmla="*/ 38 h 61"/>
              <a:gd name="T66" fmla="*/ 0 w 149"/>
              <a:gd name="T67" fmla="*/ 37 h 61"/>
              <a:gd name="T68" fmla="*/ 3 w 149"/>
              <a:gd name="T69" fmla="*/ 37 h 61"/>
              <a:gd name="T70" fmla="*/ 19 w 149"/>
              <a:gd name="T71" fmla="*/ 36 h 61"/>
              <a:gd name="T72" fmla="*/ 35 w 149"/>
              <a:gd name="T73" fmla="*/ 35 h 61"/>
              <a:gd name="T74" fmla="*/ 48 w 149"/>
              <a:gd name="T75" fmla="*/ 32 h 61"/>
              <a:gd name="T76" fmla="*/ 60 w 149"/>
              <a:gd name="T77" fmla="*/ 27 h 61"/>
              <a:gd name="T78" fmla="*/ 72 w 149"/>
              <a:gd name="T79" fmla="*/ 22 h 61"/>
              <a:gd name="T80" fmla="*/ 82 w 149"/>
              <a:gd name="T81" fmla="*/ 16 h 61"/>
              <a:gd name="T82" fmla="*/ 93 w 149"/>
              <a:gd name="T83" fmla="*/ 8 h 61"/>
              <a:gd name="T84" fmla="*/ 103 w 149"/>
              <a:gd name="T85" fmla="*/ 0 h 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98" name="Freeform 550"/>
          <p:cNvSpPr>
            <a:spLocks/>
          </p:cNvSpPr>
          <p:nvPr>
            <p:custDataLst>
              <p:tags r:id="rId381"/>
            </p:custDataLst>
          </p:nvPr>
        </p:nvSpPr>
        <p:spPr bwMode="auto">
          <a:xfrm>
            <a:off x="6607176" y="1438275"/>
            <a:ext cx="130175" cy="57150"/>
          </a:xfrm>
          <a:custGeom>
            <a:avLst/>
            <a:gdLst>
              <a:gd name="T0" fmla="*/ 133 w 299"/>
              <a:gd name="T1" fmla="*/ 72 h 74"/>
              <a:gd name="T2" fmla="*/ 154 w 299"/>
              <a:gd name="T3" fmla="*/ 65 h 74"/>
              <a:gd name="T4" fmla="*/ 178 w 299"/>
              <a:gd name="T5" fmla="*/ 54 h 74"/>
              <a:gd name="T6" fmla="*/ 199 w 299"/>
              <a:gd name="T7" fmla="*/ 42 h 74"/>
              <a:gd name="T8" fmla="*/ 207 w 299"/>
              <a:gd name="T9" fmla="*/ 40 h 74"/>
              <a:gd name="T10" fmla="*/ 211 w 299"/>
              <a:gd name="T11" fmla="*/ 46 h 74"/>
              <a:gd name="T12" fmla="*/ 220 w 299"/>
              <a:gd name="T13" fmla="*/ 51 h 74"/>
              <a:gd name="T14" fmla="*/ 243 w 299"/>
              <a:gd name="T15" fmla="*/ 55 h 74"/>
              <a:gd name="T16" fmla="*/ 269 w 299"/>
              <a:gd name="T17" fmla="*/ 55 h 74"/>
              <a:gd name="T18" fmla="*/ 286 w 299"/>
              <a:gd name="T19" fmla="*/ 55 h 74"/>
              <a:gd name="T20" fmla="*/ 293 w 299"/>
              <a:gd name="T21" fmla="*/ 46 h 74"/>
              <a:gd name="T22" fmla="*/ 298 w 299"/>
              <a:gd name="T23" fmla="*/ 31 h 74"/>
              <a:gd name="T24" fmla="*/ 279 w 299"/>
              <a:gd name="T25" fmla="*/ 25 h 74"/>
              <a:gd name="T26" fmla="*/ 244 w 299"/>
              <a:gd name="T27" fmla="*/ 25 h 74"/>
              <a:gd name="T28" fmla="*/ 225 w 299"/>
              <a:gd name="T29" fmla="*/ 25 h 74"/>
              <a:gd name="T30" fmla="*/ 214 w 299"/>
              <a:gd name="T31" fmla="*/ 27 h 74"/>
              <a:gd name="T32" fmla="*/ 204 w 299"/>
              <a:gd name="T33" fmla="*/ 33 h 74"/>
              <a:gd name="T34" fmla="*/ 172 w 299"/>
              <a:gd name="T35" fmla="*/ 37 h 74"/>
              <a:gd name="T36" fmla="*/ 176 w 299"/>
              <a:gd name="T37" fmla="*/ 28 h 74"/>
              <a:gd name="T38" fmla="*/ 180 w 299"/>
              <a:gd name="T39" fmla="*/ 21 h 74"/>
              <a:gd name="T40" fmla="*/ 194 w 299"/>
              <a:gd name="T41" fmla="*/ 13 h 74"/>
              <a:gd name="T42" fmla="*/ 210 w 299"/>
              <a:gd name="T43" fmla="*/ 9 h 74"/>
              <a:gd name="T44" fmla="*/ 225 w 299"/>
              <a:gd name="T45" fmla="*/ 0 h 74"/>
              <a:gd name="T46" fmla="*/ 185 w 299"/>
              <a:gd name="T47" fmla="*/ 3 h 74"/>
              <a:gd name="T48" fmla="*/ 157 w 299"/>
              <a:gd name="T49" fmla="*/ 11 h 74"/>
              <a:gd name="T50" fmla="*/ 134 w 299"/>
              <a:gd name="T51" fmla="*/ 25 h 74"/>
              <a:gd name="T52" fmla="*/ 114 w 299"/>
              <a:gd name="T53" fmla="*/ 40 h 74"/>
              <a:gd name="T54" fmla="*/ 100 w 299"/>
              <a:gd name="T55" fmla="*/ 53 h 74"/>
              <a:gd name="T56" fmla="*/ 87 w 299"/>
              <a:gd name="T57" fmla="*/ 59 h 74"/>
              <a:gd name="T58" fmla="*/ 64 w 299"/>
              <a:gd name="T59" fmla="*/ 63 h 74"/>
              <a:gd name="T60" fmla="*/ 32 w 299"/>
              <a:gd name="T61" fmla="*/ 64 h 74"/>
              <a:gd name="T62" fmla="*/ 12 w 299"/>
              <a:gd name="T63" fmla="*/ 67 h 74"/>
              <a:gd name="T64" fmla="*/ 2 w 299"/>
              <a:gd name="T65" fmla="*/ 70 h 74"/>
              <a:gd name="T66" fmla="*/ 39 w 299"/>
              <a:gd name="T67" fmla="*/ 74 h 74"/>
              <a:gd name="T68" fmla="*/ 102 w 299"/>
              <a:gd name="T69" fmla="*/ 74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446212" y="430871"/>
            <a:ext cx="10047288" cy="4585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54">
              <a:lnSpc>
                <a:spcPct val="85000"/>
              </a:lnSpc>
              <a:spcBef>
                <a:spcPct val="0"/>
              </a:spcBef>
            </a:pPr>
            <a:r>
              <a:rPr lang="en-US" sz="2800" spc="-51" dirty="0">
                <a:solidFill>
                  <a:srgbClr val="000000">
                    <a:lumMod val="75000"/>
                    <a:lumOff val="25000"/>
                  </a:srgbClr>
                </a:solidFill>
                <a:ea typeface="+mj-ea"/>
                <a:cs typeface="+mj-cs"/>
              </a:rPr>
              <a:t>REGIONAL FOCUS – </a:t>
            </a:r>
            <a:r>
              <a:rPr lang="en-US" sz="2800" spc="-51" dirty="0" smtClean="0">
                <a:solidFill>
                  <a:srgbClr val="000000">
                    <a:lumMod val="75000"/>
                    <a:lumOff val="25000"/>
                  </a:srgbClr>
                </a:solidFill>
                <a:ea typeface="+mj-ea"/>
                <a:cs typeface="+mj-cs"/>
              </a:rPr>
              <a:t>REST OF WORLD</a:t>
            </a:r>
            <a:endParaRPr lang="en-US" sz="2800" spc="-51" dirty="0">
              <a:solidFill>
                <a:srgbClr val="000000">
                  <a:lumMod val="75000"/>
                  <a:lumOff val="25000"/>
                </a:srgbClr>
              </a:solidFill>
              <a:ea typeface="+mj-ea"/>
              <a:cs typeface="+mj-cs"/>
            </a:endParaRPr>
          </a:p>
        </p:txBody>
      </p:sp>
      <p:pic>
        <p:nvPicPr>
          <p:cNvPr id="552" name="Picture 551"/>
          <p:cNvPicPr>
            <a:picLocks noChangeAspect="1"/>
          </p:cNvPicPr>
          <p:nvPr/>
        </p:nvPicPr>
        <p:blipFill>
          <a:blip r:embed="rId384"/>
          <a:stretch>
            <a:fillRect/>
          </a:stretch>
        </p:blipFill>
        <p:spPr>
          <a:xfrm>
            <a:off x="10248244" y="114744"/>
            <a:ext cx="649228" cy="879358"/>
          </a:xfrm>
          <a:prstGeom prst="rect">
            <a:avLst/>
          </a:prstGeom>
        </p:spPr>
      </p:pic>
      <p:cxnSp>
        <p:nvCxnSpPr>
          <p:cNvPr id="6" name="Straight Connector 5"/>
          <p:cNvCxnSpPr/>
          <p:nvPr/>
        </p:nvCxnSpPr>
        <p:spPr>
          <a:xfrm>
            <a:off x="876300" y="994102"/>
            <a:ext cx="10756900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/>
          <p:cNvSpPr/>
          <p:nvPr/>
        </p:nvSpPr>
        <p:spPr>
          <a:xfrm>
            <a:off x="0" y="6312259"/>
            <a:ext cx="12192000" cy="545741"/>
          </a:xfrm>
          <a:prstGeom prst="rect">
            <a:avLst/>
          </a:prstGeom>
          <a:solidFill>
            <a:srgbClr val="13351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6299198"/>
            <a:ext cx="12192000" cy="51523"/>
          </a:xfrm>
          <a:prstGeom prst="rect">
            <a:avLst/>
          </a:prstGeom>
          <a:solidFill>
            <a:srgbClr val="29713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865563" y="2229228"/>
            <a:ext cx="189230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Caribbean region- off grid power FC</a:t>
            </a:r>
          </a:p>
        </p:txBody>
      </p:sp>
      <p:sp>
        <p:nvSpPr>
          <p:cNvPr id="564" name="TextBox 563"/>
          <p:cNvSpPr txBox="1"/>
          <p:nvPr/>
        </p:nvSpPr>
        <p:spPr>
          <a:xfrm>
            <a:off x="5401451" y="4896532"/>
            <a:ext cx="43013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000000">
                    <a:lumMod val="75000"/>
                    <a:lumOff val="25000"/>
                  </a:srgbClr>
                </a:solidFill>
              </a:rPr>
              <a:t>South African region- telecom backup &amp; portable FC </a:t>
            </a:r>
          </a:p>
        </p:txBody>
      </p:sp>
      <p:sp>
        <p:nvSpPr>
          <p:cNvPr id="14" name="Rectangle 13"/>
          <p:cNvSpPr/>
          <p:nvPr/>
        </p:nvSpPr>
        <p:spPr>
          <a:xfrm>
            <a:off x="4086443" y="3244334"/>
            <a:ext cx="386099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0000">
                    <a:lumMod val="75000"/>
                    <a:lumOff val="25000"/>
                  </a:srgbClr>
                </a:solidFill>
              </a:rPr>
              <a:t>Caribbean region- off grid power FC</a:t>
            </a:r>
          </a:p>
        </p:txBody>
      </p:sp>
      <p:sp>
        <p:nvSpPr>
          <p:cNvPr id="15" name="Rectangle 14"/>
          <p:cNvSpPr/>
          <p:nvPr/>
        </p:nvSpPr>
        <p:spPr>
          <a:xfrm>
            <a:off x="7234535" y="3749213"/>
            <a:ext cx="3454792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0000">
                    <a:lumMod val="75000"/>
                    <a:lumOff val="25000"/>
                  </a:srgbClr>
                </a:solidFill>
              </a:rPr>
              <a:t>Australia –  minor market region</a:t>
            </a:r>
          </a:p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0917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noProof="0" dirty="0" smtClean="0"/>
              <a:t>DATA COLLECTION</a:t>
            </a:r>
            <a:endParaRPr lang="en-US" altLang="zh-CN" noProof="0" dirty="0"/>
          </a:p>
        </p:txBody>
      </p:sp>
      <p:graphicFrame>
        <p:nvGraphicFramePr>
          <p:cNvPr id="6" name="Espace réservé du contenu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43200015"/>
              </p:ext>
            </p:extLst>
          </p:nvPr>
        </p:nvGraphicFramePr>
        <p:xfrm>
          <a:off x="1096963" y="1846263"/>
          <a:ext cx="10058400" cy="440944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1676400"/>
                <a:gridCol w="1676400"/>
                <a:gridCol w="1676400"/>
                <a:gridCol w="1676400"/>
                <a:gridCol w="1676400"/>
                <a:gridCol w="1676400"/>
              </a:tblGrid>
              <a:tr h="370840"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Question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Indicator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gridSpan="4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Data collection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B w="12700" cmpd="sng"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81000"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source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method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sample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iming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0058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hat was the estate of the industry</a:t>
                      </a:r>
                      <a:r>
                        <a:rPr lang="fr-FR" sz="1500" baseline="0" dirty="0" smtClean="0"/>
                        <a:t> in 2014? (</a:t>
                      </a:r>
                      <a:r>
                        <a:rPr lang="fr-FR" sz="1500" baseline="0" dirty="0" err="1" smtClean="0"/>
                        <a:t>before</a:t>
                      </a:r>
                      <a:r>
                        <a:rPr lang="fr-FR" sz="1500" baseline="0" dirty="0" smtClean="0"/>
                        <a:t> 2015)</a:t>
                      </a:r>
                      <a:endParaRPr lang="fr-FR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MW sold; Units shipped; Leading</a:t>
                      </a:r>
                      <a:r>
                        <a:rPr lang="fr-FR" sz="1500" baseline="0" dirty="0" smtClean="0"/>
                        <a:t> countries; Market leaders; Incentives</a:t>
                      </a:r>
                      <a:endParaRPr lang="fr-FR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Older Industry</a:t>
                      </a:r>
                      <a:r>
                        <a:rPr lang="fr-FR" sz="1500" baseline="0" dirty="0" smtClean="0"/>
                        <a:t> analysis reports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 review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????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????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5486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How</a:t>
                      </a:r>
                      <a:r>
                        <a:rPr lang="fr-FR" sz="1500" baseline="0" dirty="0" smtClean="0"/>
                        <a:t> do fuel </a:t>
                      </a:r>
                      <a:r>
                        <a:rPr lang="fr-FR" sz="1500" baseline="0" dirty="0" err="1" smtClean="0"/>
                        <a:t>cells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work</a:t>
                      </a:r>
                      <a:r>
                        <a:rPr lang="fr-FR" sz="1500" baseline="0" dirty="0" smtClean="0"/>
                        <a:t>?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Number</a:t>
                      </a:r>
                      <a:r>
                        <a:rPr lang="fr-FR" sz="1500" baseline="0" dirty="0" smtClean="0"/>
                        <a:t> of products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eb resources;</a:t>
                      </a:r>
                      <a:r>
                        <a:rPr lang="fr-FR" sz="1500" baseline="0" dirty="0" smtClean="0"/>
                        <a:t> Student’s lab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 Review; Interview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,????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?????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</a:tr>
              <a:tr h="7772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hat are the main applications for fuell </a:t>
                      </a:r>
                      <a:r>
                        <a:rPr lang="fr-FR" sz="1500" dirty="0" err="1" smtClean="0"/>
                        <a:t>cells</a:t>
                      </a:r>
                      <a:r>
                        <a:rPr lang="fr-FR" sz="1500" dirty="0" smtClean="0"/>
                        <a:t>?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Type</a:t>
                      </a:r>
                      <a:r>
                        <a:rPr lang="fr-FR" sz="1500" baseline="0" dirty="0" smtClean="0"/>
                        <a:t> of services; 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eb </a:t>
                      </a:r>
                      <a:r>
                        <a:rPr lang="en-US" altLang="zh-CN" sz="1500" dirty="0" smtClean="0"/>
                        <a:t>resources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</a:t>
                      </a:r>
                      <a:r>
                        <a:rPr lang="fr-FR" sz="1500" baseline="0" dirty="0" smtClean="0"/>
                        <a:t> review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?????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?????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</a:tr>
              <a:tr h="5486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What</a:t>
                      </a:r>
                      <a:r>
                        <a:rPr lang="fr-FR" sz="1500" baseline="0" dirty="0" smtClean="0"/>
                        <a:t> are the innovation </a:t>
                      </a:r>
                      <a:r>
                        <a:rPr lang="fr-FR" sz="1500" baseline="0" dirty="0" err="1" smtClean="0"/>
                        <a:t>fields</a:t>
                      </a:r>
                      <a:r>
                        <a:rPr lang="fr-FR" sz="1500" baseline="0" dirty="0" smtClean="0"/>
                        <a:t>?</a:t>
                      </a:r>
                      <a:endParaRPr lang="fr-FR" sz="150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Company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names</a:t>
                      </a:r>
                      <a:r>
                        <a:rPr lang="fr-FR" sz="1500" baseline="0" dirty="0" smtClean="0"/>
                        <a:t>; </a:t>
                      </a:r>
                      <a:r>
                        <a:rPr lang="fr-FR" sz="1500" baseline="0" dirty="0" err="1" smtClean="0"/>
                        <a:t>Projects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eb </a:t>
                      </a:r>
                      <a:r>
                        <a:rPr lang="fr-FR" sz="1500" dirty="0" err="1" smtClean="0"/>
                        <a:t>resources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 </a:t>
                      </a:r>
                      <a:r>
                        <a:rPr lang="fr-FR" sz="1500" dirty="0" err="1" smtClean="0"/>
                        <a:t>Review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?????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?????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</a:tr>
              <a:tr h="7772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What</a:t>
                      </a:r>
                      <a:r>
                        <a:rPr lang="fr-FR" sz="1500" dirty="0" smtClean="0"/>
                        <a:t> are the alternative technologies?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Products</a:t>
                      </a:r>
                      <a:r>
                        <a:rPr lang="fr-FR" sz="1500" dirty="0" smtClean="0"/>
                        <a:t>; Concepts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eb </a:t>
                      </a:r>
                      <a:r>
                        <a:rPr lang="fr-FR" sz="1500" dirty="0" err="1" smtClean="0"/>
                        <a:t>resources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 </a:t>
                      </a:r>
                      <a:r>
                        <a:rPr lang="fr-FR" sz="1500" dirty="0" err="1" smtClean="0"/>
                        <a:t>Review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?????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?????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603539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aw and governmental influenc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97280" y="1961848"/>
            <a:ext cx="4897120" cy="2450495"/>
          </a:xfrm>
          <a:ln>
            <a:solidFill>
              <a:schemeClr val="bg1">
                <a:lumMod val="65000"/>
              </a:schemeClr>
            </a:solidFill>
          </a:ln>
        </p:spPr>
        <p:txBody>
          <a:bodyPr>
            <a:normAutofit/>
          </a:bodyPr>
          <a:lstStyle/>
          <a:p>
            <a:pPr marL="174625" indent="-174625">
              <a:buFont typeface="Wingdings" panose="05000000000000000000" pitchFamily="2" charset="2"/>
              <a:buChar char="§"/>
            </a:pPr>
            <a:r>
              <a:rPr lang="en-US" dirty="0" smtClean="0"/>
              <a:t>Compare institutional environment</a:t>
            </a:r>
          </a:p>
          <a:p>
            <a:pPr marL="174625" indent="-174625">
              <a:buFont typeface="Wingdings" panose="05000000000000000000" pitchFamily="2" charset="2"/>
              <a:buChar char="§"/>
            </a:pPr>
            <a:r>
              <a:rPr lang="en-US" dirty="0" smtClean="0"/>
              <a:t>Starting point for research: USA, Japan, Germany (EU)</a:t>
            </a:r>
          </a:p>
          <a:p>
            <a:pPr marL="174625" indent="-174625">
              <a:buFont typeface="Wingdings" panose="05000000000000000000" pitchFamily="2" charset="2"/>
              <a:buChar char="§"/>
            </a:pPr>
            <a:r>
              <a:rPr lang="en-US" dirty="0" smtClean="0"/>
              <a:t>Including subsidies and other governmental support or discouragement</a:t>
            </a:r>
            <a:endParaRPr lang="en-US" dirty="0"/>
          </a:p>
        </p:txBody>
      </p:sp>
      <p:pic>
        <p:nvPicPr>
          <p:cNvPr id="1026" name="Picture 2" descr="http://ars.els-cdn.com/content/image/1-s2.0-S0360544208002144-gr7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79" t="-3563" r="-3651" b="-1845"/>
          <a:stretch/>
        </p:blipFill>
        <p:spPr bwMode="auto">
          <a:xfrm>
            <a:off x="6212115" y="1961848"/>
            <a:ext cx="5066937" cy="307702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2194508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noProof="0" dirty="0" smtClean="0"/>
              <a:t>LOGIC MODEL</a:t>
            </a:r>
            <a:endParaRPr lang="en-US" altLang="zh-CN" noProof="0" dirty="0"/>
          </a:p>
        </p:txBody>
      </p:sp>
      <p:graphicFrame>
        <p:nvGraphicFramePr>
          <p:cNvPr id="4" name="Espace réservé du contenu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3621739"/>
              </p:ext>
            </p:extLst>
          </p:nvPr>
        </p:nvGraphicFramePr>
        <p:xfrm>
          <a:off x="1096963" y="1846270"/>
          <a:ext cx="10058400" cy="40227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9425531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Introduction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97280" y="1926416"/>
            <a:ext cx="4947894" cy="807083"/>
          </a:xfrm>
          <a:ln>
            <a:solidFill>
              <a:schemeClr val="bg1">
                <a:lumMod val="65000"/>
              </a:schemeClr>
            </a:solidFill>
          </a:ln>
        </p:spPr>
        <p:txBody>
          <a:bodyPr/>
          <a:lstStyle/>
          <a:p>
            <a:pPr marL="266687" indent="-165092">
              <a:buFont typeface="Wingdings" panose="05000000000000000000" pitchFamily="2" charset="2"/>
              <a:buChar char="§"/>
            </a:pPr>
            <a:r>
              <a:rPr lang="en-US" noProof="0" dirty="0" smtClean="0"/>
              <a:t>Intention of this report:</a:t>
            </a:r>
          </a:p>
          <a:p>
            <a:pPr marL="559281" lvl="1" indent="-177792">
              <a:buFont typeface="Wingdings" panose="05000000000000000000" pitchFamily="2" charset="2"/>
              <a:buChar char="§"/>
            </a:pPr>
            <a:r>
              <a:rPr lang="en-US" noProof="0" dirty="0" smtClean="0"/>
              <a:t>Provide public information about fuel cells</a:t>
            </a:r>
          </a:p>
        </p:txBody>
      </p:sp>
      <p:sp>
        <p:nvSpPr>
          <p:cNvPr id="4" name="Pentagon 3"/>
          <p:cNvSpPr/>
          <p:nvPr/>
        </p:nvSpPr>
        <p:spPr>
          <a:xfrm>
            <a:off x="1097287" y="5061101"/>
            <a:ext cx="10058399" cy="369332"/>
          </a:xfrm>
          <a:prstGeom prst="homePlate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5" name="TextBox 4"/>
          <p:cNvSpPr txBox="1"/>
          <p:nvPr/>
        </p:nvSpPr>
        <p:spPr>
          <a:xfrm rot="18900000">
            <a:off x="942882" y="3795441"/>
            <a:ext cx="19986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2"/>
                </a:solidFill>
              </a:rPr>
              <a:t>Discovery </a:t>
            </a:r>
            <a:r>
              <a:rPr lang="de-DE" dirty="0" err="1">
                <a:solidFill>
                  <a:schemeClr val="tx2"/>
                </a:solidFill>
              </a:rPr>
              <a:t>of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the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principle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140670" y="5061101"/>
            <a:ext cx="6734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801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082356" y="5061101"/>
            <a:ext cx="6734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839</a:t>
            </a:r>
          </a:p>
        </p:txBody>
      </p:sp>
      <p:sp>
        <p:nvSpPr>
          <p:cNvPr id="19" name="TextBox 18"/>
          <p:cNvSpPr txBox="1"/>
          <p:nvPr/>
        </p:nvSpPr>
        <p:spPr>
          <a:xfrm rot="18900000">
            <a:off x="1890283" y="3795448"/>
            <a:ext cx="19986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2"/>
                </a:solidFill>
              </a:rPr>
              <a:t>„Gas </a:t>
            </a:r>
            <a:r>
              <a:rPr lang="de-DE" dirty="0" err="1">
                <a:solidFill>
                  <a:schemeClr val="tx2"/>
                </a:solidFill>
              </a:rPr>
              <a:t>battery</a:t>
            </a:r>
            <a:r>
              <a:rPr lang="de-DE" dirty="0">
                <a:solidFill>
                  <a:schemeClr val="tx2"/>
                </a:solidFill>
              </a:rPr>
              <a:t>“ </a:t>
            </a:r>
            <a:r>
              <a:rPr lang="de-DE" dirty="0" err="1">
                <a:solidFill>
                  <a:schemeClr val="tx2"/>
                </a:solidFill>
              </a:rPr>
              <a:t>as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first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fuel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cell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465046" y="5061748"/>
            <a:ext cx="7905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960s</a:t>
            </a:r>
          </a:p>
        </p:txBody>
      </p:sp>
      <p:sp>
        <p:nvSpPr>
          <p:cNvPr id="21" name="TextBox 20"/>
          <p:cNvSpPr txBox="1"/>
          <p:nvPr/>
        </p:nvSpPr>
        <p:spPr>
          <a:xfrm rot="18900000">
            <a:off x="3333846" y="3795448"/>
            <a:ext cx="19986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2"/>
                </a:solidFill>
              </a:rPr>
              <a:t>First </a:t>
            </a:r>
            <a:r>
              <a:rPr lang="de-DE" dirty="0" err="1">
                <a:solidFill>
                  <a:schemeClr val="tx2"/>
                </a:solidFill>
              </a:rPr>
              <a:t>use</a:t>
            </a:r>
            <a:r>
              <a:rPr lang="de-DE" dirty="0">
                <a:solidFill>
                  <a:schemeClr val="tx2"/>
                </a:solidFill>
              </a:rPr>
              <a:t> in </a:t>
            </a:r>
            <a:r>
              <a:rPr lang="de-DE" dirty="0" err="1">
                <a:solidFill>
                  <a:schemeClr val="tx2"/>
                </a:solidFill>
              </a:rPr>
              <a:t>space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missions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723933" y="5060456"/>
            <a:ext cx="7905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980s</a:t>
            </a:r>
          </a:p>
        </p:txBody>
      </p:sp>
      <p:sp>
        <p:nvSpPr>
          <p:cNvPr id="23" name="TextBox 22"/>
          <p:cNvSpPr txBox="1"/>
          <p:nvPr/>
        </p:nvSpPr>
        <p:spPr>
          <a:xfrm rot="18900000">
            <a:off x="4611278" y="3795447"/>
            <a:ext cx="19986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2"/>
                </a:solidFill>
              </a:rPr>
              <a:t>First </a:t>
            </a:r>
            <a:r>
              <a:rPr lang="de-DE" dirty="0" err="1">
                <a:solidFill>
                  <a:schemeClr val="tx2"/>
                </a:solidFill>
              </a:rPr>
              <a:t>use</a:t>
            </a:r>
            <a:r>
              <a:rPr lang="de-DE" dirty="0">
                <a:solidFill>
                  <a:schemeClr val="tx2"/>
                </a:solidFill>
              </a:rPr>
              <a:t> in </a:t>
            </a:r>
            <a:r>
              <a:rPr lang="de-DE" dirty="0" err="1">
                <a:solidFill>
                  <a:schemeClr val="tx2"/>
                </a:solidFill>
              </a:rPr>
              <a:t>in</a:t>
            </a:r>
            <a:r>
              <a:rPr lang="de-DE" dirty="0">
                <a:solidFill>
                  <a:schemeClr val="tx2"/>
                </a:solidFill>
              </a:rPr>
              <a:t> submarines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6045174" y="5061944"/>
            <a:ext cx="7905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990s</a:t>
            </a:r>
          </a:p>
        </p:txBody>
      </p:sp>
      <p:sp>
        <p:nvSpPr>
          <p:cNvPr id="25" name="TextBox 24"/>
          <p:cNvSpPr txBox="1"/>
          <p:nvPr/>
        </p:nvSpPr>
        <p:spPr>
          <a:xfrm rot="18900000">
            <a:off x="5824275" y="3559006"/>
            <a:ext cx="19986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>
                <a:solidFill>
                  <a:schemeClr val="tx2"/>
                </a:solidFill>
              </a:rPr>
              <a:t>Developement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of</a:t>
            </a:r>
            <a:r>
              <a:rPr lang="de-DE" dirty="0">
                <a:solidFill>
                  <a:schemeClr val="tx2"/>
                </a:solidFill>
              </a:rPr>
              <a:t> large </a:t>
            </a:r>
            <a:r>
              <a:rPr lang="de-DE" dirty="0" err="1">
                <a:solidFill>
                  <a:schemeClr val="tx2"/>
                </a:solidFill>
              </a:rPr>
              <a:t>stationary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fuel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cells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 rot="18900000">
            <a:off x="7375491" y="3559006"/>
            <a:ext cx="19986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2"/>
                </a:solidFill>
              </a:rPr>
              <a:t>Commercial </a:t>
            </a:r>
            <a:r>
              <a:rPr lang="de-DE" dirty="0" err="1">
                <a:solidFill>
                  <a:schemeClr val="tx2"/>
                </a:solidFill>
              </a:rPr>
              <a:t>use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as</a:t>
            </a:r>
            <a:r>
              <a:rPr lang="de-DE" dirty="0">
                <a:solidFill>
                  <a:schemeClr val="tx2"/>
                </a:solidFill>
              </a:rPr>
              <a:t> portable </a:t>
            </a:r>
            <a:r>
              <a:rPr lang="de-DE" dirty="0" err="1">
                <a:solidFill>
                  <a:schemeClr val="tx2"/>
                </a:solidFill>
              </a:rPr>
              <a:t>energy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source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7606141" y="5061101"/>
            <a:ext cx="7905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007</a:t>
            </a:r>
          </a:p>
        </p:txBody>
      </p:sp>
      <p:sp>
        <p:nvSpPr>
          <p:cNvPr id="28" name="TextBox 27"/>
          <p:cNvSpPr txBox="1"/>
          <p:nvPr/>
        </p:nvSpPr>
        <p:spPr>
          <a:xfrm rot="18900000">
            <a:off x="8410599" y="3559006"/>
            <a:ext cx="19986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2"/>
                </a:solidFill>
              </a:rPr>
              <a:t>Honda </a:t>
            </a:r>
            <a:r>
              <a:rPr lang="de-DE" dirty="0" err="1">
                <a:solidFill>
                  <a:schemeClr val="tx2"/>
                </a:solidFill>
              </a:rPr>
              <a:t>is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leasing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first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fuel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cell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vehicle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8622090" y="5054324"/>
            <a:ext cx="7905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008</a:t>
            </a:r>
          </a:p>
        </p:txBody>
      </p:sp>
      <p:sp>
        <p:nvSpPr>
          <p:cNvPr id="30" name="TextBox 29"/>
          <p:cNvSpPr txBox="1"/>
          <p:nvPr/>
        </p:nvSpPr>
        <p:spPr>
          <a:xfrm rot="18900000">
            <a:off x="9391230" y="3795448"/>
            <a:ext cx="19986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>
                <a:solidFill>
                  <a:schemeClr val="tx2"/>
                </a:solidFill>
              </a:rPr>
              <a:t>Commerzialisation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of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micro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fuel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cells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9525942" y="5064532"/>
            <a:ext cx="7905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009</a:t>
            </a:r>
          </a:p>
        </p:txBody>
      </p:sp>
      <p:sp>
        <p:nvSpPr>
          <p:cNvPr id="33" name="Content Placeholder 2"/>
          <p:cNvSpPr txBox="1">
            <a:spLocks/>
          </p:cNvSpPr>
          <p:nvPr/>
        </p:nvSpPr>
        <p:spPr>
          <a:xfrm>
            <a:off x="6196651" y="1926415"/>
            <a:ext cx="4947894" cy="807083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txBody>
          <a:bodyPr vert="horz" lIns="0" tIns="45720" rIns="0" bIns="45720" rtlCol="0">
            <a:normAutofit lnSpcReduction="10000"/>
          </a:bodyPr>
          <a:lstStyle>
            <a:lvl1pPr marL="91436" indent="-91436" algn="l" defTabSz="914354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29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00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771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42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09994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29993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99925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9991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687" indent="-165092">
              <a:buFont typeface="Wingdings" panose="05000000000000000000" pitchFamily="2" charset="2"/>
              <a:buChar char="§"/>
            </a:pPr>
            <a:r>
              <a:rPr lang="en-US" dirty="0" smtClean="0"/>
              <a:t>Discuss fuel cell as an alternative</a:t>
            </a:r>
          </a:p>
          <a:p>
            <a:pPr marL="266687" indent="-165092">
              <a:buFont typeface="Wingdings" panose="05000000000000000000" pitchFamily="2" charset="2"/>
              <a:buChar char="§"/>
            </a:pPr>
            <a:r>
              <a:rPr lang="en-US" dirty="0" smtClean="0"/>
              <a:t>Give a short industry overview</a:t>
            </a:r>
          </a:p>
        </p:txBody>
      </p:sp>
    </p:spTree>
    <p:extLst>
      <p:ext uri="{BB962C8B-B14F-4D97-AF65-F5344CB8AC3E}">
        <p14:creationId xmlns:p14="http://schemas.microsoft.com/office/powerpoint/2010/main" val="1338541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noProof="0" dirty="0" smtClean="0"/>
              <a:t>PRODUCT PERSPECTIVES</a:t>
            </a:r>
            <a:endParaRPr lang="en-US" noProof="0" dirty="0"/>
          </a:p>
        </p:txBody>
      </p:sp>
      <p:grpSp>
        <p:nvGrpSpPr>
          <p:cNvPr id="4" name="组合 22"/>
          <p:cNvGrpSpPr/>
          <p:nvPr/>
        </p:nvGrpSpPr>
        <p:grpSpPr>
          <a:xfrm>
            <a:off x="5475468" y="1927860"/>
            <a:ext cx="3162319" cy="3832860"/>
            <a:chOff x="4739640" y="1927860"/>
            <a:chExt cx="3162319" cy="3832860"/>
          </a:xfrm>
        </p:grpSpPr>
        <p:sp>
          <p:nvSpPr>
            <p:cNvPr id="9" name="矩形 21"/>
            <p:cNvSpPr/>
            <p:nvPr/>
          </p:nvSpPr>
          <p:spPr>
            <a:xfrm>
              <a:off x="4739640" y="1927860"/>
              <a:ext cx="2987040" cy="383286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5" name="组合 14"/>
            <p:cNvGrpSpPr/>
            <p:nvPr/>
          </p:nvGrpSpPr>
          <p:grpSpPr>
            <a:xfrm rot="2427084">
              <a:off x="5915381" y="2290537"/>
              <a:ext cx="1224000" cy="864000"/>
              <a:chOff x="1494869" y="2217333"/>
              <a:chExt cx="1076602" cy="720000"/>
            </a:xfrm>
          </p:grpSpPr>
          <p:sp>
            <p:nvSpPr>
              <p:cNvPr id="12" name="椭圆 11"/>
              <p:cNvSpPr/>
              <p:nvPr/>
            </p:nvSpPr>
            <p:spPr>
              <a:xfrm>
                <a:off x="1494869" y="2217333"/>
                <a:ext cx="720000" cy="720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3" name="椭圆 12"/>
              <p:cNvSpPr/>
              <p:nvPr/>
            </p:nvSpPr>
            <p:spPr>
              <a:xfrm>
                <a:off x="1851471" y="2217333"/>
                <a:ext cx="720000" cy="720000"/>
              </a:xfrm>
              <a:prstGeom prst="ellipse">
                <a:avLst/>
              </a:prstGeom>
              <a:noFill/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4" name="矩形 13"/>
              <p:cNvSpPr/>
              <p:nvPr/>
            </p:nvSpPr>
            <p:spPr>
              <a:xfrm>
                <a:off x="1813594" y="2266951"/>
                <a:ext cx="439598" cy="61489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6" name="组合 17"/>
            <p:cNvGrpSpPr/>
            <p:nvPr/>
          </p:nvGrpSpPr>
          <p:grpSpPr>
            <a:xfrm rot="20888956">
              <a:off x="5160434" y="3809256"/>
              <a:ext cx="1980000" cy="1476000"/>
              <a:chOff x="1340519" y="3972806"/>
              <a:chExt cx="1774350" cy="1261533"/>
            </a:xfrm>
          </p:grpSpPr>
          <p:sp>
            <p:nvSpPr>
              <p:cNvPr id="10" name="椭圆 15"/>
              <p:cNvSpPr/>
              <p:nvPr/>
            </p:nvSpPr>
            <p:spPr>
              <a:xfrm>
                <a:off x="1340519" y="3972806"/>
                <a:ext cx="1260000" cy="1261533"/>
              </a:xfrm>
              <a:prstGeom prst="ellipse">
                <a:avLst/>
              </a:prstGeom>
              <a:solidFill>
                <a:srgbClr val="C00000"/>
              </a:solidFill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1" name="椭圆 16"/>
              <p:cNvSpPr/>
              <p:nvPr/>
            </p:nvSpPr>
            <p:spPr>
              <a:xfrm>
                <a:off x="1854869" y="3972806"/>
                <a:ext cx="1260000" cy="1261533"/>
              </a:xfrm>
              <a:prstGeom prst="ellipse">
                <a:avLst/>
              </a:prstGeom>
              <a:solidFill>
                <a:srgbClr val="C00000"/>
              </a:solidFill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7" name="TextBox 18"/>
            <p:cNvSpPr txBox="1"/>
            <p:nvPr/>
          </p:nvSpPr>
          <p:spPr>
            <a:xfrm>
              <a:off x="4808220" y="2949715"/>
              <a:ext cx="162307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dirty="0"/>
                <a:t>Hydrogen</a:t>
              </a:r>
            </a:p>
          </p:txBody>
        </p:sp>
        <p:sp>
          <p:nvSpPr>
            <p:cNvPr id="8" name="TextBox 19"/>
            <p:cNvSpPr txBox="1"/>
            <p:nvPr/>
          </p:nvSpPr>
          <p:spPr>
            <a:xfrm>
              <a:off x="6278880" y="5288169"/>
              <a:ext cx="162307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dirty="0"/>
                <a:t>Oxygen</a:t>
              </a:r>
            </a:p>
          </p:txBody>
        </p:sp>
      </p:grpSp>
      <p:grpSp>
        <p:nvGrpSpPr>
          <p:cNvPr id="15" name="组合 24"/>
          <p:cNvGrpSpPr/>
          <p:nvPr/>
        </p:nvGrpSpPr>
        <p:grpSpPr>
          <a:xfrm>
            <a:off x="8567204" y="1927862"/>
            <a:ext cx="2987040" cy="3832860"/>
            <a:chOff x="8403738" y="1783265"/>
            <a:chExt cx="2987040" cy="3832860"/>
          </a:xfrm>
        </p:grpSpPr>
        <p:sp>
          <p:nvSpPr>
            <p:cNvPr id="18" name="矩形 23"/>
            <p:cNvSpPr/>
            <p:nvPr/>
          </p:nvSpPr>
          <p:spPr>
            <a:xfrm>
              <a:off x="8403738" y="1783265"/>
              <a:ext cx="2987040" cy="383286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16" name="组合 9"/>
            <p:cNvGrpSpPr/>
            <p:nvPr/>
          </p:nvGrpSpPr>
          <p:grpSpPr>
            <a:xfrm>
              <a:off x="8943260" y="2793677"/>
              <a:ext cx="1908000" cy="1656000"/>
              <a:chOff x="5696200" y="2734733"/>
              <a:chExt cx="1630666" cy="1392767"/>
            </a:xfrm>
          </p:grpSpPr>
          <p:sp>
            <p:nvSpPr>
              <p:cNvPr id="19" name="椭圆 4"/>
              <p:cNvSpPr/>
              <p:nvPr/>
            </p:nvSpPr>
            <p:spPr>
              <a:xfrm>
                <a:off x="5881533" y="2865967"/>
                <a:ext cx="1260000" cy="1261533"/>
              </a:xfrm>
              <a:prstGeom prst="ellipse">
                <a:avLst/>
              </a:prstGeom>
              <a:solidFill>
                <a:srgbClr val="C00000"/>
              </a:solidFill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grpSp>
            <p:nvGrpSpPr>
              <p:cNvPr id="20" name="组合 8"/>
              <p:cNvGrpSpPr/>
              <p:nvPr/>
            </p:nvGrpSpPr>
            <p:grpSpPr>
              <a:xfrm>
                <a:off x="5696200" y="2734733"/>
                <a:ext cx="1630666" cy="727533"/>
                <a:chOff x="5690867" y="2742266"/>
                <a:chExt cx="1630666" cy="727533"/>
              </a:xfrm>
            </p:grpSpPr>
            <p:sp>
              <p:nvSpPr>
                <p:cNvPr id="21" name="椭圆 6"/>
                <p:cNvSpPr/>
                <p:nvPr/>
              </p:nvSpPr>
              <p:spPr>
                <a:xfrm>
                  <a:off x="6601533" y="2742266"/>
                  <a:ext cx="720000" cy="720000"/>
                </a:xfrm>
                <a:prstGeom prst="ellipse">
                  <a:avLst/>
                </a:prstGeom>
                <a:noFill/>
                <a:ln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22" name="椭圆 7"/>
                <p:cNvSpPr/>
                <p:nvPr/>
              </p:nvSpPr>
              <p:spPr>
                <a:xfrm>
                  <a:off x="5690867" y="2749799"/>
                  <a:ext cx="720000" cy="720000"/>
                </a:xfrm>
                <a:prstGeom prst="ellipse">
                  <a:avLst/>
                </a:prstGeom>
                <a:noFill/>
                <a:ln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</p:grpSp>
        <p:sp>
          <p:nvSpPr>
            <p:cNvPr id="17" name="TextBox 20"/>
            <p:cNvSpPr txBox="1"/>
            <p:nvPr/>
          </p:nvSpPr>
          <p:spPr>
            <a:xfrm>
              <a:off x="9085719" y="4489096"/>
              <a:ext cx="162307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dirty="0"/>
                <a:t>Water</a:t>
              </a:r>
            </a:p>
          </p:txBody>
        </p:sp>
      </p:grpSp>
      <p:sp>
        <p:nvSpPr>
          <p:cNvPr id="23" name="Espace réservé du contenu 22"/>
          <p:cNvSpPr>
            <a:spLocks noGrp="1"/>
          </p:cNvSpPr>
          <p:nvPr>
            <p:ph idx="1"/>
          </p:nvPr>
        </p:nvSpPr>
        <p:spPr>
          <a:xfrm>
            <a:off x="1097282" y="1927859"/>
            <a:ext cx="3986537" cy="3941235"/>
          </a:xfrm>
          <a:ln>
            <a:solidFill>
              <a:schemeClr val="bg1">
                <a:lumMod val="65000"/>
              </a:schemeClr>
            </a:solidFill>
          </a:ln>
        </p:spPr>
        <p:txBody>
          <a:bodyPr/>
          <a:lstStyle/>
          <a:p>
            <a:r>
              <a:rPr lang="en-US" sz="2400" dirty="0"/>
              <a:t>MAIN PRINCIPLE</a:t>
            </a:r>
          </a:p>
          <a:p>
            <a:pPr marL="268288" indent="-174625">
              <a:buFont typeface="Wingdings" panose="05000000000000000000" pitchFamily="2" charset="2"/>
              <a:buChar char="§"/>
            </a:pPr>
            <a:r>
              <a:rPr lang="en-US" noProof="0" dirty="0" smtClean="0"/>
              <a:t>Combine Hydrogen and Oxygen to produce electricity</a:t>
            </a:r>
          </a:p>
          <a:p>
            <a:endParaRPr lang="en-US" noProof="0" dirty="0" smtClean="0"/>
          </a:p>
          <a:p>
            <a:r>
              <a:rPr lang="en-US" sz="2400" dirty="0"/>
              <a:t>PROBLEM</a:t>
            </a:r>
          </a:p>
          <a:p>
            <a:pPr marL="268288" indent="-174625">
              <a:buFont typeface="Wingdings" panose="05000000000000000000" pitchFamily="2" charset="2"/>
              <a:buChar char="§"/>
            </a:pPr>
            <a:r>
              <a:rPr lang="en-US" noProof="0" dirty="0" smtClean="0"/>
              <a:t>Where to find Hydrogen?</a:t>
            </a:r>
          </a:p>
        </p:txBody>
      </p:sp>
    </p:spTree>
    <p:extLst>
      <p:ext uri="{BB962C8B-B14F-4D97-AF65-F5344CB8AC3E}">
        <p14:creationId xmlns:p14="http://schemas.microsoft.com/office/powerpoint/2010/main" val="2283895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Espace réservé du contenu 6"/>
          <p:cNvPicPr>
            <a:picLocks noChangeAspect="1"/>
          </p:cNvPicPr>
          <p:nvPr/>
        </p:nvPicPr>
        <p:blipFill rotWithShape="1"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456"/>
          <a:stretch/>
        </p:blipFill>
        <p:spPr>
          <a:xfrm>
            <a:off x="5208815" y="1927859"/>
            <a:ext cx="6257471" cy="3927800"/>
          </a:xfrm>
          <a:prstGeom prst="rect">
            <a:avLst/>
          </a:prstGeom>
          <a:ln w="9525">
            <a:solidFill>
              <a:schemeClr val="bg1">
                <a:lumMod val="65000"/>
              </a:schemeClr>
            </a:solidFill>
          </a:ln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noProof="0" dirty="0" smtClean="0"/>
              <a:t>PRODUCT PERSPECTIVES</a:t>
            </a:r>
            <a:endParaRPr lang="en-US" noProof="0" dirty="0"/>
          </a:p>
        </p:txBody>
      </p:sp>
      <p:sp>
        <p:nvSpPr>
          <p:cNvPr id="6" name="Espace réservé du contenu 22"/>
          <p:cNvSpPr txBox="1">
            <a:spLocks/>
          </p:cNvSpPr>
          <p:nvPr/>
        </p:nvSpPr>
        <p:spPr>
          <a:xfrm>
            <a:off x="1097282" y="1927859"/>
            <a:ext cx="3986537" cy="3941235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txBody>
          <a:bodyPr vert="horz" lIns="0" tIns="45720" rIns="0" bIns="45720" rtlCol="0">
            <a:normAutofit/>
          </a:bodyPr>
          <a:lstStyle>
            <a:lvl1pPr marL="91436" indent="-91436" algn="l" defTabSz="914354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29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00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771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42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09994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29993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99925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9991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smtClean="0"/>
              <a:t>MAIN PRINCIPLE</a:t>
            </a:r>
          </a:p>
          <a:p>
            <a:pPr marL="268288" indent="-174625">
              <a:buFont typeface="Wingdings" panose="05000000000000000000" pitchFamily="2" charset="2"/>
              <a:buChar char="§"/>
            </a:pPr>
            <a:r>
              <a:rPr lang="en-US" smtClean="0"/>
              <a:t>Combine Hydrogen and Oxygen to produce electricity</a:t>
            </a:r>
          </a:p>
          <a:p>
            <a:endParaRPr lang="en-US" smtClean="0"/>
          </a:p>
          <a:p>
            <a:r>
              <a:rPr lang="en-US" sz="2400" smtClean="0"/>
              <a:t>PROBLEM</a:t>
            </a:r>
          </a:p>
          <a:p>
            <a:pPr marL="268288" indent="-174625">
              <a:buFont typeface="Wingdings" panose="05000000000000000000" pitchFamily="2" charset="2"/>
              <a:buChar char="§"/>
            </a:pPr>
            <a:r>
              <a:rPr lang="en-US" smtClean="0"/>
              <a:t>Where to find Hydrogen?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882252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PRODUCT PERSPECTIVES</a:t>
            </a:r>
            <a:endParaRPr lang="en-US" noProof="0" dirty="0"/>
          </a:p>
        </p:txBody>
      </p:sp>
      <p:graphicFrame>
        <p:nvGraphicFramePr>
          <p:cNvPr id="5" name="Espace réservé du contenu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71260459"/>
              </p:ext>
            </p:extLst>
          </p:nvPr>
        </p:nvGraphicFramePr>
        <p:xfrm>
          <a:off x="1096963" y="1846263"/>
          <a:ext cx="10058400" cy="3035808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514600"/>
                <a:gridCol w="2514600"/>
                <a:gridCol w="2514600"/>
                <a:gridCol w="2514600"/>
              </a:tblGrid>
              <a:tr h="749808"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24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YPE</a:t>
                      </a: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24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EMPERATURE (°C)</a:t>
                      </a: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24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Fuel</a:t>
                      </a: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24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Electrolyte</a:t>
                      </a: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81000"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PEMFC</a:t>
                      </a:r>
                      <a:endParaRPr lang="fr-FR" sz="1900" dirty="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40-90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fr-FR" sz="1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(/CO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fr-FR" sz="1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err="1" smtClean="0"/>
                        <a:t>Polymer</a:t>
                      </a:r>
                      <a:endParaRPr lang="fr-FR" sz="1900" dirty="0" smtClean="0"/>
                    </a:p>
                  </a:txBody>
                  <a:tcPr>
                    <a:noFill/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AFC</a:t>
                      </a:r>
                      <a:endParaRPr lang="fr-FR" sz="1900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40-200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KOH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DMFC</a:t>
                      </a:r>
                      <a:endParaRPr lang="fr-FR" sz="1900" dirty="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60-130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err="1" smtClean="0"/>
                        <a:t>Methanol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err="1" smtClean="0"/>
                        <a:t>Polymer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PAFC</a:t>
                      </a:r>
                      <a:endParaRPr lang="fr-FR" sz="1900" dirty="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200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fr-FR" sz="1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(/CO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fr-FR" sz="1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err="1" smtClean="0"/>
                        <a:t>Phosphoric</a:t>
                      </a:r>
                      <a:r>
                        <a:rPr lang="fr-FR" sz="1900" dirty="0" smtClean="0"/>
                        <a:t> Acid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MCFC</a:t>
                      </a:r>
                      <a:endParaRPr lang="fr-FR" sz="1900" dirty="0"/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650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H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r>
                        <a:rPr lang="fr-FR" sz="1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fr-FR" sz="1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H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fr-FR" sz="1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CO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err="1" smtClean="0"/>
                        <a:t>Molten</a:t>
                      </a:r>
                      <a:r>
                        <a:rPr lang="fr-FR" sz="1900" dirty="0" smtClean="0"/>
                        <a:t> Carbonate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SOFC</a:t>
                      </a:r>
                      <a:endParaRPr lang="fr-FR" sz="1900" dirty="0"/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600-950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H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r>
                        <a:rPr lang="fr-FR" sz="1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fr-FR" sz="1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H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fr-FR" sz="1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CO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Solid </a:t>
                      </a:r>
                      <a:r>
                        <a:rPr lang="fr-FR" sz="1900" dirty="0" err="1" smtClean="0"/>
                        <a:t>Oxide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  <p:grpSp>
        <p:nvGrpSpPr>
          <p:cNvPr id="8" name="Groupe 7"/>
          <p:cNvGrpSpPr/>
          <p:nvPr/>
        </p:nvGrpSpPr>
        <p:grpSpPr>
          <a:xfrm>
            <a:off x="1227914" y="4987099"/>
            <a:ext cx="1678577" cy="369332"/>
            <a:chOff x="1097280" y="4870891"/>
            <a:chExt cx="1678577" cy="369330"/>
          </a:xfrm>
        </p:grpSpPr>
        <p:sp>
          <p:nvSpPr>
            <p:cNvPr id="6" name="Rectangle 5"/>
            <p:cNvSpPr/>
            <p:nvPr/>
          </p:nvSpPr>
          <p:spPr>
            <a:xfrm>
              <a:off x="1097280" y="4947557"/>
              <a:ext cx="216000" cy="21600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7" name="ZoneTexte 6"/>
            <p:cNvSpPr txBox="1"/>
            <p:nvPr/>
          </p:nvSpPr>
          <p:spPr>
            <a:xfrm>
              <a:off x="1313280" y="4870891"/>
              <a:ext cx="1462577" cy="369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dirty="0"/>
                <a:t>Noble </a:t>
              </a:r>
              <a:r>
                <a:rPr lang="fr-FR" dirty="0" err="1"/>
                <a:t>metals</a:t>
              </a:r>
              <a:endParaRPr lang="fr-FR" dirty="0"/>
            </a:p>
          </p:txBody>
        </p:sp>
      </p:grpSp>
      <p:grpSp>
        <p:nvGrpSpPr>
          <p:cNvPr id="11" name="Groupe 10"/>
          <p:cNvGrpSpPr/>
          <p:nvPr/>
        </p:nvGrpSpPr>
        <p:grpSpPr>
          <a:xfrm>
            <a:off x="4296601" y="4987108"/>
            <a:ext cx="3403963" cy="369332"/>
            <a:chOff x="1097280" y="4853314"/>
            <a:chExt cx="3403963" cy="369332"/>
          </a:xfrm>
        </p:grpSpPr>
        <p:sp>
          <p:nvSpPr>
            <p:cNvPr id="12" name="Rectangle 11"/>
            <p:cNvSpPr/>
            <p:nvPr/>
          </p:nvSpPr>
          <p:spPr>
            <a:xfrm>
              <a:off x="1097280" y="4947557"/>
              <a:ext cx="216000" cy="21600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3" name="ZoneTexte 12"/>
            <p:cNvSpPr txBox="1"/>
            <p:nvPr/>
          </p:nvSpPr>
          <p:spPr>
            <a:xfrm>
              <a:off x="1313280" y="4853314"/>
              <a:ext cx="318796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dirty="0" err="1"/>
                <a:t>Non-metals</a:t>
              </a:r>
              <a:r>
                <a:rPr lang="fr-FR" dirty="0"/>
                <a:t>/ Non-noble </a:t>
              </a:r>
              <a:r>
                <a:rPr lang="fr-FR" dirty="0" err="1"/>
                <a:t>metals</a:t>
              </a:r>
              <a:endParaRPr lang="fr-FR" dirty="0"/>
            </a:p>
          </p:txBody>
        </p:sp>
      </p:grpSp>
      <p:grpSp>
        <p:nvGrpSpPr>
          <p:cNvPr id="14" name="Groupe 13"/>
          <p:cNvGrpSpPr/>
          <p:nvPr/>
        </p:nvGrpSpPr>
        <p:grpSpPr>
          <a:xfrm>
            <a:off x="9090669" y="4987099"/>
            <a:ext cx="2078083" cy="369332"/>
            <a:chOff x="1097280" y="4870891"/>
            <a:chExt cx="2078083" cy="369330"/>
          </a:xfrm>
        </p:grpSpPr>
        <p:sp>
          <p:nvSpPr>
            <p:cNvPr id="15" name="Rectangle 14"/>
            <p:cNvSpPr/>
            <p:nvPr/>
          </p:nvSpPr>
          <p:spPr>
            <a:xfrm>
              <a:off x="1097280" y="4947557"/>
              <a:ext cx="216000" cy="2160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6" name="ZoneTexte 15"/>
            <p:cNvSpPr txBox="1"/>
            <p:nvPr/>
          </p:nvSpPr>
          <p:spPr>
            <a:xfrm>
              <a:off x="1313280" y="4870891"/>
              <a:ext cx="1862083" cy="369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dirty="0"/>
                <a:t>Non-noble </a:t>
              </a:r>
              <a:r>
                <a:rPr lang="fr-FR" dirty="0" err="1"/>
                <a:t>metals</a:t>
              </a:r>
              <a:endParaRPr lang="fr-FR" dirty="0"/>
            </a:p>
          </p:txBody>
        </p:sp>
      </p:grpSp>
    </p:spTree>
    <p:extLst>
      <p:ext uri="{BB962C8B-B14F-4D97-AF65-F5344CB8AC3E}">
        <p14:creationId xmlns:p14="http://schemas.microsoft.com/office/powerpoint/2010/main" val="543163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PRODUCT PERSPECTIVES</a:t>
            </a:r>
            <a:endParaRPr lang="en-US" noProof="0" dirty="0"/>
          </a:p>
        </p:txBody>
      </p:sp>
      <p:graphicFrame>
        <p:nvGraphicFramePr>
          <p:cNvPr id="5" name="Espace réservé du contenu 3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2753140693"/>
              </p:ext>
            </p:extLst>
          </p:nvPr>
        </p:nvGraphicFramePr>
        <p:xfrm>
          <a:off x="1096963" y="1846264"/>
          <a:ext cx="4938712" cy="4022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Espace réservé du contenu 3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3228716838"/>
              </p:ext>
            </p:extLst>
          </p:nvPr>
        </p:nvGraphicFramePr>
        <p:xfrm>
          <a:off x="6218245" y="1846270"/>
          <a:ext cx="4937125" cy="4022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527138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PRODUCT PERSPECTIVES</a:t>
            </a:r>
            <a:endParaRPr lang="en-US" noProof="0" dirty="0"/>
          </a:p>
        </p:txBody>
      </p:sp>
      <p:graphicFrame>
        <p:nvGraphicFramePr>
          <p:cNvPr id="4" name="Espace réservé du contenu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78455321"/>
              </p:ext>
            </p:extLst>
          </p:nvPr>
        </p:nvGraphicFramePr>
        <p:xfrm>
          <a:off x="1096963" y="1846263"/>
          <a:ext cx="10058400" cy="441452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3352800"/>
                <a:gridCol w="3352800"/>
                <a:gridCol w="3352800"/>
              </a:tblGrid>
              <a:tr h="370840"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6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RANSPORTATION</a:t>
                      </a:r>
                      <a:endParaRPr lang="fr-FR" sz="28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6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PORTABLE</a:t>
                      </a:r>
                      <a:endParaRPr lang="fr-FR" sz="16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6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STATIONNARY</a:t>
                      </a:r>
                      <a:endParaRPr lang="fr-FR" sz="16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579120"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rklift trucks and other goods handling vehicle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fr-FR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litary</a:t>
                      </a:r>
                      <a:r>
                        <a:rPr lang="fr-FR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pplication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ff-line short run-time systems for telecommunication base stations</a:t>
                      </a:r>
                    </a:p>
                  </a:txBody>
                  <a:tcPr>
                    <a:noFill/>
                  </a:tcPr>
                </a:tc>
              </a:tr>
              <a:tr h="822960"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wo- and three-wheeler vehic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xiliary</a:t>
                      </a:r>
                      <a:r>
                        <a:rPr lang="en-US" sz="16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ower Units (APU)</a:t>
                      </a:r>
                      <a:endParaRPr lang="en-US" sz="1600" b="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ff-line extended run-time systems for critical communication base stations</a:t>
                      </a:r>
                    </a:p>
                  </a:txBody>
                  <a:tcPr/>
                </a:tc>
              </a:tr>
              <a:tr h="579120"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ght duty vehicles (LDVs), such as cars and van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600" dirty="0" smtClean="0"/>
                        <a:t>Portable </a:t>
                      </a:r>
                      <a:r>
                        <a:rPr lang="fr-FR" sz="1600" dirty="0" err="1" smtClean="0"/>
                        <a:t>products</a:t>
                      </a:r>
                      <a:endParaRPr lang="fr-FR" sz="16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ff-line extended run-time rack mountable systems for data </a:t>
                      </a:r>
                      <a:r>
                        <a:rPr lang="en-US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es</a:t>
                      </a:r>
                      <a:endParaRPr lang="en-US" sz="1600" b="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</a:tr>
              <a:tr h="579120">
                <a:tc>
                  <a:txBody>
                    <a:bodyPr/>
                    <a:lstStyle/>
                    <a:p>
                      <a:pPr fontAlgn="base"/>
                      <a:r>
                        <a:rPr lang="fr-FR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uses and truck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n-line rack mountable systems for data </a:t>
                      </a:r>
                      <a:r>
                        <a:rPr lang="en-US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es</a:t>
                      </a:r>
                      <a:endParaRPr lang="en-US" sz="1600" b="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fontAlgn="base"/>
                      <a:r>
                        <a:rPr lang="fr-FR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ains and tram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ff-line systems for residential use</a:t>
                      </a:r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fontAlgn="base"/>
                      <a:r>
                        <a:rPr lang="fr-FR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erries and </a:t>
                      </a:r>
                      <a:r>
                        <a:rPr lang="fr-FR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maller</a:t>
                      </a:r>
                      <a:r>
                        <a:rPr lang="fr-FR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oats</a:t>
                      </a:r>
                      <a:endParaRPr lang="fr-FR" sz="1600" b="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/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fontAlgn="base"/>
                      <a:r>
                        <a:rPr lang="fr-FR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nned</a:t>
                      </a:r>
                      <a:r>
                        <a:rPr lang="fr-FR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light </a:t>
                      </a:r>
                      <a:r>
                        <a:rPr lang="fr-FR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ircraft</a:t>
                      </a:r>
                      <a:endParaRPr lang="fr-FR" sz="1600" b="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/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fontAlgn="base"/>
                      <a:r>
                        <a:rPr lang="fr-FR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nmanned</a:t>
                      </a:r>
                      <a:r>
                        <a:rPr lang="fr-FR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  <a:r>
                        <a:rPr lang="fr-FR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hicles</a:t>
                      </a:r>
                      <a:endParaRPr lang="fr-FR" sz="1600" b="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/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999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09980" y="286607"/>
            <a:ext cx="10058400" cy="1450757"/>
          </a:xfrm>
        </p:spPr>
        <p:txBody>
          <a:bodyPr/>
          <a:lstStyle/>
          <a:p>
            <a:r>
              <a:rPr lang="en-US" dirty="0" smtClean="0"/>
              <a:t>REGIONAL FOCUS</a:t>
            </a:r>
            <a:endParaRPr lang="en-US" dirty="0"/>
          </a:p>
        </p:txBody>
      </p:sp>
      <p:pic>
        <p:nvPicPr>
          <p:cNvPr id="9" name="Content Placeholder 8"/>
          <p:cNvPicPr>
            <a:picLocks noGrp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397" y="1846263"/>
            <a:ext cx="6775532" cy="402272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051778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GIONAL FOCUS - ASIA</a:t>
            </a:r>
            <a:endParaRPr lang="en-US" dirty="0"/>
          </a:p>
        </p:txBody>
      </p:sp>
      <p:pic>
        <p:nvPicPr>
          <p:cNvPr id="4" name="Content Placeholder 3"/>
          <p:cNvPicPr>
            <a:picLocks noGrp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8880" y="1833563"/>
            <a:ext cx="8312641" cy="4022725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Espace réservé du contenu 22"/>
          <p:cNvSpPr txBox="1">
            <a:spLocks/>
          </p:cNvSpPr>
          <p:nvPr/>
        </p:nvSpPr>
        <p:spPr>
          <a:xfrm>
            <a:off x="6764657" y="1929127"/>
            <a:ext cx="3986537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>
            <a:lvl1pPr marL="91436" indent="-91436" algn="l" defTabSz="914354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29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00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771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42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09994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29993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99925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9991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297D53"/>
              </a:buClr>
            </a:pPr>
            <a:r>
              <a:rPr lang="en-US" sz="2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Asia :</a:t>
            </a:r>
          </a:p>
          <a:p>
            <a:pPr>
              <a:buClr>
                <a:srgbClr val="297D53"/>
              </a:buClr>
            </a:pP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</a:rPr>
              <a:t>Asia is currently the leading market for fuel cells</a:t>
            </a: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.</a:t>
            </a:r>
          </a:p>
          <a:p>
            <a:pPr>
              <a:buClr>
                <a:srgbClr val="297D53"/>
              </a:buClr>
            </a:pPr>
            <a:r>
              <a:rPr lang="en-US" sz="2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-Japan</a:t>
            </a:r>
          </a:p>
          <a:p>
            <a:pPr>
              <a:buClr>
                <a:srgbClr val="297D53"/>
              </a:buClr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Biggest Market in terms of units.</a:t>
            </a:r>
            <a:endParaRPr lang="en-US" sz="2400" dirty="0" smtClean="0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pPr>
              <a:buClr>
                <a:srgbClr val="297D53"/>
              </a:buClr>
            </a:pPr>
            <a:r>
              <a:rPr lang="en-US" sz="2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- South Korea</a:t>
            </a:r>
          </a:p>
          <a:p>
            <a:pPr>
              <a:buClr>
                <a:srgbClr val="297D53"/>
              </a:buClr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Biggest Market in terms of Megawatts.</a:t>
            </a:r>
          </a:p>
        </p:txBody>
      </p:sp>
    </p:spTree>
    <p:extLst>
      <p:ext uri="{BB962C8B-B14F-4D97-AF65-F5344CB8AC3E}">
        <p14:creationId xmlns:p14="http://schemas.microsoft.com/office/powerpoint/2010/main" val="1342013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heme/theme1.xml><?xml version="1.0" encoding="utf-8"?>
<a:theme xmlns:a="http://schemas.openxmlformats.org/drawingml/2006/main" name="Rétrospective">
  <a:themeElements>
    <a:clrScheme name="Personnalisé 9">
      <a:dk1>
        <a:sysClr val="windowText" lastClr="000000"/>
      </a:dk1>
      <a:lt1>
        <a:sysClr val="window" lastClr="FFFFFF"/>
      </a:lt1>
      <a:dk2>
        <a:srgbClr val="455F51"/>
      </a:dk2>
      <a:lt2>
        <a:srgbClr val="E2DFCC"/>
      </a:lt2>
      <a:accent1>
        <a:srgbClr val="297D53"/>
      </a:accent1>
      <a:accent2>
        <a:srgbClr val="004219"/>
      </a:accent2>
      <a:accent3>
        <a:srgbClr val="37A76F"/>
      </a:accent3>
      <a:accent4>
        <a:srgbClr val="44C1A3"/>
      </a:accent4>
      <a:accent5>
        <a:srgbClr val="4EB3CF"/>
      </a:accent5>
      <a:accent6>
        <a:srgbClr val="51C3F9"/>
      </a:accent6>
      <a:hlink>
        <a:srgbClr val="008000"/>
      </a:hlink>
      <a:folHlink>
        <a:srgbClr val="B26B02"/>
      </a:folHlink>
    </a:clrScheme>
    <a:fontScheme name="Rétrospectiv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étrospective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trospect" id="{5F128B03-DCCA-4EEB-AB3B-CF2899314A46}" vid="{D26EA377-59BD-4C9C-9D94-EE8416EE4C79}"/>
    </a:ext>
  </a:extLst>
</a:theme>
</file>

<file path=ppt/theme/theme2.xml><?xml version="1.0" encoding="utf-8"?>
<a:theme xmlns:a="http://schemas.openxmlformats.org/drawingml/2006/main" name="Standarddesign">
  <a:themeElements>
    <a:clrScheme name="Standard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tandard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Standard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Retrospect</Template>
  <TotalTime>1</TotalTime>
  <Words>669</Words>
  <Application>Microsoft Office PowerPoint</Application>
  <PresentationFormat>Widescreen</PresentationFormat>
  <Paragraphs>183</Paragraphs>
  <Slides>15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5</vt:i4>
      </vt:variant>
    </vt:vector>
  </HeadingPairs>
  <TitlesOfParts>
    <vt:vector size="22" baseType="lpstr">
      <vt:lpstr>宋体</vt:lpstr>
      <vt:lpstr>Arial</vt:lpstr>
      <vt:lpstr>Calibri</vt:lpstr>
      <vt:lpstr>Calibri Light</vt:lpstr>
      <vt:lpstr>Wingdings</vt:lpstr>
      <vt:lpstr>Rétrospective</vt:lpstr>
      <vt:lpstr>Standarddesign</vt:lpstr>
      <vt:lpstr>FUEL CELLS </vt:lpstr>
      <vt:lpstr>Introduction</vt:lpstr>
      <vt:lpstr>PRODUCT PERSPECTIVES</vt:lpstr>
      <vt:lpstr>PRODUCT PERSPECTIVES</vt:lpstr>
      <vt:lpstr>PRODUCT PERSPECTIVES</vt:lpstr>
      <vt:lpstr>PRODUCT PERSPECTIVES</vt:lpstr>
      <vt:lpstr>PRODUCT PERSPECTIVES</vt:lpstr>
      <vt:lpstr>REGIONAL FOCUS</vt:lpstr>
      <vt:lpstr>REGIONAL FOCUS - ASIA</vt:lpstr>
      <vt:lpstr>REGIONAL FOCUS - EUROPE</vt:lpstr>
      <vt:lpstr>REGIONAL FOCUS – N.AMERICA</vt:lpstr>
      <vt:lpstr>PowerPoint Presentation</vt:lpstr>
      <vt:lpstr>DATA COLLECTION</vt:lpstr>
      <vt:lpstr>Law and governmental influence</vt:lpstr>
      <vt:lpstr>LOGIC MODEL</vt:lpstr>
    </vt:vector>
  </TitlesOfParts>
  <Company>Supelec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Benoit Serot</dc:creator>
  <cp:lastModifiedBy>Pongzthor Tiranun</cp:lastModifiedBy>
  <cp:revision>35</cp:revision>
  <dcterms:created xsi:type="dcterms:W3CDTF">2015-04-09T11:09:48Z</dcterms:created>
  <dcterms:modified xsi:type="dcterms:W3CDTF">2015-04-14T08:39:04Z</dcterms:modified>
</cp:coreProperties>
</file>